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Override1.xml" ContentType="application/vnd.openxmlformats-officedocument.themeOverride+xml"/>
  <Override PartName="/ppt/tags/tag4.xml" ContentType="application/vnd.openxmlformats-officedocument.presentationml.tags+xml"/>
  <Override PartName="/ppt/theme/themeOverride2.xml" ContentType="application/vnd.openxmlformats-officedocument.themeOverr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theme/theme3.xml" ContentType="application/vnd.openxmlformats-officedocument.theme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slideLayouts/slideLayout20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slideLayouts/slideLayout214.xml" ContentType="application/vnd.openxmlformats-officedocument.presentationml.slideLayout+xml"/>
  <Override PartName="/ppt/slideLayouts/slideLayout21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slideLayouts/slideLayout217.xml" ContentType="application/vnd.openxmlformats-officedocument.presentationml.slideLayout+xml"/>
  <Override PartName="/ppt/slideLayouts/slideLayout218.xml" ContentType="application/vnd.openxmlformats-officedocument.presentationml.slideLayout+xml"/>
  <Override PartName="/ppt/slideLayouts/slideLayout219.xml" ContentType="application/vnd.openxmlformats-officedocument.presentationml.slideLayout+xml"/>
  <Override PartName="/ppt/slideLayouts/slideLayout220.xml" ContentType="application/vnd.openxmlformats-officedocument.presentationml.slideLayout+xml"/>
  <Override PartName="/ppt/slideLayouts/slideLayout221.xml" ContentType="application/vnd.openxmlformats-officedocument.presentationml.slideLayout+xml"/>
  <Override PartName="/ppt/slideLayouts/slideLayout222.xml" ContentType="application/vnd.openxmlformats-officedocument.presentationml.slideLayout+xml"/>
  <Override PartName="/ppt/slideLayouts/slideLayout223.xml" ContentType="application/vnd.openxmlformats-officedocument.presentationml.slideLayout+xml"/>
  <Override PartName="/ppt/slideLayouts/slideLayout224.xml" ContentType="application/vnd.openxmlformats-officedocument.presentationml.slideLayout+xml"/>
  <Override PartName="/ppt/slideLayouts/slideLayout225.xml" ContentType="application/vnd.openxmlformats-officedocument.presentationml.slideLayout+xml"/>
  <Override PartName="/ppt/slideLayouts/slideLayout226.xml" ContentType="application/vnd.openxmlformats-officedocument.presentationml.slideLayout+xml"/>
  <Override PartName="/ppt/slideLayouts/slideLayout227.xml" ContentType="application/vnd.openxmlformats-officedocument.presentationml.slideLayout+xml"/>
  <Override PartName="/ppt/slideLayouts/slideLayout228.xml" ContentType="application/vnd.openxmlformats-officedocument.presentationml.slideLayout+xml"/>
  <Override PartName="/ppt/slideLayouts/slideLayout229.xml" ContentType="application/vnd.openxmlformats-officedocument.presentationml.slideLayout+xml"/>
  <Override PartName="/ppt/slideLayouts/slideLayout230.xml" ContentType="application/vnd.openxmlformats-officedocument.presentationml.slideLayout+xml"/>
  <Override PartName="/ppt/slideLayouts/slideLayout231.xml" ContentType="application/vnd.openxmlformats-officedocument.presentationml.slideLayout+xml"/>
  <Override PartName="/ppt/theme/theme4.xml" ContentType="application/vnd.openxmlformats-officedocument.theme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heme/themeOverride3.xml" ContentType="application/vnd.openxmlformats-officedocument.themeOverride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slideLayouts/slideLayout232.xml" ContentType="application/vnd.openxmlformats-officedocument.presentationml.slideLayout+xml"/>
  <Override PartName="/ppt/slideLayouts/slideLayout233.xml" ContentType="application/vnd.openxmlformats-officedocument.presentationml.slideLayout+xml"/>
  <Override PartName="/ppt/slideLayouts/slideLayout234.xml" ContentType="application/vnd.openxmlformats-officedocument.presentationml.slideLayout+xml"/>
  <Override PartName="/ppt/slideLayouts/slideLayout235.xml" ContentType="application/vnd.openxmlformats-officedocument.presentationml.slideLayout+xml"/>
  <Override PartName="/ppt/slideLayouts/slideLayout236.xml" ContentType="application/vnd.openxmlformats-officedocument.presentationml.slideLayout+xml"/>
  <Override PartName="/ppt/slideLayouts/slideLayout237.xml" ContentType="application/vnd.openxmlformats-officedocument.presentationml.slideLayout+xml"/>
  <Override PartName="/ppt/slideLayouts/slideLayout238.xml" ContentType="application/vnd.openxmlformats-officedocument.presentationml.slideLayout+xml"/>
  <Override PartName="/ppt/slideLayouts/slideLayout239.xml" ContentType="application/vnd.openxmlformats-officedocument.presentationml.slideLayout+xml"/>
  <Override PartName="/ppt/slideLayouts/slideLayout240.xml" ContentType="application/vnd.openxmlformats-officedocument.presentationml.slideLayout+xml"/>
  <Override PartName="/ppt/slideLayouts/slideLayout241.xml" ContentType="application/vnd.openxmlformats-officedocument.presentationml.slideLayout+xml"/>
  <Override PartName="/ppt/slideLayouts/slideLayout242.xml" ContentType="application/vnd.openxmlformats-officedocument.presentationml.slideLayout+xml"/>
  <Override PartName="/ppt/slideLayouts/slideLayout243.xml" ContentType="application/vnd.openxmlformats-officedocument.presentationml.slideLayout+xml"/>
  <Override PartName="/ppt/slideLayouts/slideLayout244.xml" ContentType="application/vnd.openxmlformats-officedocument.presentationml.slideLayout+xml"/>
  <Override PartName="/ppt/slideLayouts/slideLayout245.xml" ContentType="application/vnd.openxmlformats-officedocument.presentationml.slideLayout+xml"/>
  <Override PartName="/ppt/slideLayouts/slideLayout246.xml" ContentType="application/vnd.openxmlformats-officedocument.presentationml.slideLayout+xml"/>
  <Override PartName="/ppt/slideLayouts/slideLayout247.xml" ContentType="application/vnd.openxmlformats-officedocument.presentationml.slideLayout+xml"/>
  <Override PartName="/ppt/slideLayouts/slideLayout248.xml" ContentType="application/vnd.openxmlformats-officedocument.presentationml.slideLayout+xml"/>
  <Override PartName="/ppt/slideLayouts/slideLayout249.xml" ContentType="application/vnd.openxmlformats-officedocument.presentationml.slideLayout+xml"/>
  <Override PartName="/ppt/slideLayouts/slideLayout250.xml" ContentType="application/vnd.openxmlformats-officedocument.presentationml.slideLayout+xml"/>
  <Override PartName="/ppt/slideLayouts/slideLayout251.xml" ContentType="application/vnd.openxmlformats-officedocument.presentationml.slideLayout+xml"/>
  <Override PartName="/ppt/slideLayouts/slideLayout252.xml" ContentType="application/vnd.openxmlformats-officedocument.presentationml.slideLayout+xml"/>
  <Override PartName="/ppt/slideLayouts/slideLayout253.xml" ContentType="application/vnd.openxmlformats-officedocument.presentationml.slideLayout+xml"/>
  <Override PartName="/ppt/slideLayouts/slideLayout254.xml" ContentType="application/vnd.openxmlformats-officedocument.presentationml.slideLayout+xml"/>
  <Override PartName="/ppt/slideLayouts/slideLayout255.xml" ContentType="application/vnd.openxmlformats-officedocument.presentationml.slideLayout+xml"/>
  <Override PartName="/ppt/slideLayouts/slideLayout256.xml" ContentType="application/vnd.openxmlformats-officedocument.presentationml.slideLayout+xml"/>
  <Override PartName="/ppt/slideLayouts/slideLayout257.xml" ContentType="application/vnd.openxmlformats-officedocument.presentationml.slideLayout+xml"/>
  <Override PartName="/ppt/slideLayouts/slideLayout258.xml" ContentType="application/vnd.openxmlformats-officedocument.presentationml.slideLayout+xml"/>
  <Override PartName="/ppt/slideLayouts/slideLayout259.xml" ContentType="application/vnd.openxmlformats-officedocument.presentationml.slideLayout+xml"/>
  <Override PartName="/ppt/slideLayouts/slideLayout260.xml" ContentType="application/vnd.openxmlformats-officedocument.presentationml.slideLayout+xml"/>
  <Override PartName="/ppt/slideLayouts/slideLayout261.xml" ContentType="application/vnd.openxmlformats-officedocument.presentationml.slideLayout+xml"/>
  <Override PartName="/ppt/slideLayouts/slideLayout262.xml" ContentType="application/vnd.openxmlformats-officedocument.presentationml.slideLayout+xml"/>
  <Override PartName="/ppt/slideLayouts/slideLayout263.xml" ContentType="application/vnd.openxmlformats-officedocument.presentationml.slideLayout+xml"/>
  <Override PartName="/ppt/slideLayouts/slideLayout264.xml" ContentType="application/vnd.openxmlformats-officedocument.presentationml.slideLayout+xml"/>
  <Override PartName="/ppt/slideLayouts/slideLayout265.xml" ContentType="application/vnd.openxmlformats-officedocument.presentationml.slideLayout+xml"/>
  <Override PartName="/ppt/slideLayouts/slideLayout266.xml" ContentType="application/vnd.openxmlformats-officedocument.presentationml.slideLayout+xml"/>
  <Override PartName="/ppt/slideLayouts/slideLayout267.xml" ContentType="application/vnd.openxmlformats-officedocument.presentationml.slideLayout+xml"/>
  <Override PartName="/ppt/slideLayouts/slideLayout268.xml" ContentType="application/vnd.openxmlformats-officedocument.presentationml.slideLayout+xml"/>
  <Override PartName="/ppt/slideLayouts/slideLayout269.xml" ContentType="application/vnd.openxmlformats-officedocument.presentationml.slideLayout+xml"/>
  <Override PartName="/ppt/slideLayouts/slideLayout270.xml" ContentType="application/vnd.openxmlformats-officedocument.presentationml.slideLayout+xml"/>
  <Override PartName="/ppt/slideLayouts/slideLayout271.xml" ContentType="application/vnd.openxmlformats-officedocument.presentationml.slideLayout+xml"/>
  <Override PartName="/ppt/slideLayouts/slideLayout272.xml" ContentType="application/vnd.openxmlformats-officedocument.presentationml.slideLayout+xml"/>
  <Override PartName="/ppt/slideLayouts/slideLayout273.xml" ContentType="application/vnd.openxmlformats-officedocument.presentationml.slideLayout+xml"/>
  <Override PartName="/ppt/slideLayouts/slideLayout274.xml" ContentType="application/vnd.openxmlformats-officedocument.presentationml.slideLayout+xml"/>
  <Override PartName="/ppt/slideLayouts/slideLayout275.xml" ContentType="application/vnd.openxmlformats-officedocument.presentationml.slideLayout+xml"/>
  <Override PartName="/ppt/slideLayouts/slideLayout276.xml" ContentType="application/vnd.openxmlformats-officedocument.presentationml.slideLayout+xml"/>
  <Override PartName="/ppt/slideLayouts/slideLayout277.xml" ContentType="application/vnd.openxmlformats-officedocument.presentationml.slideLayout+xml"/>
  <Override PartName="/ppt/slideLayouts/slideLayout278.xml" ContentType="application/vnd.openxmlformats-officedocument.presentationml.slideLayout+xml"/>
  <Override PartName="/ppt/slideLayouts/slideLayout279.xml" ContentType="application/vnd.openxmlformats-officedocument.presentationml.slideLayout+xml"/>
  <Override PartName="/ppt/slideLayouts/slideLayout280.xml" ContentType="application/vnd.openxmlformats-officedocument.presentationml.slideLayout+xml"/>
  <Override PartName="/ppt/slideLayouts/slideLayout281.xml" ContentType="application/vnd.openxmlformats-officedocument.presentationml.slideLayout+xml"/>
  <Override PartName="/ppt/slideLayouts/slideLayout282.xml" ContentType="application/vnd.openxmlformats-officedocument.presentationml.slideLayout+xml"/>
  <Override PartName="/ppt/slideLayouts/slideLayout283.xml" ContentType="application/vnd.openxmlformats-officedocument.presentationml.slideLayout+xml"/>
  <Override PartName="/ppt/slideLayouts/slideLayout284.xml" ContentType="application/vnd.openxmlformats-officedocument.presentationml.slideLayout+xml"/>
  <Override PartName="/ppt/slideLayouts/slideLayout285.xml" ContentType="application/vnd.openxmlformats-officedocument.presentationml.slideLayout+xml"/>
  <Override PartName="/ppt/slideLayouts/slideLayout286.xml" ContentType="application/vnd.openxmlformats-officedocument.presentationml.slideLayout+xml"/>
  <Override PartName="/ppt/slideLayouts/slideLayout287.xml" ContentType="application/vnd.openxmlformats-officedocument.presentationml.slideLayout+xml"/>
  <Override PartName="/ppt/slideLayouts/slideLayout288.xml" ContentType="application/vnd.openxmlformats-officedocument.presentationml.slideLayout+xml"/>
  <Override PartName="/ppt/slideLayouts/slideLayout289.xml" ContentType="application/vnd.openxmlformats-officedocument.presentationml.slideLayout+xml"/>
  <Override PartName="/ppt/slideLayouts/slideLayout290.xml" ContentType="application/vnd.openxmlformats-officedocument.presentationml.slideLayout+xml"/>
  <Override PartName="/ppt/slideLayouts/slideLayout291.xml" ContentType="application/vnd.openxmlformats-officedocument.presentationml.slideLayout+xml"/>
  <Override PartName="/ppt/slideLayouts/slideLayout292.xml" ContentType="application/vnd.openxmlformats-officedocument.presentationml.slideLayout+xml"/>
  <Override PartName="/ppt/slideLayouts/slideLayout293.xml" ContentType="application/vnd.openxmlformats-officedocument.presentationml.slideLayout+xml"/>
  <Override PartName="/ppt/slideLayouts/slideLayout294.xml" ContentType="application/vnd.openxmlformats-officedocument.presentationml.slideLayout+xml"/>
  <Override PartName="/ppt/slideLayouts/slideLayout295.xml" ContentType="application/vnd.openxmlformats-officedocument.presentationml.slideLayout+xml"/>
  <Override PartName="/ppt/slideLayouts/slideLayout296.xml" ContentType="application/vnd.openxmlformats-officedocument.presentationml.slideLayout+xml"/>
  <Override PartName="/ppt/slideLayouts/slideLayout297.xml" ContentType="application/vnd.openxmlformats-officedocument.presentationml.slideLayout+xml"/>
  <Override PartName="/ppt/slideLayouts/slideLayout298.xml" ContentType="application/vnd.openxmlformats-officedocument.presentationml.slideLayout+xml"/>
  <Override PartName="/ppt/slideLayouts/slideLayout299.xml" ContentType="application/vnd.openxmlformats-officedocument.presentationml.slideLayout+xml"/>
  <Override PartName="/ppt/slideLayouts/slideLayout300.xml" ContentType="application/vnd.openxmlformats-officedocument.presentationml.slideLayout+xml"/>
  <Override PartName="/ppt/slideLayouts/slideLayout301.xml" ContentType="application/vnd.openxmlformats-officedocument.presentationml.slideLayout+xml"/>
  <Override PartName="/ppt/theme/theme5.xml" ContentType="application/vnd.openxmlformats-officedocument.theme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heme/themeOverride4.xml" ContentType="application/vnd.openxmlformats-officedocument.themeOverride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slideLayouts/slideLayout302.xml" ContentType="application/vnd.openxmlformats-officedocument.presentationml.slideLayout+xml"/>
  <Override PartName="/ppt/slideLayouts/slideLayout303.xml" ContentType="application/vnd.openxmlformats-officedocument.presentationml.slideLayout+xml"/>
  <Override PartName="/ppt/slideLayouts/slideLayout304.xml" ContentType="application/vnd.openxmlformats-officedocument.presentationml.slideLayout+xml"/>
  <Override PartName="/ppt/slideLayouts/slideLayout305.xml" ContentType="application/vnd.openxmlformats-officedocument.presentationml.slideLayout+xml"/>
  <Override PartName="/ppt/slideLayouts/slideLayout306.xml" ContentType="application/vnd.openxmlformats-officedocument.presentationml.slideLayout+xml"/>
  <Override PartName="/ppt/slideLayouts/slideLayout307.xml" ContentType="application/vnd.openxmlformats-officedocument.presentationml.slideLayout+xml"/>
  <Override PartName="/ppt/slideLayouts/slideLayout308.xml" ContentType="application/vnd.openxmlformats-officedocument.presentationml.slideLayout+xml"/>
  <Override PartName="/ppt/slideLayouts/slideLayout309.xml" ContentType="application/vnd.openxmlformats-officedocument.presentationml.slideLayout+xml"/>
  <Override PartName="/ppt/slideLayouts/slideLayout310.xml" ContentType="application/vnd.openxmlformats-officedocument.presentationml.slideLayout+xml"/>
  <Override PartName="/ppt/slideLayouts/slideLayout311.xml" ContentType="application/vnd.openxmlformats-officedocument.presentationml.slideLayout+xml"/>
  <Override PartName="/ppt/slideLayouts/slideLayout312.xml" ContentType="application/vnd.openxmlformats-officedocument.presentationml.slideLayout+xml"/>
  <Override PartName="/ppt/slideLayouts/slideLayout313.xml" ContentType="application/vnd.openxmlformats-officedocument.presentationml.slideLayout+xml"/>
  <Override PartName="/ppt/slideLayouts/slideLayout314.xml" ContentType="application/vnd.openxmlformats-officedocument.presentationml.slideLayout+xml"/>
  <Override PartName="/ppt/slideLayouts/slideLayout315.xml" ContentType="application/vnd.openxmlformats-officedocument.presentationml.slideLayout+xml"/>
  <Override PartName="/ppt/slideLayouts/slideLayout316.xml" ContentType="application/vnd.openxmlformats-officedocument.presentationml.slideLayout+xml"/>
  <Override PartName="/ppt/slideLayouts/slideLayout317.xml" ContentType="application/vnd.openxmlformats-officedocument.presentationml.slideLayout+xml"/>
  <Override PartName="/ppt/slideLayouts/slideLayout318.xml" ContentType="application/vnd.openxmlformats-officedocument.presentationml.slideLayout+xml"/>
  <Override PartName="/ppt/slideLayouts/slideLayout319.xml" ContentType="application/vnd.openxmlformats-officedocument.presentationml.slideLayout+xml"/>
  <Override PartName="/ppt/slideLayouts/slideLayout320.xml" ContentType="application/vnd.openxmlformats-officedocument.presentationml.slideLayout+xml"/>
  <Override PartName="/ppt/slideLayouts/slideLayout321.xml" ContentType="application/vnd.openxmlformats-officedocument.presentationml.slideLayout+xml"/>
  <Override PartName="/ppt/slideLayouts/slideLayout322.xml" ContentType="application/vnd.openxmlformats-officedocument.presentationml.slideLayout+xml"/>
  <Override PartName="/ppt/slideLayouts/slideLayout323.xml" ContentType="application/vnd.openxmlformats-officedocument.presentationml.slideLayout+xml"/>
  <Override PartName="/ppt/slideLayouts/slideLayout324.xml" ContentType="application/vnd.openxmlformats-officedocument.presentationml.slideLayout+xml"/>
  <Override PartName="/ppt/slideLayouts/slideLayout325.xml" ContentType="application/vnd.openxmlformats-officedocument.presentationml.slideLayout+xml"/>
  <Override PartName="/ppt/slideLayouts/slideLayout326.xml" ContentType="application/vnd.openxmlformats-officedocument.presentationml.slideLayout+xml"/>
  <Override PartName="/ppt/slideLayouts/slideLayout327.xml" ContentType="application/vnd.openxmlformats-officedocument.presentationml.slideLayout+xml"/>
  <Override PartName="/ppt/slideLayouts/slideLayout328.xml" ContentType="application/vnd.openxmlformats-officedocument.presentationml.slideLayout+xml"/>
  <Override PartName="/ppt/slideLayouts/slideLayout329.xml" ContentType="application/vnd.openxmlformats-officedocument.presentationml.slideLayout+xml"/>
  <Override PartName="/ppt/slideLayouts/slideLayout330.xml" ContentType="application/vnd.openxmlformats-officedocument.presentationml.slideLayout+xml"/>
  <Override PartName="/ppt/slideLayouts/slideLayout331.xml" ContentType="application/vnd.openxmlformats-officedocument.presentationml.slideLayout+xml"/>
  <Override PartName="/ppt/slideLayouts/slideLayout332.xml" ContentType="application/vnd.openxmlformats-officedocument.presentationml.slideLayout+xml"/>
  <Override PartName="/ppt/slideLayouts/slideLayout333.xml" ContentType="application/vnd.openxmlformats-officedocument.presentationml.slideLayout+xml"/>
  <Override PartName="/ppt/slideLayouts/slideLayout334.xml" ContentType="application/vnd.openxmlformats-officedocument.presentationml.slideLayout+xml"/>
  <Override PartName="/ppt/slideLayouts/slideLayout335.xml" ContentType="application/vnd.openxmlformats-officedocument.presentationml.slideLayout+xml"/>
  <Override PartName="/ppt/slideLayouts/slideLayout336.xml" ContentType="application/vnd.openxmlformats-officedocument.presentationml.slideLayout+xml"/>
  <Override PartName="/ppt/slideLayouts/slideLayout337.xml" ContentType="application/vnd.openxmlformats-officedocument.presentationml.slideLayout+xml"/>
  <Override PartName="/ppt/slideLayouts/slideLayout338.xml" ContentType="application/vnd.openxmlformats-officedocument.presentationml.slideLayout+xml"/>
  <Override PartName="/ppt/slideLayouts/slideLayout339.xml" ContentType="application/vnd.openxmlformats-officedocument.presentationml.slideLayout+xml"/>
  <Override PartName="/ppt/slideLayouts/slideLayout340.xml" ContentType="application/vnd.openxmlformats-officedocument.presentationml.slideLayout+xml"/>
  <Override PartName="/ppt/slideLayouts/slideLayout341.xml" ContentType="application/vnd.openxmlformats-officedocument.presentationml.slideLayout+xml"/>
  <Override PartName="/ppt/slideLayouts/slideLayout342.xml" ContentType="application/vnd.openxmlformats-officedocument.presentationml.slideLayout+xml"/>
  <Override PartName="/ppt/slideLayouts/slideLayout343.xml" ContentType="application/vnd.openxmlformats-officedocument.presentationml.slideLayout+xml"/>
  <Override PartName="/ppt/slideLayouts/slideLayout344.xml" ContentType="application/vnd.openxmlformats-officedocument.presentationml.slideLayout+xml"/>
  <Override PartName="/ppt/slideLayouts/slideLayout345.xml" ContentType="application/vnd.openxmlformats-officedocument.presentationml.slideLayout+xml"/>
  <Override PartName="/ppt/slideLayouts/slideLayout346.xml" ContentType="application/vnd.openxmlformats-officedocument.presentationml.slideLayout+xml"/>
  <Override PartName="/ppt/slideLayouts/slideLayout347.xml" ContentType="application/vnd.openxmlformats-officedocument.presentationml.slideLayout+xml"/>
  <Override PartName="/ppt/slideLayouts/slideLayout348.xml" ContentType="application/vnd.openxmlformats-officedocument.presentationml.slideLayout+xml"/>
  <Override PartName="/ppt/slideLayouts/slideLayout349.xml" ContentType="application/vnd.openxmlformats-officedocument.presentationml.slideLayout+xml"/>
  <Override PartName="/ppt/slideLayouts/slideLayout350.xml" ContentType="application/vnd.openxmlformats-officedocument.presentationml.slideLayout+xml"/>
  <Override PartName="/ppt/slideLayouts/slideLayout351.xml" ContentType="application/vnd.openxmlformats-officedocument.presentationml.slideLayout+xml"/>
  <Override PartName="/ppt/slideLayouts/slideLayout352.xml" ContentType="application/vnd.openxmlformats-officedocument.presentationml.slideLayout+xml"/>
  <Override PartName="/ppt/slideLayouts/slideLayout353.xml" ContentType="application/vnd.openxmlformats-officedocument.presentationml.slideLayout+xml"/>
  <Override PartName="/ppt/slideLayouts/slideLayout354.xml" ContentType="application/vnd.openxmlformats-officedocument.presentationml.slideLayout+xml"/>
  <Override PartName="/ppt/slideLayouts/slideLayout355.xml" ContentType="application/vnd.openxmlformats-officedocument.presentationml.slideLayout+xml"/>
  <Override PartName="/ppt/slideLayouts/slideLayout356.xml" ContentType="application/vnd.openxmlformats-officedocument.presentationml.slideLayout+xml"/>
  <Override PartName="/ppt/slideLayouts/slideLayout357.xml" ContentType="application/vnd.openxmlformats-officedocument.presentationml.slideLayout+xml"/>
  <Override PartName="/ppt/slideLayouts/slideLayout358.xml" ContentType="application/vnd.openxmlformats-officedocument.presentationml.slideLayout+xml"/>
  <Override PartName="/ppt/slideLayouts/slideLayout359.xml" ContentType="application/vnd.openxmlformats-officedocument.presentationml.slideLayout+xml"/>
  <Override PartName="/ppt/slideLayouts/slideLayout360.xml" ContentType="application/vnd.openxmlformats-officedocument.presentationml.slideLayout+xml"/>
  <Override PartName="/ppt/slideLayouts/slideLayout361.xml" ContentType="application/vnd.openxmlformats-officedocument.presentationml.slideLayout+xml"/>
  <Override PartName="/ppt/slideLayouts/slideLayout362.xml" ContentType="application/vnd.openxmlformats-officedocument.presentationml.slideLayout+xml"/>
  <Override PartName="/ppt/slideLayouts/slideLayout363.xml" ContentType="application/vnd.openxmlformats-officedocument.presentationml.slideLayout+xml"/>
  <Override PartName="/ppt/slideLayouts/slideLayout364.xml" ContentType="application/vnd.openxmlformats-officedocument.presentationml.slideLayout+xml"/>
  <Override PartName="/ppt/slideLayouts/slideLayout365.xml" ContentType="application/vnd.openxmlformats-officedocument.presentationml.slideLayout+xml"/>
  <Override PartName="/ppt/slideLayouts/slideLayout366.xml" ContentType="application/vnd.openxmlformats-officedocument.presentationml.slideLayout+xml"/>
  <Override PartName="/ppt/slideLayouts/slideLayout367.xml" ContentType="application/vnd.openxmlformats-officedocument.presentationml.slideLayout+xml"/>
  <Override PartName="/ppt/slideLayouts/slideLayout368.xml" ContentType="application/vnd.openxmlformats-officedocument.presentationml.slideLayout+xml"/>
  <Override PartName="/ppt/slideLayouts/slideLayout369.xml" ContentType="application/vnd.openxmlformats-officedocument.presentationml.slideLayout+xml"/>
  <Override PartName="/ppt/slideLayouts/slideLayout370.xml" ContentType="application/vnd.openxmlformats-officedocument.presentationml.slideLayout+xml"/>
  <Override PartName="/ppt/slideLayouts/slideLayout371.xml" ContentType="application/vnd.openxmlformats-officedocument.presentationml.slideLayout+xml"/>
  <Override PartName="/ppt/theme/theme6.xml" ContentType="application/vnd.openxmlformats-officedocument.theme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heme/themeOverride5.xml" ContentType="application/vnd.openxmlformats-officedocument.themeOverride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heme/theme7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76" r:id="rId2"/>
    <p:sldMasterId id="2147483759" r:id="rId3"/>
    <p:sldMasterId id="2147483825" r:id="rId4"/>
    <p:sldMasterId id="2147483895" r:id="rId5"/>
    <p:sldMasterId id="2147483966" r:id="rId6"/>
  </p:sldMasterIdLst>
  <p:notesMasterIdLst>
    <p:notesMasterId r:id="rId31"/>
  </p:notesMasterIdLst>
  <p:sldIdLst>
    <p:sldId id="256" r:id="rId7"/>
    <p:sldId id="289" r:id="rId8"/>
    <p:sldId id="279" r:id="rId9"/>
    <p:sldId id="277" r:id="rId10"/>
    <p:sldId id="282" r:id="rId11"/>
    <p:sldId id="262" r:id="rId12"/>
    <p:sldId id="257" r:id="rId13"/>
    <p:sldId id="258" r:id="rId14"/>
    <p:sldId id="259" r:id="rId15"/>
    <p:sldId id="260" r:id="rId16"/>
    <p:sldId id="272" r:id="rId17"/>
    <p:sldId id="261" r:id="rId18"/>
    <p:sldId id="275" r:id="rId19"/>
    <p:sldId id="263" r:id="rId20"/>
    <p:sldId id="264" r:id="rId21"/>
    <p:sldId id="291" r:id="rId22"/>
    <p:sldId id="280" r:id="rId23"/>
    <p:sldId id="283" r:id="rId24"/>
    <p:sldId id="284" r:id="rId25"/>
    <p:sldId id="285" r:id="rId26"/>
    <p:sldId id="287" r:id="rId27"/>
    <p:sldId id="288" r:id="rId28"/>
    <p:sldId id="290" r:id="rId29"/>
    <p:sldId id="271" r:id="rId30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8CBAD"/>
    <a:srgbClr val="FF5353"/>
    <a:srgbClr val="BDD7EE"/>
    <a:srgbClr val="8A8A8A"/>
    <a:srgbClr val="7A567B"/>
    <a:srgbClr val="604900"/>
    <a:srgbClr val="00ACA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A7784D3A-2DAC-4ED2-BB27-C8D48836B5C0}" v="156" dt="2025-05-28T09:08:13.072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8EC20E35-A176-4012-BC5E-935CFFF8708E}" styleName="Medium Style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9DCAF9ED-07DC-4A11-8D7F-57B35C25682E}" styleName="Medium Style 1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59" d="100"/>
          <a:sy n="59" d="100"/>
        </p:scale>
        <p:origin x="940" y="5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slide" Target="slides/slide20.xml"/><Relationship Id="rId21" Type="http://schemas.openxmlformats.org/officeDocument/2006/relationships/slide" Target="slides/slide15.xml"/><Relationship Id="rId34" Type="http://schemas.openxmlformats.org/officeDocument/2006/relationships/theme" Target="theme/theme1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slide" Target="slides/slide19.xml"/><Relationship Id="rId33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0.xml"/><Relationship Id="rId20" Type="http://schemas.openxmlformats.org/officeDocument/2006/relationships/slide" Target="slides/slide14.xml"/><Relationship Id="rId29" Type="http://schemas.openxmlformats.org/officeDocument/2006/relationships/slide" Target="slides/slide23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5.xml"/><Relationship Id="rId24" Type="http://schemas.openxmlformats.org/officeDocument/2006/relationships/slide" Target="slides/slide18.xml"/><Relationship Id="rId32" Type="http://schemas.openxmlformats.org/officeDocument/2006/relationships/presProps" Target="presProps.xml"/><Relationship Id="rId37" Type="http://schemas.microsoft.com/office/2015/10/relationships/revisionInfo" Target="revisionInfo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9.xml"/><Relationship Id="rId23" Type="http://schemas.openxmlformats.org/officeDocument/2006/relationships/slide" Target="slides/slide17.xml"/><Relationship Id="rId28" Type="http://schemas.openxmlformats.org/officeDocument/2006/relationships/slide" Target="slides/slide22.xml"/><Relationship Id="rId36" Type="http://schemas.microsoft.com/office/2016/11/relationships/changesInfo" Target="changesInfos/changesInfo1.xml"/><Relationship Id="rId10" Type="http://schemas.openxmlformats.org/officeDocument/2006/relationships/slide" Target="slides/slide4.xml"/><Relationship Id="rId19" Type="http://schemas.openxmlformats.org/officeDocument/2006/relationships/slide" Target="slides/slide13.xml"/><Relationship Id="rId31" Type="http://schemas.openxmlformats.org/officeDocument/2006/relationships/notesMaster" Target="notesMasters/notesMaster1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slide" Target="slides/slide16.xml"/><Relationship Id="rId27" Type="http://schemas.openxmlformats.org/officeDocument/2006/relationships/slide" Target="slides/slide21.xml"/><Relationship Id="rId30" Type="http://schemas.openxmlformats.org/officeDocument/2006/relationships/slide" Target="slides/slide24.xml"/><Relationship Id="rId35" Type="http://schemas.openxmlformats.org/officeDocument/2006/relationships/tableStyles" Target="tableStyles.xml"/><Relationship Id="rId8" Type="http://schemas.openxmlformats.org/officeDocument/2006/relationships/slide" Target="slides/slide2.xml"/><Relationship Id="rId3" Type="http://schemas.openxmlformats.org/officeDocument/2006/relationships/slideMaster" Target="slideMasters/slideMaster3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Suman Das" userId="48a07445-4675-4748-acc3-eb500a5ddf20" providerId="ADAL" clId="{A7784D3A-2DAC-4ED2-BB27-C8D48836B5C0}"/>
    <pc:docChg chg="undo redo custSel addSld delSld modSld sldOrd">
      <pc:chgData name="Suman Das" userId="48a07445-4675-4748-acc3-eb500a5ddf20" providerId="ADAL" clId="{A7784D3A-2DAC-4ED2-BB27-C8D48836B5C0}" dt="2025-05-28T09:08:36.288" v="2265" actId="14100"/>
      <pc:docMkLst>
        <pc:docMk/>
      </pc:docMkLst>
      <pc:sldChg chg="modSp mod">
        <pc:chgData name="Suman Das" userId="48a07445-4675-4748-acc3-eb500a5ddf20" providerId="ADAL" clId="{A7784D3A-2DAC-4ED2-BB27-C8D48836B5C0}" dt="2025-05-28T04:12:16.424" v="1777" actId="1076"/>
        <pc:sldMkLst>
          <pc:docMk/>
          <pc:sldMk cId="3351015459" sldId="256"/>
        </pc:sldMkLst>
        <pc:spChg chg="mod">
          <ac:chgData name="Suman Das" userId="48a07445-4675-4748-acc3-eb500a5ddf20" providerId="ADAL" clId="{A7784D3A-2DAC-4ED2-BB27-C8D48836B5C0}" dt="2025-05-28T04:12:16.424" v="1777" actId="1076"/>
          <ac:spMkLst>
            <pc:docMk/>
            <pc:sldMk cId="3351015459" sldId="256"/>
            <ac:spMk id="2" creationId="{AAB5D155-3D98-711E-99B1-32DDE35999A3}"/>
          </ac:spMkLst>
        </pc:spChg>
      </pc:sldChg>
      <pc:sldChg chg="delSp modSp mod">
        <pc:chgData name="Suman Das" userId="48a07445-4675-4748-acc3-eb500a5ddf20" providerId="ADAL" clId="{A7784D3A-2DAC-4ED2-BB27-C8D48836B5C0}" dt="2025-05-28T09:01:28.210" v="2158" actId="207"/>
        <pc:sldMkLst>
          <pc:docMk/>
          <pc:sldMk cId="3065366446" sldId="257"/>
        </pc:sldMkLst>
        <pc:spChg chg="mod">
          <ac:chgData name="Suman Das" userId="48a07445-4675-4748-acc3-eb500a5ddf20" providerId="ADAL" clId="{A7784D3A-2DAC-4ED2-BB27-C8D48836B5C0}" dt="2025-05-14T08:38:54.557" v="1" actId="14100"/>
          <ac:spMkLst>
            <pc:docMk/>
            <pc:sldMk cId="3065366446" sldId="257"/>
            <ac:spMk id="4" creationId="{58019808-9C15-CE56-EABC-E9F1EABDF150}"/>
          </ac:spMkLst>
        </pc:spChg>
        <pc:graphicFrameChg chg="modGraphic">
          <ac:chgData name="Suman Das" userId="48a07445-4675-4748-acc3-eb500a5ddf20" providerId="ADAL" clId="{A7784D3A-2DAC-4ED2-BB27-C8D48836B5C0}" dt="2025-05-28T09:01:28.210" v="2158" actId="207"/>
          <ac:graphicFrameMkLst>
            <pc:docMk/>
            <pc:sldMk cId="3065366446" sldId="257"/>
            <ac:graphicFrameMk id="5" creationId="{E7FDFD7E-7A25-76E8-82EF-ACF2B4BC5202}"/>
          </ac:graphicFrameMkLst>
        </pc:graphicFrameChg>
      </pc:sldChg>
      <pc:sldChg chg="modSp mod">
        <pc:chgData name="Suman Das" userId="48a07445-4675-4748-acc3-eb500a5ddf20" providerId="ADAL" clId="{A7784D3A-2DAC-4ED2-BB27-C8D48836B5C0}" dt="2025-05-28T09:01:36.848" v="2159" actId="207"/>
        <pc:sldMkLst>
          <pc:docMk/>
          <pc:sldMk cId="2843229640" sldId="258"/>
        </pc:sldMkLst>
        <pc:graphicFrameChg chg="mod modGraphic">
          <ac:chgData name="Suman Das" userId="48a07445-4675-4748-acc3-eb500a5ddf20" providerId="ADAL" clId="{A7784D3A-2DAC-4ED2-BB27-C8D48836B5C0}" dt="2025-05-28T09:01:36.848" v="2159" actId="207"/>
          <ac:graphicFrameMkLst>
            <pc:docMk/>
            <pc:sldMk cId="2843229640" sldId="258"/>
            <ac:graphicFrameMk id="2" creationId="{A5B534F5-410A-CB58-9CA1-33539E17758E}"/>
          </ac:graphicFrameMkLst>
        </pc:graphicFrameChg>
      </pc:sldChg>
      <pc:sldChg chg="modSp mod">
        <pc:chgData name="Suman Das" userId="48a07445-4675-4748-acc3-eb500a5ddf20" providerId="ADAL" clId="{A7784D3A-2DAC-4ED2-BB27-C8D48836B5C0}" dt="2025-05-28T09:03:14.106" v="2216" actId="207"/>
        <pc:sldMkLst>
          <pc:docMk/>
          <pc:sldMk cId="14500445" sldId="259"/>
        </pc:sldMkLst>
        <pc:graphicFrameChg chg="mod modGraphic">
          <ac:chgData name="Suman Das" userId="48a07445-4675-4748-acc3-eb500a5ddf20" providerId="ADAL" clId="{A7784D3A-2DAC-4ED2-BB27-C8D48836B5C0}" dt="2025-05-28T09:03:14.106" v="2216" actId="207"/>
          <ac:graphicFrameMkLst>
            <pc:docMk/>
            <pc:sldMk cId="14500445" sldId="259"/>
            <ac:graphicFrameMk id="2" creationId="{F1322BC9-1340-7B6C-4DF9-FA33C0932BDA}"/>
          </ac:graphicFrameMkLst>
        </pc:graphicFrameChg>
      </pc:sldChg>
      <pc:sldChg chg="addSp delSp modSp mod">
        <pc:chgData name="Suman Das" userId="48a07445-4675-4748-acc3-eb500a5ddf20" providerId="ADAL" clId="{A7784D3A-2DAC-4ED2-BB27-C8D48836B5C0}" dt="2025-05-27T08:55:21.026" v="1265"/>
        <pc:sldMkLst>
          <pc:docMk/>
          <pc:sldMk cId="4148481633" sldId="260"/>
        </pc:sldMkLst>
        <pc:spChg chg="mod">
          <ac:chgData name="Suman Das" userId="48a07445-4675-4748-acc3-eb500a5ddf20" providerId="ADAL" clId="{A7784D3A-2DAC-4ED2-BB27-C8D48836B5C0}" dt="2025-05-14T10:52:27.806" v="241" actId="1076"/>
          <ac:spMkLst>
            <pc:docMk/>
            <pc:sldMk cId="4148481633" sldId="260"/>
            <ac:spMk id="458" creationId="{C555477A-6198-262C-B87D-D97F35BE9E4A}"/>
          </ac:spMkLst>
        </pc:spChg>
        <pc:graphicFrameChg chg="add del mod modGraphic">
          <ac:chgData name="Suman Das" userId="48a07445-4675-4748-acc3-eb500a5ddf20" providerId="ADAL" clId="{A7784D3A-2DAC-4ED2-BB27-C8D48836B5C0}" dt="2025-05-27T03:53:25.031" v="437" actId="478"/>
          <ac:graphicFrameMkLst>
            <pc:docMk/>
            <pc:sldMk cId="4148481633" sldId="260"/>
            <ac:graphicFrameMk id="2" creationId="{AA1D8C3E-4BDD-228C-150E-C1A7AF0438EF}"/>
          </ac:graphicFrameMkLst>
        </pc:graphicFrameChg>
        <pc:graphicFrameChg chg="mod modGraphic">
          <ac:chgData name="Suman Das" userId="48a07445-4675-4748-acc3-eb500a5ddf20" providerId="ADAL" clId="{A7784D3A-2DAC-4ED2-BB27-C8D48836B5C0}" dt="2025-05-27T08:55:21.026" v="1265"/>
          <ac:graphicFrameMkLst>
            <pc:docMk/>
            <pc:sldMk cId="4148481633" sldId="260"/>
            <ac:graphicFrameMk id="400" creationId="{D3482654-9DD3-62CB-4489-219AC049DDCF}"/>
          </ac:graphicFrameMkLst>
        </pc:graphicFrameChg>
      </pc:sldChg>
      <pc:sldChg chg="addSp delSp modSp mod">
        <pc:chgData name="Suman Das" userId="48a07445-4675-4748-acc3-eb500a5ddf20" providerId="ADAL" clId="{A7784D3A-2DAC-4ED2-BB27-C8D48836B5C0}" dt="2025-05-27T04:03:26.349" v="519" actId="207"/>
        <pc:sldMkLst>
          <pc:docMk/>
          <pc:sldMk cId="3500966635" sldId="261"/>
        </pc:sldMkLst>
        <pc:spChg chg="add mod ord">
          <ac:chgData name="Suman Das" userId="48a07445-4675-4748-acc3-eb500a5ddf20" providerId="ADAL" clId="{A7784D3A-2DAC-4ED2-BB27-C8D48836B5C0}" dt="2025-05-27T04:03:26.349" v="519" actId="207"/>
          <ac:spMkLst>
            <pc:docMk/>
            <pc:sldMk cId="3500966635" sldId="261"/>
            <ac:spMk id="4" creationId="{F83BDBF0-8808-960C-32A7-A30581907130}"/>
          </ac:spMkLst>
        </pc:spChg>
        <pc:graphicFrameChg chg="add del mod modGraphic">
          <ac:chgData name="Suman Das" userId="48a07445-4675-4748-acc3-eb500a5ddf20" providerId="ADAL" clId="{A7784D3A-2DAC-4ED2-BB27-C8D48836B5C0}" dt="2025-05-27T04:00:54.979" v="499" actId="478"/>
          <ac:graphicFrameMkLst>
            <pc:docMk/>
            <pc:sldMk cId="3500966635" sldId="261"/>
            <ac:graphicFrameMk id="3" creationId="{BAFDAA47-D0D1-4E98-CCE2-C22311749F4A}"/>
          </ac:graphicFrameMkLst>
        </pc:graphicFrameChg>
        <pc:graphicFrameChg chg="add del mod modGraphic">
          <ac:chgData name="Suman Das" userId="48a07445-4675-4748-acc3-eb500a5ddf20" providerId="ADAL" clId="{A7784D3A-2DAC-4ED2-BB27-C8D48836B5C0}" dt="2025-05-27T04:01:25.703" v="504" actId="2166"/>
          <ac:graphicFrameMkLst>
            <pc:docMk/>
            <pc:sldMk cId="3500966635" sldId="261"/>
            <ac:graphicFrameMk id="8" creationId="{D0B3CD32-233B-4544-8B3A-FDD9AEE3E75E}"/>
          </ac:graphicFrameMkLst>
        </pc:graphicFrameChg>
        <pc:picChg chg="mod">
          <ac:chgData name="Suman Das" userId="48a07445-4675-4748-acc3-eb500a5ddf20" providerId="ADAL" clId="{A7784D3A-2DAC-4ED2-BB27-C8D48836B5C0}" dt="2025-05-27T04:02:38.954" v="508"/>
          <ac:picMkLst>
            <pc:docMk/>
            <pc:sldMk cId="3500966635" sldId="261"/>
            <ac:picMk id="13" creationId="{730DE9D6-477C-EA1E-E37E-1B9E6D32382B}"/>
          </ac:picMkLst>
        </pc:picChg>
        <pc:picChg chg="del">
          <ac:chgData name="Suman Das" userId="48a07445-4675-4748-acc3-eb500a5ddf20" providerId="ADAL" clId="{A7784D3A-2DAC-4ED2-BB27-C8D48836B5C0}" dt="2025-05-27T03:57:37.026" v="445" actId="478"/>
          <ac:picMkLst>
            <pc:docMk/>
            <pc:sldMk cId="3500966635" sldId="261"/>
            <ac:picMk id="15" creationId="{19F4F855-DEBE-8EA5-E633-5BD45BFD1C7F}"/>
          </ac:picMkLst>
        </pc:picChg>
        <pc:picChg chg="del">
          <ac:chgData name="Suman Das" userId="48a07445-4675-4748-acc3-eb500a5ddf20" providerId="ADAL" clId="{A7784D3A-2DAC-4ED2-BB27-C8D48836B5C0}" dt="2025-05-27T03:57:37.784" v="446" actId="478"/>
          <ac:picMkLst>
            <pc:docMk/>
            <pc:sldMk cId="3500966635" sldId="261"/>
            <ac:picMk id="17" creationId="{DDC6C153-F51C-2431-376E-74E14147A034}"/>
          </ac:picMkLst>
        </pc:picChg>
        <pc:picChg chg="del">
          <ac:chgData name="Suman Das" userId="48a07445-4675-4748-acc3-eb500a5ddf20" providerId="ADAL" clId="{A7784D3A-2DAC-4ED2-BB27-C8D48836B5C0}" dt="2025-05-27T03:57:38.336" v="447" actId="478"/>
          <ac:picMkLst>
            <pc:docMk/>
            <pc:sldMk cId="3500966635" sldId="261"/>
            <ac:picMk id="19" creationId="{AA2488C1-CA2C-3AC1-9D66-83FF8E909F94}"/>
          </ac:picMkLst>
        </pc:picChg>
        <pc:picChg chg="del">
          <ac:chgData name="Suman Das" userId="48a07445-4675-4748-acc3-eb500a5ddf20" providerId="ADAL" clId="{A7784D3A-2DAC-4ED2-BB27-C8D48836B5C0}" dt="2025-05-27T03:57:38.854" v="448" actId="478"/>
          <ac:picMkLst>
            <pc:docMk/>
            <pc:sldMk cId="3500966635" sldId="261"/>
            <ac:picMk id="21" creationId="{36EFA1EB-FA09-94D0-54CC-99F150910EB4}"/>
          </ac:picMkLst>
        </pc:picChg>
      </pc:sldChg>
      <pc:sldChg chg="addSp delSp modSp mod">
        <pc:chgData name="Suman Das" userId="48a07445-4675-4748-acc3-eb500a5ddf20" providerId="ADAL" clId="{A7784D3A-2DAC-4ED2-BB27-C8D48836B5C0}" dt="2025-05-28T09:01:19.538" v="2157" actId="207"/>
        <pc:sldMkLst>
          <pc:docMk/>
          <pc:sldMk cId="1236229107" sldId="262"/>
        </pc:sldMkLst>
        <pc:spChg chg="mod">
          <ac:chgData name="Suman Das" userId="48a07445-4675-4748-acc3-eb500a5ddf20" providerId="ADAL" clId="{A7784D3A-2DAC-4ED2-BB27-C8D48836B5C0}" dt="2025-05-27T08:44:57.244" v="1190" actId="1076"/>
          <ac:spMkLst>
            <pc:docMk/>
            <pc:sldMk cId="1236229107" sldId="262"/>
            <ac:spMk id="7" creationId="{4217663F-225F-2108-BE13-CB495E9B3461}"/>
          </ac:spMkLst>
        </pc:spChg>
        <pc:graphicFrameChg chg="del mod">
          <ac:chgData name="Suman Das" userId="48a07445-4675-4748-acc3-eb500a5ddf20" providerId="ADAL" clId="{A7784D3A-2DAC-4ED2-BB27-C8D48836B5C0}" dt="2025-05-27T08:40:31.846" v="1129" actId="478"/>
          <ac:graphicFrameMkLst>
            <pc:docMk/>
            <pc:sldMk cId="1236229107" sldId="262"/>
            <ac:graphicFrameMk id="5" creationId="{F7DB7AA5-F70A-656E-EBD4-70A4407664D9}"/>
          </ac:graphicFrameMkLst>
        </pc:graphicFrameChg>
        <pc:graphicFrameChg chg="add mod modGraphic">
          <ac:chgData name="Suman Das" userId="48a07445-4675-4748-acc3-eb500a5ddf20" providerId="ADAL" clId="{A7784D3A-2DAC-4ED2-BB27-C8D48836B5C0}" dt="2025-05-28T09:01:19.538" v="2157" actId="207"/>
          <ac:graphicFrameMkLst>
            <pc:docMk/>
            <pc:sldMk cId="1236229107" sldId="262"/>
            <ac:graphicFrameMk id="8" creationId="{11B69EAF-A810-B255-4882-AA17B269C801}"/>
          </ac:graphicFrameMkLst>
        </pc:graphicFrameChg>
      </pc:sldChg>
      <pc:sldChg chg="addSp delSp modSp mod">
        <pc:chgData name="Suman Das" userId="48a07445-4675-4748-acc3-eb500a5ddf20" providerId="ADAL" clId="{A7784D3A-2DAC-4ED2-BB27-C8D48836B5C0}" dt="2025-05-27T04:09:57.759" v="613" actId="1076"/>
        <pc:sldMkLst>
          <pc:docMk/>
          <pc:sldMk cId="3346335237" sldId="263"/>
        </pc:sldMkLst>
        <pc:spChg chg="add mod">
          <ac:chgData name="Suman Das" userId="48a07445-4675-4748-acc3-eb500a5ddf20" providerId="ADAL" clId="{A7784D3A-2DAC-4ED2-BB27-C8D48836B5C0}" dt="2025-05-27T04:09:57.759" v="613" actId="1076"/>
          <ac:spMkLst>
            <pc:docMk/>
            <pc:sldMk cId="3346335237" sldId="263"/>
            <ac:spMk id="4" creationId="{6C7768B5-9297-30D0-2B77-D76EB9D1E186}"/>
          </ac:spMkLst>
        </pc:spChg>
        <pc:spChg chg="add mod ord">
          <ac:chgData name="Suman Das" userId="48a07445-4675-4748-acc3-eb500a5ddf20" providerId="ADAL" clId="{A7784D3A-2DAC-4ED2-BB27-C8D48836B5C0}" dt="2025-05-27T04:09:46.016" v="611" actId="1076"/>
          <ac:spMkLst>
            <pc:docMk/>
            <pc:sldMk cId="3346335237" sldId="263"/>
            <ac:spMk id="5" creationId="{525D42C6-0963-A084-042F-59E4409CCF8C}"/>
          </ac:spMkLst>
        </pc:spChg>
        <pc:graphicFrameChg chg="mod modGraphic">
          <ac:chgData name="Suman Das" userId="48a07445-4675-4748-acc3-eb500a5ddf20" providerId="ADAL" clId="{A7784D3A-2DAC-4ED2-BB27-C8D48836B5C0}" dt="2025-05-27T04:09:54.898" v="612" actId="1076"/>
          <ac:graphicFrameMkLst>
            <pc:docMk/>
            <pc:sldMk cId="3346335237" sldId="263"/>
            <ac:graphicFrameMk id="3" creationId="{D36752CD-225B-05DA-9C37-C53AFE5337FB}"/>
          </ac:graphicFrameMkLst>
        </pc:graphicFrameChg>
        <pc:picChg chg="mod">
          <ac:chgData name="Suman Das" userId="48a07445-4675-4748-acc3-eb500a5ddf20" providerId="ADAL" clId="{A7784D3A-2DAC-4ED2-BB27-C8D48836B5C0}" dt="2025-05-27T04:09:19.195" v="604" actId="14100"/>
          <ac:picMkLst>
            <pc:docMk/>
            <pc:sldMk cId="3346335237" sldId="263"/>
            <ac:picMk id="6" creationId="{87AC5B25-C9E8-409D-A303-85F7E78FED0F}"/>
          </ac:picMkLst>
        </pc:picChg>
        <pc:picChg chg="mod">
          <ac:chgData name="Suman Das" userId="48a07445-4675-4748-acc3-eb500a5ddf20" providerId="ADAL" clId="{A7784D3A-2DAC-4ED2-BB27-C8D48836B5C0}" dt="2025-05-27T04:09:43.222" v="610" actId="14100"/>
          <ac:picMkLst>
            <pc:docMk/>
            <pc:sldMk cId="3346335237" sldId="263"/>
            <ac:picMk id="8" creationId="{2C3CFF74-A858-4614-E51A-6523400167AC}"/>
          </ac:picMkLst>
        </pc:picChg>
        <pc:picChg chg="del">
          <ac:chgData name="Suman Das" userId="48a07445-4675-4748-acc3-eb500a5ddf20" providerId="ADAL" clId="{A7784D3A-2DAC-4ED2-BB27-C8D48836B5C0}" dt="2025-05-27T04:06:42.891" v="547" actId="478"/>
          <ac:picMkLst>
            <pc:docMk/>
            <pc:sldMk cId="3346335237" sldId="263"/>
            <ac:picMk id="10" creationId="{23671CCD-F6B6-2357-FFD6-38D12671DD82}"/>
          </ac:picMkLst>
        </pc:picChg>
        <pc:picChg chg="del">
          <ac:chgData name="Suman Das" userId="48a07445-4675-4748-acc3-eb500a5ddf20" providerId="ADAL" clId="{A7784D3A-2DAC-4ED2-BB27-C8D48836B5C0}" dt="2025-05-27T04:06:37.439" v="542" actId="478"/>
          <ac:picMkLst>
            <pc:docMk/>
            <pc:sldMk cId="3346335237" sldId="263"/>
            <ac:picMk id="12" creationId="{76325798-5381-6231-DD0D-83D7BE1A87FC}"/>
          </ac:picMkLst>
        </pc:picChg>
        <pc:picChg chg="del">
          <ac:chgData name="Suman Das" userId="48a07445-4675-4748-acc3-eb500a5ddf20" providerId="ADAL" clId="{A7784D3A-2DAC-4ED2-BB27-C8D48836B5C0}" dt="2025-05-27T04:06:37.897" v="543" actId="478"/>
          <ac:picMkLst>
            <pc:docMk/>
            <pc:sldMk cId="3346335237" sldId="263"/>
            <ac:picMk id="14" creationId="{87D2B861-145E-08B2-114D-6EB367A95758}"/>
          </ac:picMkLst>
        </pc:picChg>
        <pc:picChg chg="del">
          <ac:chgData name="Suman Das" userId="48a07445-4675-4748-acc3-eb500a5ddf20" providerId="ADAL" clId="{A7784D3A-2DAC-4ED2-BB27-C8D48836B5C0}" dt="2025-05-27T04:06:38.942" v="544" actId="478"/>
          <ac:picMkLst>
            <pc:docMk/>
            <pc:sldMk cId="3346335237" sldId="263"/>
            <ac:picMk id="16" creationId="{D3C86D12-B1D4-A706-C863-9145E2284BA1}"/>
          </ac:picMkLst>
        </pc:picChg>
        <pc:picChg chg="del">
          <ac:chgData name="Suman Das" userId="48a07445-4675-4748-acc3-eb500a5ddf20" providerId="ADAL" clId="{A7784D3A-2DAC-4ED2-BB27-C8D48836B5C0}" dt="2025-05-27T04:06:36.838" v="541" actId="478"/>
          <ac:picMkLst>
            <pc:docMk/>
            <pc:sldMk cId="3346335237" sldId="263"/>
            <ac:picMk id="18" creationId="{4118855F-1030-6BA0-045B-C1AA64693D6B}"/>
          </ac:picMkLst>
        </pc:picChg>
      </pc:sldChg>
      <pc:sldChg chg="modSp mod">
        <pc:chgData name="Suman Das" userId="48a07445-4675-4748-acc3-eb500a5ddf20" providerId="ADAL" clId="{A7784D3A-2DAC-4ED2-BB27-C8D48836B5C0}" dt="2025-05-28T09:03:35.811" v="2217" actId="207"/>
        <pc:sldMkLst>
          <pc:docMk/>
          <pc:sldMk cId="2642081702" sldId="264"/>
        </pc:sldMkLst>
        <pc:graphicFrameChg chg="mod modGraphic">
          <ac:chgData name="Suman Das" userId="48a07445-4675-4748-acc3-eb500a5ddf20" providerId="ADAL" clId="{A7784D3A-2DAC-4ED2-BB27-C8D48836B5C0}" dt="2025-05-28T09:03:35.811" v="2217" actId="207"/>
          <ac:graphicFrameMkLst>
            <pc:docMk/>
            <pc:sldMk cId="2642081702" sldId="264"/>
            <ac:graphicFrameMk id="6" creationId="{D5AEA647-6828-F20A-FE12-DBF7E6C44A75}"/>
          </ac:graphicFrameMkLst>
        </pc:graphicFrameChg>
      </pc:sldChg>
      <pc:sldChg chg="del">
        <pc:chgData name="Suman Das" userId="48a07445-4675-4748-acc3-eb500a5ddf20" providerId="ADAL" clId="{A7784D3A-2DAC-4ED2-BB27-C8D48836B5C0}" dt="2025-05-27T04:17:06.167" v="619" actId="47"/>
        <pc:sldMkLst>
          <pc:docMk/>
          <pc:sldMk cId="3293854493" sldId="265"/>
        </pc:sldMkLst>
      </pc:sldChg>
      <pc:sldChg chg="del">
        <pc:chgData name="Suman Das" userId="48a07445-4675-4748-acc3-eb500a5ddf20" providerId="ADAL" clId="{A7784D3A-2DAC-4ED2-BB27-C8D48836B5C0}" dt="2025-05-27T04:17:06.167" v="619" actId="47"/>
        <pc:sldMkLst>
          <pc:docMk/>
          <pc:sldMk cId="3358681761" sldId="266"/>
        </pc:sldMkLst>
      </pc:sldChg>
      <pc:sldChg chg="del">
        <pc:chgData name="Suman Das" userId="48a07445-4675-4748-acc3-eb500a5ddf20" providerId="ADAL" clId="{A7784D3A-2DAC-4ED2-BB27-C8D48836B5C0}" dt="2025-05-27T04:17:06.167" v="619" actId="47"/>
        <pc:sldMkLst>
          <pc:docMk/>
          <pc:sldMk cId="905554879" sldId="267"/>
        </pc:sldMkLst>
      </pc:sldChg>
      <pc:sldChg chg="del">
        <pc:chgData name="Suman Das" userId="48a07445-4675-4748-acc3-eb500a5ddf20" providerId="ADAL" clId="{A7784D3A-2DAC-4ED2-BB27-C8D48836B5C0}" dt="2025-05-27T04:17:06.167" v="619" actId="47"/>
        <pc:sldMkLst>
          <pc:docMk/>
          <pc:sldMk cId="1804334775" sldId="268"/>
        </pc:sldMkLst>
      </pc:sldChg>
      <pc:sldChg chg="del">
        <pc:chgData name="Suman Das" userId="48a07445-4675-4748-acc3-eb500a5ddf20" providerId="ADAL" clId="{A7784D3A-2DAC-4ED2-BB27-C8D48836B5C0}" dt="2025-05-27T04:17:06.167" v="619" actId="47"/>
        <pc:sldMkLst>
          <pc:docMk/>
          <pc:sldMk cId="3281852010" sldId="270"/>
        </pc:sldMkLst>
      </pc:sldChg>
      <pc:sldChg chg="ord">
        <pc:chgData name="Suman Das" userId="48a07445-4675-4748-acc3-eb500a5ddf20" providerId="ADAL" clId="{A7784D3A-2DAC-4ED2-BB27-C8D48836B5C0}" dt="2025-05-28T04:11:45.263" v="1752"/>
        <pc:sldMkLst>
          <pc:docMk/>
          <pc:sldMk cId="4261824373" sldId="271"/>
        </pc:sldMkLst>
      </pc:sldChg>
      <pc:sldChg chg="addSp delSp modSp mod">
        <pc:chgData name="Suman Das" userId="48a07445-4675-4748-acc3-eb500a5ddf20" providerId="ADAL" clId="{A7784D3A-2DAC-4ED2-BB27-C8D48836B5C0}" dt="2025-05-27T08:55:09.711" v="1264" actId="207"/>
        <pc:sldMkLst>
          <pc:docMk/>
          <pc:sldMk cId="1390415518" sldId="272"/>
        </pc:sldMkLst>
        <pc:spChg chg="mod">
          <ac:chgData name="Suman Das" userId="48a07445-4675-4748-acc3-eb500a5ddf20" providerId="ADAL" clId="{A7784D3A-2DAC-4ED2-BB27-C8D48836B5C0}" dt="2025-05-27T03:53:46.459" v="440" actId="1076"/>
          <ac:spMkLst>
            <pc:docMk/>
            <pc:sldMk cId="1390415518" sldId="272"/>
            <ac:spMk id="459" creationId="{A369A87E-23D0-FD5F-5F36-C30B777DADB8}"/>
          </ac:spMkLst>
        </pc:spChg>
        <pc:graphicFrameChg chg="add del mod">
          <ac:chgData name="Suman Das" userId="48a07445-4675-4748-acc3-eb500a5ddf20" providerId="ADAL" clId="{A7784D3A-2DAC-4ED2-BB27-C8D48836B5C0}" dt="2025-05-27T03:49:57.445" v="420" actId="478"/>
          <ac:graphicFrameMkLst>
            <pc:docMk/>
            <pc:sldMk cId="1390415518" sldId="272"/>
            <ac:graphicFrameMk id="2" creationId="{80BC4926-3B57-40D8-2D73-7142A1632EA8}"/>
          </ac:graphicFrameMkLst>
        </pc:graphicFrameChg>
        <pc:graphicFrameChg chg="mod modGraphic">
          <ac:chgData name="Suman Das" userId="48a07445-4675-4748-acc3-eb500a5ddf20" providerId="ADAL" clId="{A7784D3A-2DAC-4ED2-BB27-C8D48836B5C0}" dt="2025-05-27T08:55:09.711" v="1264" actId="207"/>
          <ac:graphicFrameMkLst>
            <pc:docMk/>
            <pc:sldMk cId="1390415518" sldId="272"/>
            <ac:graphicFrameMk id="402" creationId="{517DB3D8-4578-A3C4-E8EB-EB531C2997D9}"/>
          </ac:graphicFrameMkLst>
        </pc:graphicFrameChg>
        <pc:picChg chg="add mod">
          <ac:chgData name="Suman Das" userId="48a07445-4675-4748-acc3-eb500a5ddf20" providerId="ADAL" clId="{A7784D3A-2DAC-4ED2-BB27-C8D48836B5C0}" dt="2025-05-27T03:48:58.891" v="406" actId="1076"/>
          <ac:picMkLst>
            <pc:docMk/>
            <pc:sldMk cId="1390415518" sldId="272"/>
            <ac:picMk id="3" creationId="{419D243D-8244-7025-3913-41BF47C5670F}"/>
          </ac:picMkLst>
        </pc:picChg>
        <pc:picChg chg="add mod">
          <ac:chgData name="Suman Das" userId="48a07445-4675-4748-acc3-eb500a5ddf20" providerId="ADAL" clId="{A7784D3A-2DAC-4ED2-BB27-C8D48836B5C0}" dt="2025-05-27T03:49:04.619" v="408" actId="1076"/>
          <ac:picMkLst>
            <pc:docMk/>
            <pc:sldMk cId="1390415518" sldId="272"/>
            <ac:picMk id="4" creationId="{D6A13C7A-2C4D-A660-4B96-7E430347190F}"/>
          </ac:picMkLst>
        </pc:picChg>
        <pc:picChg chg="del mod">
          <ac:chgData name="Suman Das" userId="48a07445-4675-4748-acc3-eb500a5ddf20" providerId="ADAL" clId="{A7784D3A-2DAC-4ED2-BB27-C8D48836B5C0}" dt="2025-05-27T03:48:54.640" v="403" actId="478"/>
          <ac:picMkLst>
            <pc:docMk/>
            <pc:sldMk cId="1390415518" sldId="272"/>
            <ac:picMk id="8" creationId="{5E104E2E-B8B3-3158-29B5-308EDA4C14A0}"/>
          </ac:picMkLst>
        </pc:picChg>
        <pc:picChg chg="del mod">
          <ac:chgData name="Suman Das" userId="48a07445-4675-4748-acc3-eb500a5ddf20" providerId="ADAL" clId="{A7784D3A-2DAC-4ED2-BB27-C8D48836B5C0}" dt="2025-05-27T03:49:05.926" v="409" actId="478"/>
          <ac:picMkLst>
            <pc:docMk/>
            <pc:sldMk cId="1390415518" sldId="272"/>
            <ac:picMk id="13" creationId="{02016857-0BED-17B0-687B-DB8ACAACCD8D}"/>
          </ac:picMkLst>
        </pc:picChg>
        <pc:cxnChg chg="del">
          <ac:chgData name="Suman Das" userId="48a07445-4675-4748-acc3-eb500a5ddf20" providerId="ADAL" clId="{A7784D3A-2DAC-4ED2-BB27-C8D48836B5C0}" dt="2025-05-27T03:49:07.963" v="411" actId="478"/>
          <ac:cxnSpMkLst>
            <pc:docMk/>
            <pc:sldMk cId="1390415518" sldId="272"/>
            <ac:cxnSpMk id="7" creationId="{E8B9F49A-F0DE-FD53-AFB5-70AF6A4DE2FE}"/>
          </ac:cxnSpMkLst>
        </pc:cxnChg>
        <pc:cxnChg chg="del">
          <ac:chgData name="Suman Das" userId="48a07445-4675-4748-acc3-eb500a5ddf20" providerId="ADAL" clId="{A7784D3A-2DAC-4ED2-BB27-C8D48836B5C0}" dt="2025-05-27T03:49:07.364" v="410" actId="478"/>
          <ac:cxnSpMkLst>
            <pc:docMk/>
            <pc:sldMk cId="1390415518" sldId="272"/>
            <ac:cxnSpMk id="9" creationId="{FF566751-A790-8F9D-24DD-77B4568E8ADC}"/>
          </ac:cxnSpMkLst>
        </pc:cxnChg>
        <pc:cxnChg chg="add">
          <ac:chgData name="Suman Das" userId="48a07445-4675-4748-acc3-eb500a5ddf20" providerId="ADAL" clId="{A7784D3A-2DAC-4ED2-BB27-C8D48836B5C0}" dt="2025-05-27T03:49:22.396" v="412" actId="11529"/>
          <ac:cxnSpMkLst>
            <pc:docMk/>
            <pc:sldMk cId="1390415518" sldId="272"/>
            <ac:cxnSpMk id="10" creationId="{5CFD22E9-5F62-522E-AD62-3A04E013EA5E}"/>
          </ac:cxnSpMkLst>
        </pc:cxnChg>
        <pc:cxnChg chg="add mod">
          <ac:chgData name="Suman Das" userId="48a07445-4675-4748-acc3-eb500a5ddf20" providerId="ADAL" clId="{A7784D3A-2DAC-4ED2-BB27-C8D48836B5C0}" dt="2025-05-27T03:49:29.001" v="417" actId="1038"/>
          <ac:cxnSpMkLst>
            <pc:docMk/>
            <pc:sldMk cId="1390415518" sldId="272"/>
            <ac:cxnSpMk id="11" creationId="{6C987FED-DE7C-131A-3B21-4288300CDE51}"/>
          </ac:cxnSpMkLst>
        </pc:cxnChg>
      </pc:sldChg>
      <pc:sldChg chg="del">
        <pc:chgData name="Suman Das" userId="48a07445-4675-4748-acc3-eb500a5ddf20" providerId="ADAL" clId="{A7784D3A-2DAC-4ED2-BB27-C8D48836B5C0}" dt="2025-05-27T04:17:06.167" v="619" actId="47"/>
        <pc:sldMkLst>
          <pc:docMk/>
          <pc:sldMk cId="2916484570" sldId="273"/>
        </pc:sldMkLst>
      </pc:sldChg>
      <pc:sldChg chg="modSp del mod">
        <pc:chgData name="Suman Das" userId="48a07445-4675-4748-acc3-eb500a5ddf20" providerId="ADAL" clId="{A7784D3A-2DAC-4ED2-BB27-C8D48836B5C0}" dt="2025-05-27T04:17:57.482" v="631" actId="47"/>
        <pc:sldMkLst>
          <pc:docMk/>
          <pc:sldMk cId="1686927188" sldId="274"/>
        </pc:sldMkLst>
        <pc:spChg chg="mod">
          <ac:chgData name="Suman Das" userId="48a07445-4675-4748-acc3-eb500a5ddf20" providerId="ADAL" clId="{A7784D3A-2DAC-4ED2-BB27-C8D48836B5C0}" dt="2025-05-27T04:17:48.214" v="629" actId="5793"/>
          <ac:spMkLst>
            <pc:docMk/>
            <pc:sldMk cId="1686927188" sldId="274"/>
            <ac:spMk id="3" creationId="{A4252FF7-D9E4-D7F4-835F-5CCF185975D1}"/>
          </ac:spMkLst>
        </pc:spChg>
      </pc:sldChg>
      <pc:sldChg chg="addSp delSp modSp add mod">
        <pc:chgData name="Suman Das" userId="48a07445-4675-4748-acc3-eb500a5ddf20" providerId="ADAL" clId="{A7784D3A-2DAC-4ED2-BB27-C8D48836B5C0}" dt="2025-05-27T04:04:53.630" v="536" actId="1076"/>
        <pc:sldMkLst>
          <pc:docMk/>
          <pc:sldMk cId="3512443429" sldId="275"/>
        </pc:sldMkLst>
        <pc:spChg chg="mod">
          <ac:chgData name="Suman Das" userId="48a07445-4675-4748-acc3-eb500a5ddf20" providerId="ADAL" clId="{A7784D3A-2DAC-4ED2-BB27-C8D48836B5C0}" dt="2025-05-27T04:03:51.553" v="525" actId="20577"/>
          <ac:spMkLst>
            <pc:docMk/>
            <pc:sldMk cId="3512443429" sldId="275"/>
            <ac:spMk id="2" creationId="{5321122D-867D-8C91-E60B-67E67A0E5E06}"/>
          </ac:spMkLst>
        </pc:spChg>
        <pc:spChg chg="mod ord">
          <ac:chgData name="Suman Das" userId="48a07445-4675-4748-acc3-eb500a5ddf20" providerId="ADAL" clId="{A7784D3A-2DAC-4ED2-BB27-C8D48836B5C0}" dt="2025-05-27T04:04:53.630" v="536" actId="1076"/>
          <ac:spMkLst>
            <pc:docMk/>
            <pc:sldMk cId="3512443429" sldId="275"/>
            <ac:spMk id="4" creationId="{4DD18472-72D9-4FE1-96CB-F087A0EC0933}"/>
          </ac:spMkLst>
        </pc:spChg>
        <pc:picChg chg="add mod">
          <ac:chgData name="Suman Das" userId="48a07445-4675-4748-acc3-eb500a5ddf20" providerId="ADAL" clId="{A7784D3A-2DAC-4ED2-BB27-C8D48836B5C0}" dt="2025-05-27T04:04:42.414" v="533" actId="14100"/>
          <ac:picMkLst>
            <pc:docMk/>
            <pc:sldMk cId="3512443429" sldId="275"/>
            <ac:picMk id="3" creationId="{7221276A-6BC2-A99F-AD7A-98F032061240}"/>
          </ac:picMkLst>
        </pc:picChg>
        <pc:picChg chg="del">
          <ac:chgData name="Suman Das" userId="48a07445-4675-4748-acc3-eb500a5ddf20" providerId="ADAL" clId="{A7784D3A-2DAC-4ED2-BB27-C8D48836B5C0}" dt="2025-05-27T04:04:04.772" v="526" actId="478"/>
          <ac:picMkLst>
            <pc:docMk/>
            <pc:sldMk cId="3512443429" sldId="275"/>
            <ac:picMk id="13" creationId="{E3182A2D-EFC5-2433-18D3-98326D4625BF}"/>
          </ac:picMkLst>
        </pc:picChg>
      </pc:sldChg>
      <pc:sldChg chg="addSp delSp modSp new del mod">
        <pc:chgData name="Suman Das" userId="48a07445-4675-4748-acc3-eb500a5ddf20" providerId="ADAL" clId="{A7784D3A-2DAC-4ED2-BB27-C8D48836B5C0}" dt="2025-05-27T08:45:56.513" v="1193" actId="2696"/>
        <pc:sldMkLst>
          <pc:docMk/>
          <pc:sldMk cId="880751441" sldId="276"/>
        </pc:sldMkLst>
        <pc:spChg chg="add del mod">
          <ac:chgData name="Suman Das" userId="48a07445-4675-4748-acc3-eb500a5ddf20" providerId="ADAL" clId="{A7784D3A-2DAC-4ED2-BB27-C8D48836B5C0}" dt="2025-05-27T08:34:51.378" v="1035" actId="21"/>
          <ac:spMkLst>
            <pc:docMk/>
            <pc:sldMk cId="880751441" sldId="276"/>
            <ac:spMk id="2" creationId="{78D3C7DA-BA33-5BCD-CEC6-655C773C938B}"/>
          </ac:spMkLst>
        </pc:spChg>
        <pc:spChg chg="add del mod">
          <ac:chgData name="Suman Das" userId="48a07445-4675-4748-acc3-eb500a5ddf20" providerId="ADAL" clId="{A7784D3A-2DAC-4ED2-BB27-C8D48836B5C0}" dt="2025-05-27T08:37:29.092" v="1109" actId="478"/>
          <ac:spMkLst>
            <pc:docMk/>
            <pc:sldMk cId="880751441" sldId="276"/>
            <ac:spMk id="6" creationId="{EA0B58F7-8438-0EEE-194F-74B1FDD73B06}"/>
          </ac:spMkLst>
        </pc:spChg>
        <pc:spChg chg="add del mod">
          <ac:chgData name="Suman Das" userId="48a07445-4675-4748-acc3-eb500a5ddf20" providerId="ADAL" clId="{A7784D3A-2DAC-4ED2-BB27-C8D48836B5C0}" dt="2025-05-27T08:36:52.847" v="1060"/>
          <ac:spMkLst>
            <pc:docMk/>
            <pc:sldMk cId="880751441" sldId="276"/>
            <ac:spMk id="9" creationId="{5855B881-EEF7-86F7-F830-09C2669B68F3}"/>
          </ac:spMkLst>
        </pc:spChg>
        <pc:spChg chg="add mod">
          <ac:chgData name="Suman Das" userId="48a07445-4675-4748-acc3-eb500a5ddf20" providerId="ADAL" clId="{A7784D3A-2DAC-4ED2-BB27-C8D48836B5C0}" dt="2025-05-27T08:44:27.093" v="1189" actId="1076"/>
          <ac:spMkLst>
            <pc:docMk/>
            <pc:sldMk cId="880751441" sldId="276"/>
            <ac:spMk id="10" creationId="{8221D021-10F2-52A3-A783-7AA989EA08C8}"/>
          </ac:spMkLst>
        </pc:spChg>
        <pc:graphicFrameChg chg="add mod">
          <ac:chgData name="Suman Das" userId="48a07445-4675-4748-acc3-eb500a5ddf20" providerId="ADAL" clId="{A7784D3A-2DAC-4ED2-BB27-C8D48836B5C0}" dt="2025-05-27T04:26:21.494" v="712"/>
          <ac:graphicFrameMkLst>
            <pc:docMk/>
            <pc:sldMk cId="880751441" sldId="276"/>
            <ac:graphicFrameMk id="3" creationId="{682DFCB6-F4F5-BB12-1A9A-8232BCE7B8BB}"/>
          </ac:graphicFrameMkLst>
        </pc:graphicFrameChg>
        <pc:graphicFrameChg chg="add del mod modGraphic">
          <ac:chgData name="Suman Das" userId="48a07445-4675-4748-acc3-eb500a5ddf20" providerId="ADAL" clId="{A7784D3A-2DAC-4ED2-BB27-C8D48836B5C0}" dt="2025-05-27T08:18:26.807" v="878" actId="478"/>
          <ac:graphicFrameMkLst>
            <pc:docMk/>
            <pc:sldMk cId="880751441" sldId="276"/>
            <ac:graphicFrameMk id="4" creationId="{51AC47EB-2608-EDE1-1942-68C9BC87886F}"/>
          </ac:graphicFrameMkLst>
        </pc:graphicFrameChg>
        <pc:graphicFrameChg chg="add del mod modGraphic">
          <ac:chgData name="Suman Das" userId="48a07445-4675-4748-acc3-eb500a5ddf20" providerId="ADAL" clId="{A7784D3A-2DAC-4ED2-BB27-C8D48836B5C0}" dt="2025-05-27T08:37:37.196" v="1112" actId="14100"/>
          <ac:graphicFrameMkLst>
            <pc:docMk/>
            <pc:sldMk cId="880751441" sldId="276"/>
            <ac:graphicFrameMk id="7" creationId="{9D52BFA4-6603-CA41-E5BE-E5FA46EFBCE0}"/>
          </ac:graphicFrameMkLst>
        </pc:graphicFrameChg>
        <pc:picChg chg="add del mod">
          <ac:chgData name="Suman Das" userId="48a07445-4675-4748-acc3-eb500a5ddf20" providerId="ADAL" clId="{A7784D3A-2DAC-4ED2-BB27-C8D48836B5C0}" dt="2025-05-27T08:18:22.140" v="877" actId="478"/>
          <ac:picMkLst>
            <pc:docMk/>
            <pc:sldMk cId="880751441" sldId="276"/>
            <ac:picMk id="5" creationId="{81090D68-D1FB-C669-1F3A-6093FCBF6974}"/>
          </ac:picMkLst>
        </pc:picChg>
        <pc:picChg chg="add mod">
          <ac:chgData name="Suman Das" userId="48a07445-4675-4748-acc3-eb500a5ddf20" providerId="ADAL" clId="{A7784D3A-2DAC-4ED2-BB27-C8D48836B5C0}" dt="2025-05-27T08:37:40.967" v="1113" actId="1076"/>
          <ac:picMkLst>
            <pc:docMk/>
            <pc:sldMk cId="880751441" sldId="276"/>
            <ac:picMk id="8" creationId="{81090D68-D1FB-C669-1F3A-6093FCBF6974}"/>
          </ac:picMkLst>
        </pc:picChg>
      </pc:sldChg>
      <pc:sldChg chg="add del">
        <pc:chgData name="Suman Das" userId="48a07445-4675-4748-acc3-eb500a5ddf20" providerId="ADAL" clId="{A7784D3A-2DAC-4ED2-BB27-C8D48836B5C0}" dt="2025-05-27T04:17:57.482" v="631" actId="47"/>
        <pc:sldMkLst>
          <pc:docMk/>
          <pc:sldMk cId="1029919383" sldId="276"/>
        </pc:sldMkLst>
      </pc:sldChg>
      <pc:sldChg chg="addSp delSp modSp new mod ord">
        <pc:chgData name="Suman Das" userId="48a07445-4675-4748-acc3-eb500a5ddf20" providerId="ADAL" clId="{A7784D3A-2DAC-4ED2-BB27-C8D48836B5C0}" dt="2025-05-28T08:30:53.857" v="2062" actId="207"/>
        <pc:sldMkLst>
          <pc:docMk/>
          <pc:sldMk cId="1287987967" sldId="277"/>
        </pc:sldMkLst>
        <pc:spChg chg="del">
          <ac:chgData name="Suman Das" userId="48a07445-4675-4748-acc3-eb500a5ddf20" providerId="ADAL" clId="{A7784D3A-2DAC-4ED2-BB27-C8D48836B5C0}" dt="2025-05-27T08:09:19.140" v="815" actId="478"/>
          <ac:spMkLst>
            <pc:docMk/>
            <pc:sldMk cId="1287987967" sldId="277"/>
            <ac:spMk id="2" creationId="{2436129B-B152-7F11-8C0B-7516C6B79D58}"/>
          </ac:spMkLst>
        </pc:spChg>
        <pc:spChg chg="del">
          <ac:chgData name="Suman Das" userId="48a07445-4675-4748-acc3-eb500a5ddf20" providerId="ADAL" clId="{A7784D3A-2DAC-4ED2-BB27-C8D48836B5C0}" dt="2025-05-27T08:09:20.229" v="816" actId="478"/>
          <ac:spMkLst>
            <pc:docMk/>
            <pc:sldMk cId="1287987967" sldId="277"/>
            <ac:spMk id="3" creationId="{7EBAD662-8669-0B5B-FFBD-5AFF2035B906}"/>
          </ac:spMkLst>
        </pc:spChg>
        <pc:spChg chg="add mod">
          <ac:chgData name="Suman Das" userId="48a07445-4675-4748-acc3-eb500a5ddf20" providerId="ADAL" clId="{A7784D3A-2DAC-4ED2-BB27-C8D48836B5C0}" dt="2025-05-27T08:34:50.533" v="1033" actId="1076"/>
          <ac:spMkLst>
            <pc:docMk/>
            <pc:sldMk cId="1287987967" sldId="277"/>
            <ac:spMk id="6" creationId="{83B0449F-1097-0C8F-F0FB-08D38747D2F6}"/>
          </ac:spMkLst>
        </pc:spChg>
        <pc:graphicFrameChg chg="add del mod">
          <ac:chgData name="Suman Das" userId="48a07445-4675-4748-acc3-eb500a5ddf20" providerId="ADAL" clId="{A7784D3A-2DAC-4ED2-BB27-C8D48836B5C0}" dt="2025-05-27T08:29:47.289" v="919" actId="478"/>
          <ac:graphicFrameMkLst>
            <pc:docMk/>
            <pc:sldMk cId="1287987967" sldId="277"/>
            <ac:graphicFrameMk id="4" creationId="{E9D9A100-EB80-A91A-EE08-68BD48D1A2D0}"/>
          </ac:graphicFrameMkLst>
        </pc:graphicFrameChg>
        <pc:graphicFrameChg chg="add del mod">
          <ac:chgData name="Suman Das" userId="48a07445-4675-4748-acc3-eb500a5ddf20" providerId="ADAL" clId="{A7784D3A-2DAC-4ED2-BB27-C8D48836B5C0}" dt="2025-05-27T08:35:47.727" v="1048" actId="478"/>
          <ac:graphicFrameMkLst>
            <pc:docMk/>
            <pc:sldMk cId="1287987967" sldId="277"/>
            <ac:graphicFrameMk id="5" creationId="{091B8467-B356-B165-2D18-D62CE9F6CA17}"/>
          </ac:graphicFrameMkLst>
        </pc:graphicFrameChg>
        <pc:graphicFrameChg chg="add mod modGraphic">
          <ac:chgData name="Suman Das" userId="48a07445-4675-4748-acc3-eb500a5ddf20" providerId="ADAL" clId="{A7784D3A-2DAC-4ED2-BB27-C8D48836B5C0}" dt="2025-05-28T08:30:53.857" v="2062" actId="207"/>
          <ac:graphicFrameMkLst>
            <pc:docMk/>
            <pc:sldMk cId="1287987967" sldId="277"/>
            <ac:graphicFrameMk id="7" creationId="{0FA1FCBB-AB3E-0F01-703F-65A5085132D8}"/>
          </ac:graphicFrameMkLst>
        </pc:graphicFrameChg>
      </pc:sldChg>
      <pc:sldChg chg="addSp delSp modSp new del mod">
        <pc:chgData name="Suman Das" userId="48a07445-4675-4748-acc3-eb500a5ddf20" providerId="ADAL" clId="{A7784D3A-2DAC-4ED2-BB27-C8D48836B5C0}" dt="2025-05-27T08:46:02.678" v="1194" actId="2696"/>
        <pc:sldMkLst>
          <pc:docMk/>
          <pc:sldMk cId="1474545796" sldId="278"/>
        </pc:sldMkLst>
        <pc:spChg chg="add del mod">
          <ac:chgData name="Suman Das" userId="48a07445-4675-4748-acc3-eb500a5ddf20" providerId="ADAL" clId="{A7784D3A-2DAC-4ED2-BB27-C8D48836B5C0}" dt="2025-05-27T08:39:53.699" v="1128" actId="478"/>
          <ac:spMkLst>
            <pc:docMk/>
            <pc:sldMk cId="1474545796" sldId="278"/>
            <ac:spMk id="2" creationId="{DB68623D-2603-11ED-0ED2-EFC77B49EC07}"/>
          </ac:spMkLst>
        </pc:spChg>
      </pc:sldChg>
      <pc:sldChg chg="addSp delSp modSp new mod ord">
        <pc:chgData name="Suman Das" userId="48a07445-4675-4748-acc3-eb500a5ddf20" providerId="ADAL" clId="{A7784D3A-2DAC-4ED2-BB27-C8D48836B5C0}" dt="2025-05-28T08:30:34.912" v="2060" actId="207"/>
        <pc:sldMkLst>
          <pc:docMk/>
          <pc:sldMk cId="1365558182" sldId="279"/>
        </pc:sldMkLst>
        <pc:spChg chg="add del mod">
          <ac:chgData name="Suman Das" userId="48a07445-4675-4748-acc3-eb500a5ddf20" providerId="ADAL" clId="{A7784D3A-2DAC-4ED2-BB27-C8D48836B5C0}" dt="2025-05-27T08:28:16.193" v="918"/>
          <ac:spMkLst>
            <pc:docMk/>
            <pc:sldMk cId="1365558182" sldId="279"/>
            <ac:spMk id="2" creationId="{DA995874-B45D-D336-AD59-02F0D64FF26C}"/>
          </ac:spMkLst>
        </pc:spChg>
        <pc:spChg chg="add mod">
          <ac:chgData name="Suman Das" userId="48a07445-4675-4748-acc3-eb500a5ddf20" providerId="ADAL" clId="{A7784D3A-2DAC-4ED2-BB27-C8D48836B5C0}" dt="2025-05-27T08:34:55.599" v="1045" actId="115"/>
          <ac:spMkLst>
            <pc:docMk/>
            <pc:sldMk cId="1365558182" sldId="279"/>
            <ac:spMk id="3" creationId="{78D3C7DA-BA33-5BCD-CEC6-655C773C938B}"/>
          </ac:spMkLst>
        </pc:spChg>
        <pc:graphicFrameChg chg="add del mod">
          <ac:chgData name="Suman Das" userId="48a07445-4675-4748-acc3-eb500a5ddf20" providerId="ADAL" clId="{A7784D3A-2DAC-4ED2-BB27-C8D48836B5C0}" dt="2025-05-27T08:34:53.514" v="1041" actId="478"/>
          <ac:graphicFrameMkLst>
            <pc:docMk/>
            <pc:sldMk cId="1365558182" sldId="279"/>
            <ac:graphicFrameMk id="4" creationId="{F1AFE99D-F004-F176-0575-2575B209F3AB}"/>
          </ac:graphicFrameMkLst>
        </pc:graphicFrameChg>
        <pc:graphicFrameChg chg="add mod modGraphic">
          <ac:chgData name="Suman Das" userId="48a07445-4675-4748-acc3-eb500a5ddf20" providerId="ADAL" clId="{A7784D3A-2DAC-4ED2-BB27-C8D48836B5C0}" dt="2025-05-28T08:30:34.912" v="2060" actId="207"/>
          <ac:graphicFrameMkLst>
            <pc:docMk/>
            <pc:sldMk cId="1365558182" sldId="279"/>
            <ac:graphicFrameMk id="5" creationId="{3C8947D0-DE76-D229-9FC2-43713AEA5BCC}"/>
          </ac:graphicFrameMkLst>
        </pc:graphicFrameChg>
      </pc:sldChg>
      <pc:sldChg chg="modSp new mod">
        <pc:chgData name="Suman Das" userId="48a07445-4675-4748-acc3-eb500a5ddf20" providerId="ADAL" clId="{A7784D3A-2DAC-4ED2-BB27-C8D48836B5C0}" dt="2025-05-28T02:47:03.899" v="1292" actId="1076"/>
        <pc:sldMkLst>
          <pc:docMk/>
          <pc:sldMk cId="79580180" sldId="280"/>
        </pc:sldMkLst>
        <pc:spChg chg="mod">
          <ac:chgData name="Suman Das" userId="48a07445-4675-4748-acc3-eb500a5ddf20" providerId="ADAL" clId="{A7784D3A-2DAC-4ED2-BB27-C8D48836B5C0}" dt="2025-05-28T02:47:03.899" v="1292" actId="1076"/>
          <ac:spMkLst>
            <pc:docMk/>
            <pc:sldMk cId="79580180" sldId="280"/>
            <ac:spMk id="2" creationId="{FC032944-B2EE-855D-3ADD-62452FD5205E}"/>
          </ac:spMkLst>
        </pc:spChg>
      </pc:sldChg>
      <pc:sldChg chg="new del">
        <pc:chgData name="Suman Das" userId="48a07445-4675-4748-acc3-eb500a5ddf20" providerId="ADAL" clId="{A7784D3A-2DAC-4ED2-BB27-C8D48836B5C0}" dt="2025-05-27T09:18:16.280" v="1267" actId="47"/>
        <pc:sldMkLst>
          <pc:docMk/>
          <pc:sldMk cId="1294392458" sldId="280"/>
        </pc:sldMkLst>
      </pc:sldChg>
      <pc:sldChg chg="addSp delSp modSp new del mod">
        <pc:chgData name="Suman Das" userId="48a07445-4675-4748-acc3-eb500a5ddf20" providerId="ADAL" clId="{A7784D3A-2DAC-4ED2-BB27-C8D48836B5C0}" dt="2025-05-28T03:25:23.803" v="1457" actId="2696"/>
        <pc:sldMkLst>
          <pc:docMk/>
          <pc:sldMk cId="2097680263" sldId="281"/>
        </pc:sldMkLst>
        <pc:spChg chg="del">
          <ac:chgData name="Suman Das" userId="48a07445-4675-4748-acc3-eb500a5ddf20" providerId="ADAL" clId="{A7784D3A-2DAC-4ED2-BB27-C8D48836B5C0}" dt="2025-05-28T02:47:10.807" v="1294" actId="478"/>
          <ac:spMkLst>
            <pc:docMk/>
            <pc:sldMk cId="2097680263" sldId="281"/>
            <ac:spMk id="2" creationId="{8B997117-435C-EE07-07DC-93C4CB56A556}"/>
          </ac:spMkLst>
        </pc:spChg>
        <pc:spChg chg="add mod">
          <ac:chgData name="Suman Das" userId="48a07445-4675-4748-acc3-eb500a5ddf20" providerId="ADAL" clId="{A7784D3A-2DAC-4ED2-BB27-C8D48836B5C0}" dt="2025-05-28T03:21:46.614" v="1396" actId="20577"/>
          <ac:spMkLst>
            <pc:docMk/>
            <pc:sldMk cId="2097680263" sldId="281"/>
            <ac:spMk id="4" creationId="{9551449C-D5F7-EB21-D0B4-DA4FBF8975B7}"/>
          </ac:spMkLst>
        </pc:spChg>
        <pc:graphicFrameChg chg="add del mod">
          <ac:chgData name="Suman Das" userId="48a07445-4675-4748-acc3-eb500a5ddf20" providerId="ADAL" clId="{A7784D3A-2DAC-4ED2-BB27-C8D48836B5C0}" dt="2025-05-28T03:22:07.697" v="1398" actId="21"/>
          <ac:graphicFrameMkLst>
            <pc:docMk/>
            <pc:sldMk cId="2097680263" sldId="281"/>
            <ac:graphicFrameMk id="3" creationId="{E2CA6744-EBD5-B1E4-BAD9-A369959ACE30}"/>
          </ac:graphicFrameMkLst>
        </pc:graphicFrameChg>
        <pc:picChg chg="add mod">
          <ac:chgData name="Suman Das" userId="48a07445-4675-4748-acc3-eb500a5ddf20" providerId="ADAL" clId="{A7784D3A-2DAC-4ED2-BB27-C8D48836B5C0}" dt="2025-05-28T02:57:49.432" v="1355" actId="1076"/>
          <ac:picMkLst>
            <pc:docMk/>
            <pc:sldMk cId="2097680263" sldId="281"/>
            <ac:picMk id="2049" creationId="{7B465036-C710-6A93-6A3D-40BF18A68C49}"/>
          </ac:picMkLst>
        </pc:picChg>
        <pc:picChg chg="add mod">
          <ac:chgData name="Suman Das" userId="48a07445-4675-4748-acc3-eb500a5ddf20" providerId="ADAL" clId="{A7784D3A-2DAC-4ED2-BB27-C8D48836B5C0}" dt="2025-05-28T02:57:47.568" v="1354" actId="1076"/>
          <ac:picMkLst>
            <pc:docMk/>
            <pc:sldMk cId="2097680263" sldId="281"/>
            <ac:picMk id="2050" creationId="{1C73D8D9-5422-E6A7-9498-37700ECD993C}"/>
          </ac:picMkLst>
        </pc:picChg>
      </pc:sldChg>
      <pc:sldChg chg="addSp modSp new mod">
        <pc:chgData name="Suman Das" userId="48a07445-4675-4748-acc3-eb500a5ddf20" providerId="ADAL" clId="{A7784D3A-2DAC-4ED2-BB27-C8D48836B5C0}" dt="2025-05-28T02:47:53.796" v="1324" actId="14100"/>
        <pc:sldMkLst>
          <pc:docMk/>
          <pc:sldMk cId="2648200114" sldId="282"/>
        </pc:sldMkLst>
        <pc:spChg chg="add mod">
          <ac:chgData name="Suman Das" userId="48a07445-4675-4748-acc3-eb500a5ddf20" providerId="ADAL" clId="{A7784D3A-2DAC-4ED2-BB27-C8D48836B5C0}" dt="2025-05-28T02:47:53.796" v="1324" actId="14100"/>
          <ac:spMkLst>
            <pc:docMk/>
            <pc:sldMk cId="2648200114" sldId="282"/>
            <ac:spMk id="2" creationId="{9A0A6B7A-10E7-42FA-A595-692FB28EF527}"/>
          </ac:spMkLst>
        </pc:spChg>
      </pc:sldChg>
      <pc:sldChg chg="addSp delSp modSp add mod ord">
        <pc:chgData name="Suman Das" userId="48a07445-4675-4748-acc3-eb500a5ddf20" providerId="ADAL" clId="{A7784D3A-2DAC-4ED2-BB27-C8D48836B5C0}" dt="2025-05-28T09:08:36.288" v="2265" actId="14100"/>
        <pc:sldMkLst>
          <pc:docMk/>
          <pc:sldMk cId="3585732800" sldId="283"/>
        </pc:sldMkLst>
        <pc:spChg chg="add del mod">
          <ac:chgData name="Suman Das" userId="48a07445-4675-4748-acc3-eb500a5ddf20" providerId="ADAL" clId="{A7784D3A-2DAC-4ED2-BB27-C8D48836B5C0}" dt="2025-05-28T09:07:24.063" v="2233"/>
          <ac:spMkLst>
            <pc:docMk/>
            <pc:sldMk cId="3585732800" sldId="283"/>
            <ac:spMk id="3" creationId="{A0CDD209-8AC2-5F8E-EC98-F2148C618BDB}"/>
          </ac:spMkLst>
        </pc:spChg>
        <pc:spChg chg="add mod">
          <ac:chgData name="Suman Das" userId="48a07445-4675-4748-acc3-eb500a5ddf20" providerId="ADAL" clId="{A7784D3A-2DAC-4ED2-BB27-C8D48836B5C0}" dt="2025-05-28T09:08:36.288" v="2265" actId="14100"/>
          <ac:spMkLst>
            <pc:docMk/>
            <pc:sldMk cId="3585732800" sldId="283"/>
            <ac:spMk id="4" creationId="{A7C98FBA-7D49-4EEB-B4F4-E7603374A081}"/>
          </ac:spMkLst>
        </pc:spChg>
        <pc:spChg chg="del">
          <ac:chgData name="Suman Das" userId="48a07445-4675-4748-acc3-eb500a5ddf20" providerId="ADAL" clId="{A7784D3A-2DAC-4ED2-BB27-C8D48836B5C0}" dt="2025-05-28T02:53:43.264" v="1337" actId="478"/>
          <ac:spMkLst>
            <pc:docMk/>
            <pc:sldMk cId="3585732800" sldId="283"/>
            <ac:spMk id="4" creationId="{ADF3DCBC-C73C-C68F-748B-06D4E63AA718}"/>
          </ac:spMkLst>
        </pc:spChg>
        <pc:graphicFrameChg chg="add mod modGraphic">
          <ac:chgData name="Suman Das" userId="48a07445-4675-4748-acc3-eb500a5ddf20" providerId="ADAL" clId="{A7784D3A-2DAC-4ED2-BB27-C8D48836B5C0}" dt="2025-05-28T09:07:53.280" v="2240" actId="12385"/>
          <ac:graphicFrameMkLst>
            <pc:docMk/>
            <pc:sldMk cId="3585732800" sldId="283"/>
            <ac:graphicFrameMk id="2" creationId="{FFEDCC3E-AA91-37B3-9ED6-C2B0387651E3}"/>
          </ac:graphicFrameMkLst>
        </pc:graphicFrameChg>
        <pc:graphicFrameChg chg="del modGraphic">
          <ac:chgData name="Suman Das" userId="48a07445-4675-4748-acc3-eb500a5ddf20" providerId="ADAL" clId="{A7784D3A-2DAC-4ED2-BB27-C8D48836B5C0}" dt="2025-05-28T02:53:40.731" v="1336" actId="478"/>
          <ac:graphicFrameMkLst>
            <pc:docMk/>
            <pc:sldMk cId="3585732800" sldId="283"/>
            <ac:graphicFrameMk id="5" creationId="{740CC9B4-C6AB-D238-75A1-9F2D1255FBA2}"/>
          </ac:graphicFrameMkLst>
        </pc:graphicFrameChg>
      </pc:sldChg>
      <pc:sldChg chg="addSp modSp new mod">
        <pc:chgData name="Suman Das" userId="48a07445-4675-4748-acc3-eb500a5ddf20" providerId="ADAL" clId="{A7784D3A-2DAC-4ED2-BB27-C8D48836B5C0}" dt="2025-05-28T04:08:28.139" v="1675" actId="108"/>
        <pc:sldMkLst>
          <pc:docMk/>
          <pc:sldMk cId="2047462062" sldId="284"/>
        </pc:sldMkLst>
        <pc:spChg chg="mod">
          <ac:chgData name="Suman Das" userId="48a07445-4675-4748-acc3-eb500a5ddf20" providerId="ADAL" clId="{A7784D3A-2DAC-4ED2-BB27-C8D48836B5C0}" dt="2025-05-28T03:24:50.933" v="1451" actId="1076"/>
          <ac:spMkLst>
            <pc:docMk/>
            <pc:sldMk cId="2047462062" sldId="284"/>
            <ac:spMk id="2" creationId="{747740FF-D920-F322-6309-0C2F85ECFD36}"/>
          </ac:spMkLst>
        </pc:spChg>
        <pc:graphicFrameChg chg="add mod modGraphic">
          <ac:chgData name="Suman Das" userId="48a07445-4675-4748-acc3-eb500a5ddf20" providerId="ADAL" clId="{A7784D3A-2DAC-4ED2-BB27-C8D48836B5C0}" dt="2025-05-28T04:08:17.248" v="1672"/>
          <ac:graphicFrameMkLst>
            <pc:docMk/>
            <pc:sldMk cId="2047462062" sldId="284"/>
            <ac:graphicFrameMk id="3" creationId="{B6C89415-A4CF-63B0-3BE4-8A023655B0A5}"/>
          </ac:graphicFrameMkLst>
        </pc:graphicFrameChg>
        <pc:graphicFrameChg chg="add mod modGraphic">
          <ac:chgData name="Suman Das" userId="48a07445-4675-4748-acc3-eb500a5ddf20" providerId="ADAL" clId="{A7784D3A-2DAC-4ED2-BB27-C8D48836B5C0}" dt="2025-05-28T04:08:28.139" v="1675" actId="108"/>
          <ac:graphicFrameMkLst>
            <pc:docMk/>
            <pc:sldMk cId="2047462062" sldId="284"/>
            <ac:graphicFrameMk id="4" creationId="{E2CA6744-EBD5-B1E4-BAD9-A369959ACE30}"/>
          </ac:graphicFrameMkLst>
        </pc:graphicFrameChg>
      </pc:sldChg>
      <pc:sldChg chg="addSp delSp modSp new mod">
        <pc:chgData name="Suman Das" userId="48a07445-4675-4748-acc3-eb500a5ddf20" providerId="ADAL" clId="{A7784D3A-2DAC-4ED2-BB27-C8D48836B5C0}" dt="2025-05-28T04:09:43.280" v="1686" actId="1076"/>
        <pc:sldMkLst>
          <pc:docMk/>
          <pc:sldMk cId="457830805" sldId="285"/>
        </pc:sldMkLst>
        <pc:spChg chg="mod">
          <ac:chgData name="Suman Das" userId="48a07445-4675-4748-acc3-eb500a5ddf20" providerId="ADAL" clId="{A7784D3A-2DAC-4ED2-BB27-C8D48836B5C0}" dt="2025-05-28T04:09:41.118" v="1685" actId="1076"/>
          <ac:spMkLst>
            <pc:docMk/>
            <pc:sldMk cId="457830805" sldId="285"/>
            <ac:spMk id="2" creationId="{56FD5C04-2F0F-82C9-7E80-74781583B53F}"/>
          </ac:spMkLst>
        </pc:spChg>
        <pc:spChg chg="add del mod">
          <ac:chgData name="Suman Das" userId="48a07445-4675-4748-acc3-eb500a5ddf20" providerId="ADAL" clId="{A7784D3A-2DAC-4ED2-BB27-C8D48836B5C0}" dt="2025-05-28T04:04:25.971" v="1657" actId="478"/>
          <ac:spMkLst>
            <pc:docMk/>
            <pc:sldMk cId="457830805" sldId="285"/>
            <ac:spMk id="5" creationId="{A3E8234C-B1BA-E481-9A53-C916A0D8AF68}"/>
          </ac:spMkLst>
        </pc:spChg>
        <pc:graphicFrameChg chg="add mod modGraphic">
          <ac:chgData name="Suman Das" userId="48a07445-4675-4748-acc3-eb500a5ddf20" providerId="ADAL" clId="{A7784D3A-2DAC-4ED2-BB27-C8D48836B5C0}" dt="2025-05-28T04:09:43.280" v="1686" actId="1076"/>
          <ac:graphicFrameMkLst>
            <pc:docMk/>
            <pc:sldMk cId="457830805" sldId="285"/>
            <ac:graphicFrameMk id="3" creationId="{7BDC6719-88DC-9B5C-3983-C93DE57220FA}"/>
          </ac:graphicFrameMkLst>
        </pc:graphicFrameChg>
        <pc:graphicFrameChg chg="add del mod modGraphic">
          <ac:chgData name="Suman Das" userId="48a07445-4675-4748-acc3-eb500a5ddf20" providerId="ADAL" clId="{A7784D3A-2DAC-4ED2-BB27-C8D48836B5C0}" dt="2025-05-28T04:03:47.628" v="1633" actId="478"/>
          <ac:graphicFrameMkLst>
            <pc:docMk/>
            <pc:sldMk cId="457830805" sldId="285"/>
            <ac:graphicFrameMk id="4" creationId="{8446A743-703E-F852-36A0-AD450DBEC23A}"/>
          </ac:graphicFrameMkLst>
        </pc:graphicFrameChg>
        <pc:graphicFrameChg chg="add mod">
          <ac:chgData name="Suman Das" userId="48a07445-4675-4748-acc3-eb500a5ddf20" providerId="ADAL" clId="{A7784D3A-2DAC-4ED2-BB27-C8D48836B5C0}" dt="2025-05-28T04:09:21.499" v="1681"/>
          <ac:graphicFrameMkLst>
            <pc:docMk/>
            <pc:sldMk cId="457830805" sldId="285"/>
            <ac:graphicFrameMk id="6" creationId="{388B4280-BB50-5464-F256-62673C6337A0}"/>
          </ac:graphicFrameMkLst>
        </pc:graphicFrameChg>
      </pc:sldChg>
      <pc:sldChg chg="addSp delSp modSp new del mod">
        <pc:chgData name="Suman Das" userId="48a07445-4675-4748-acc3-eb500a5ddf20" providerId="ADAL" clId="{A7784D3A-2DAC-4ED2-BB27-C8D48836B5C0}" dt="2025-05-28T04:05:02.165" v="1668" actId="47"/>
        <pc:sldMkLst>
          <pc:docMk/>
          <pc:sldMk cId="3814020157" sldId="286"/>
        </pc:sldMkLst>
        <pc:spChg chg="del mod">
          <ac:chgData name="Suman Das" userId="48a07445-4675-4748-acc3-eb500a5ddf20" providerId="ADAL" clId="{A7784D3A-2DAC-4ED2-BB27-C8D48836B5C0}" dt="2025-05-28T04:02:30.964" v="1607" actId="21"/>
          <ac:spMkLst>
            <pc:docMk/>
            <pc:sldMk cId="3814020157" sldId="286"/>
            <ac:spMk id="2" creationId="{A3E8234C-B1BA-E481-9A53-C916A0D8AF68}"/>
          </ac:spMkLst>
        </pc:spChg>
        <pc:spChg chg="add del mod">
          <ac:chgData name="Suman Das" userId="48a07445-4675-4748-acc3-eb500a5ddf20" providerId="ADAL" clId="{A7784D3A-2DAC-4ED2-BB27-C8D48836B5C0}" dt="2025-05-28T03:35:28.442" v="1588" actId="478"/>
          <ac:spMkLst>
            <pc:docMk/>
            <pc:sldMk cId="3814020157" sldId="286"/>
            <ac:spMk id="4" creationId="{B8A1CA0F-FCDF-AAAD-585C-37689D0CE325}"/>
          </ac:spMkLst>
        </pc:spChg>
        <pc:spChg chg="add mod">
          <ac:chgData name="Suman Das" userId="48a07445-4675-4748-acc3-eb500a5ddf20" providerId="ADAL" clId="{A7784D3A-2DAC-4ED2-BB27-C8D48836B5C0}" dt="2025-05-28T04:02:30.964" v="1607" actId="21"/>
          <ac:spMkLst>
            <pc:docMk/>
            <pc:sldMk cId="3814020157" sldId="286"/>
            <ac:spMk id="6" creationId="{561213F6-187D-E12B-C9DF-6B1BF6EA2A72}"/>
          </ac:spMkLst>
        </pc:spChg>
        <pc:graphicFrameChg chg="add del mod modGraphic">
          <ac:chgData name="Suman Das" userId="48a07445-4675-4748-acc3-eb500a5ddf20" providerId="ADAL" clId="{A7784D3A-2DAC-4ED2-BB27-C8D48836B5C0}" dt="2025-05-28T03:36:33.451" v="1602" actId="21"/>
          <ac:graphicFrameMkLst>
            <pc:docMk/>
            <pc:sldMk cId="3814020157" sldId="286"/>
            <ac:graphicFrameMk id="3" creationId="{8446A743-703E-F852-36A0-AD450DBEC23A}"/>
          </ac:graphicFrameMkLst>
        </pc:graphicFrameChg>
      </pc:sldChg>
      <pc:sldChg chg="addSp delSp modSp new mod">
        <pc:chgData name="Suman Das" userId="48a07445-4675-4748-acc3-eb500a5ddf20" providerId="ADAL" clId="{A7784D3A-2DAC-4ED2-BB27-C8D48836B5C0}" dt="2025-05-28T04:09:53.075" v="1689" actId="14100"/>
        <pc:sldMkLst>
          <pc:docMk/>
          <pc:sldMk cId="2881399795" sldId="287"/>
        </pc:sldMkLst>
        <pc:spChg chg="mod">
          <ac:chgData name="Suman Das" userId="48a07445-4675-4748-acc3-eb500a5ddf20" providerId="ADAL" clId="{A7784D3A-2DAC-4ED2-BB27-C8D48836B5C0}" dt="2025-05-28T04:09:53.075" v="1689" actId="14100"/>
          <ac:spMkLst>
            <pc:docMk/>
            <pc:sldMk cId="2881399795" sldId="287"/>
            <ac:spMk id="2" creationId="{8C4806AD-0851-2511-D2F5-8288A563315F}"/>
          </ac:spMkLst>
        </pc:spChg>
        <pc:spChg chg="add del mod">
          <ac:chgData name="Suman Das" userId="48a07445-4675-4748-acc3-eb500a5ddf20" providerId="ADAL" clId="{A7784D3A-2DAC-4ED2-BB27-C8D48836B5C0}" dt="2025-05-28T04:09:28.070" v="1682" actId="478"/>
          <ac:spMkLst>
            <pc:docMk/>
            <pc:sldMk cId="2881399795" sldId="287"/>
            <ac:spMk id="4" creationId="{6B0319C7-955C-40D4-583E-F3163F77432A}"/>
          </ac:spMkLst>
        </pc:spChg>
        <pc:graphicFrameChg chg="add del mod modGraphic">
          <ac:chgData name="Suman Das" userId="48a07445-4675-4748-acc3-eb500a5ddf20" providerId="ADAL" clId="{A7784D3A-2DAC-4ED2-BB27-C8D48836B5C0}" dt="2025-05-28T04:09:18.262" v="1680" actId="21"/>
          <ac:graphicFrameMkLst>
            <pc:docMk/>
            <pc:sldMk cId="2881399795" sldId="287"/>
            <ac:graphicFrameMk id="3" creationId="{388B4280-BB50-5464-F256-62673C6337A0}"/>
          </ac:graphicFrameMkLst>
        </pc:graphicFrameChg>
        <pc:graphicFrameChg chg="add mod modGraphic">
          <ac:chgData name="Suman Das" userId="48a07445-4675-4748-acc3-eb500a5ddf20" providerId="ADAL" clId="{A7784D3A-2DAC-4ED2-BB27-C8D48836B5C0}" dt="2025-05-28T04:09:48.553" v="1687" actId="1076"/>
          <ac:graphicFrameMkLst>
            <pc:docMk/>
            <pc:sldMk cId="2881399795" sldId="287"/>
            <ac:graphicFrameMk id="6" creationId="{A4B2EA02-444D-065A-DC3F-23175728AE49}"/>
          </ac:graphicFrameMkLst>
        </pc:graphicFrameChg>
        <pc:picChg chg="add del mod">
          <ac:chgData name="Suman Das" userId="48a07445-4675-4748-acc3-eb500a5ddf20" providerId="ADAL" clId="{A7784D3A-2DAC-4ED2-BB27-C8D48836B5C0}" dt="2025-05-28T03:27:46.362" v="1543" actId="478"/>
          <ac:picMkLst>
            <pc:docMk/>
            <pc:sldMk cId="2881399795" sldId="287"/>
            <ac:picMk id="5" creationId="{80C90937-ABFC-F891-2DFB-C00CDCA1E679}"/>
          </ac:picMkLst>
        </pc:picChg>
      </pc:sldChg>
      <pc:sldChg chg="addSp delSp modSp new mod">
        <pc:chgData name="Suman Das" userId="48a07445-4675-4748-acc3-eb500a5ddf20" providerId="ADAL" clId="{A7784D3A-2DAC-4ED2-BB27-C8D48836B5C0}" dt="2025-05-28T08:53:59.021" v="2086" actId="21"/>
        <pc:sldMkLst>
          <pc:docMk/>
          <pc:sldMk cId="3098779712" sldId="288"/>
        </pc:sldMkLst>
        <pc:spChg chg="mod">
          <ac:chgData name="Suman Das" userId="48a07445-4675-4748-acc3-eb500a5ddf20" providerId="ADAL" clId="{A7784D3A-2DAC-4ED2-BB27-C8D48836B5C0}" dt="2025-05-28T03:29:46.952" v="1562" actId="20577"/>
          <ac:spMkLst>
            <pc:docMk/>
            <pc:sldMk cId="3098779712" sldId="288"/>
            <ac:spMk id="2" creationId="{F6399334-7690-E27C-8561-D96755196D93}"/>
          </ac:spMkLst>
        </pc:spChg>
        <pc:spChg chg="add del mod">
          <ac:chgData name="Suman Das" userId="48a07445-4675-4748-acc3-eb500a5ddf20" providerId="ADAL" clId="{A7784D3A-2DAC-4ED2-BB27-C8D48836B5C0}" dt="2025-05-28T08:53:59.021" v="2086" actId="21"/>
          <ac:spMkLst>
            <pc:docMk/>
            <pc:sldMk cId="3098779712" sldId="288"/>
            <ac:spMk id="3" creationId="{23B14BDE-E6D2-B390-6CAA-684F10E99EDB}"/>
          </ac:spMkLst>
        </pc:spChg>
        <pc:spChg chg="add del mod">
          <ac:chgData name="Suman Das" userId="48a07445-4675-4748-acc3-eb500a5ddf20" providerId="ADAL" clId="{A7784D3A-2DAC-4ED2-BB27-C8D48836B5C0}" dt="2025-05-28T04:10:42.282" v="1714" actId="478"/>
          <ac:spMkLst>
            <pc:docMk/>
            <pc:sldMk cId="3098779712" sldId="288"/>
            <ac:spMk id="6" creationId="{3AB8A18A-9125-F264-D4F6-D734AE7110FA}"/>
          </ac:spMkLst>
        </pc:spChg>
        <pc:spChg chg="add del mod">
          <ac:chgData name="Suman Das" userId="48a07445-4675-4748-acc3-eb500a5ddf20" providerId="ADAL" clId="{A7784D3A-2DAC-4ED2-BB27-C8D48836B5C0}" dt="2025-05-28T04:10:40.731" v="1713" actId="478"/>
          <ac:spMkLst>
            <pc:docMk/>
            <pc:sldMk cId="3098779712" sldId="288"/>
            <ac:spMk id="8" creationId="{003A6B32-348E-5FB4-992F-8547D3825A74}"/>
          </ac:spMkLst>
        </pc:spChg>
        <pc:spChg chg="add del mod">
          <ac:chgData name="Suman Das" userId="48a07445-4675-4748-acc3-eb500a5ddf20" providerId="ADAL" clId="{A7784D3A-2DAC-4ED2-BB27-C8D48836B5C0}" dt="2025-05-28T04:10:39.906" v="1712" actId="478"/>
          <ac:spMkLst>
            <pc:docMk/>
            <pc:sldMk cId="3098779712" sldId="288"/>
            <ac:spMk id="10" creationId="{9950354F-737D-318E-C8D2-55882EED7BBD}"/>
          </ac:spMkLst>
        </pc:spChg>
        <pc:picChg chg="add del mod">
          <ac:chgData name="Suman Das" userId="48a07445-4675-4748-acc3-eb500a5ddf20" providerId="ADAL" clId="{A7784D3A-2DAC-4ED2-BB27-C8D48836B5C0}" dt="2025-05-28T04:09:59.778" v="1690" actId="478"/>
          <ac:picMkLst>
            <pc:docMk/>
            <pc:sldMk cId="3098779712" sldId="288"/>
            <ac:picMk id="3" creationId="{DD587426-4999-CC19-D5F0-FC17179B5955}"/>
          </ac:picMkLst>
        </pc:picChg>
        <pc:picChg chg="add del mod">
          <ac:chgData name="Suman Das" userId="48a07445-4675-4748-acc3-eb500a5ddf20" providerId="ADAL" clId="{A7784D3A-2DAC-4ED2-BB27-C8D48836B5C0}" dt="2025-05-28T04:10:02.626" v="1691" actId="478"/>
          <ac:picMkLst>
            <pc:docMk/>
            <pc:sldMk cId="3098779712" sldId="288"/>
            <ac:picMk id="4" creationId="{5B828C7D-6CA5-DECD-E899-398F2CC152E0}"/>
          </ac:picMkLst>
        </pc:picChg>
      </pc:sldChg>
      <pc:sldChg chg="addSp modSp new mod">
        <pc:chgData name="Suman Das" userId="48a07445-4675-4748-acc3-eb500a5ddf20" providerId="ADAL" clId="{A7784D3A-2DAC-4ED2-BB27-C8D48836B5C0}" dt="2025-05-28T08:30:02.762" v="2058" actId="115"/>
        <pc:sldMkLst>
          <pc:docMk/>
          <pc:sldMk cId="3730558259" sldId="289"/>
        </pc:sldMkLst>
        <pc:spChg chg="add mod">
          <ac:chgData name="Suman Das" userId="48a07445-4675-4748-acc3-eb500a5ddf20" providerId="ADAL" clId="{A7784D3A-2DAC-4ED2-BB27-C8D48836B5C0}" dt="2025-05-28T08:23:51.207" v="1817" actId="113"/>
          <ac:spMkLst>
            <pc:docMk/>
            <pc:sldMk cId="3730558259" sldId="289"/>
            <ac:spMk id="5" creationId="{B6907DF6-107E-98A3-FFB4-3854A77C2BD4}"/>
          </ac:spMkLst>
        </pc:spChg>
        <pc:spChg chg="add mod">
          <ac:chgData name="Suman Das" userId="48a07445-4675-4748-acc3-eb500a5ddf20" providerId="ADAL" clId="{A7784D3A-2DAC-4ED2-BB27-C8D48836B5C0}" dt="2025-05-28T08:25:00.311" v="1892" actId="113"/>
          <ac:spMkLst>
            <pc:docMk/>
            <pc:sldMk cId="3730558259" sldId="289"/>
            <ac:spMk id="9" creationId="{0B5DB6AA-064F-B19E-EC37-74209E66A7D7}"/>
          </ac:spMkLst>
        </pc:spChg>
        <pc:spChg chg="add mod">
          <ac:chgData name="Suman Das" userId="48a07445-4675-4748-acc3-eb500a5ddf20" providerId="ADAL" clId="{A7784D3A-2DAC-4ED2-BB27-C8D48836B5C0}" dt="2025-05-28T08:26:29.883" v="1922" actId="1076"/>
          <ac:spMkLst>
            <pc:docMk/>
            <pc:sldMk cId="3730558259" sldId="289"/>
            <ac:spMk id="10" creationId="{D03F7CA1-386F-B4A0-A155-95E0BA5CCEC0}"/>
          </ac:spMkLst>
        </pc:spChg>
        <pc:spChg chg="add mod">
          <ac:chgData name="Suman Das" userId="48a07445-4675-4748-acc3-eb500a5ddf20" providerId="ADAL" clId="{A7784D3A-2DAC-4ED2-BB27-C8D48836B5C0}" dt="2025-05-28T08:27:28.939" v="1990" actId="313"/>
          <ac:spMkLst>
            <pc:docMk/>
            <pc:sldMk cId="3730558259" sldId="289"/>
            <ac:spMk id="11" creationId="{31BDB906-4960-C9FF-32D9-0BC8624265A7}"/>
          </ac:spMkLst>
        </pc:spChg>
        <pc:spChg chg="add mod">
          <ac:chgData name="Suman Das" userId="48a07445-4675-4748-acc3-eb500a5ddf20" providerId="ADAL" clId="{A7784D3A-2DAC-4ED2-BB27-C8D48836B5C0}" dt="2025-05-28T08:29:22.812" v="2033" actId="1076"/>
          <ac:spMkLst>
            <pc:docMk/>
            <pc:sldMk cId="3730558259" sldId="289"/>
            <ac:spMk id="12" creationId="{A6B19975-868E-BF4C-2291-3C0A356ED30C}"/>
          </ac:spMkLst>
        </pc:spChg>
        <pc:spChg chg="add mod">
          <ac:chgData name="Suman Das" userId="48a07445-4675-4748-acc3-eb500a5ddf20" providerId="ADAL" clId="{A7784D3A-2DAC-4ED2-BB27-C8D48836B5C0}" dt="2025-05-28T08:30:02.762" v="2058" actId="115"/>
          <ac:spMkLst>
            <pc:docMk/>
            <pc:sldMk cId="3730558259" sldId="289"/>
            <ac:spMk id="13" creationId="{4172334F-E16F-264E-AD27-CE01C9C0B8BE}"/>
          </ac:spMkLst>
        </pc:spChg>
        <pc:picChg chg="add mod">
          <ac:chgData name="Suman Das" userId="48a07445-4675-4748-acc3-eb500a5ddf20" providerId="ADAL" clId="{A7784D3A-2DAC-4ED2-BB27-C8D48836B5C0}" dt="2025-05-28T08:23:57.667" v="1821" actId="1076"/>
          <ac:picMkLst>
            <pc:docMk/>
            <pc:sldMk cId="3730558259" sldId="289"/>
            <ac:picMk id="2" creationId="{8D7FD16A-DF9E-EA48-4376-82498E15F0F5}"/>
          </ac:picMkLst>
        </pc:picChg>
        <pc:picChg chg="add mod">
          <ac:chgData name="Suman Das" userId="48a07445-4675-4748-acc3-eb500a5ddf20" providerId="ADAL" clId="{A7784D3A-2DAC-4ED2-BB27-C8D48836B5C0}" dt="2025-05-28T08:23:53.310" v="1818" actId="1076"/>
          <ac:picMkLst>
            <pc:docMk/>
            <pc:sldMk cId="3730558259" sldId="289"/>
            <ac:picMk id="4" creationId="{1530F2FA-5ED6-988C-E31D-5399E37F678B}"/>
          </ac:picMkLst>
        </pc:picChg>
        <pc:cxnChg chg="add">
          <ac:chgData name="Suman Das" userId="48a07445-4675-4748-acc3-eb500a5ddf20" providerId="ADAL" clId="{A7784D3A-2DAC-4ED2-BB27-C8D48836B5C0}" dt="2025-05-28T08:24:20.104" v="1822" actId="11529"/>
          <ac:cxnSpMkLst>
            <pc:docMk/>
            <pc:sldMk cId="3730558259" sldId="289"/>
            <ac:cxnSpMk id="7" creationId="{538D6680-7D82-847C-CDCC-5EF25A32838F}"/>
          </ac:cxnSpMkLst>
        </pc:cxnChg>
        <pc:cxnChg chg="add mod">
          <ac:chgData name="Suman Das" userId="48a07445-4675-4748-acc3-eb500a5ddf20" providerId="ADAL" clId="{A7784D3A-2DAC-4ED2-BB27-C8D48836B5C0}" dt="2025-05-28T08:24:25.301" v="1842" actId="1035"/>
          <ac:cxnSpMkLst>
            <pc:docMk/>
            <pc:sldMk cId="3730558259" sldId="289"/>
            <ac:cxnSpMk id="8" creationId="{B99A55FA-AC2C-3B8E-5E92-C7134A2EA18B}"/>
          </ac:cxnSpMkLst>
        </pc:cxnChg>
      </pc:sldChg>
      <pc:sldChg chg="addSp delSp modSp new mod">
        <pc:chgData name="Suman Das" userId="48a07445-4675-4748-acc3-eb500a5ddf20" providerId="ADAL" clId="{A7784D3A-2DAC-4ED2-BB27-C8D48836B5C0}" dt="2025-05-28T08:57:07.722" v="2156" actId="115"/>
        <pc:sldMkLst>
          <pc:docMk/>
          <pc:sldMk cId="3776201657" sldId="290"/>
        </pc:sldMkLst>
        <pc:spChg chg="del">
          <ac:chgData name="Suman Das" userId="48a07445-4675-4748-acc3-eb500a5ddf20" providerId="ADAL" clId="{A7784D3A-2DAC-4ED2-BB27-C8D48836B5C0}" dt="2025-05-28T08:55:30.308" v="2150" actId="478"/>
          <ac:spMkLst>
            <pc:docMk/>
            <pc:sldMk cId="3776201657" sldId="290"/>
            <ac:spMk id="2" creationId="{7EB4B9B8-4DEA-D571-C299-FA7F8CB03EE4}"/>
          </ac:spMkLst>
        </pc:spChg>
        <pc:spChg chg="add mod">
          <ac:chgData name="Suman Das" userId="48a07445-4675-4748-acc3-eb500a5ddf20" providerId="ADAL" clId="{A7784D3A-2DAC-4ED2-BB27-C8D48836B5C0}" dt="2025-05-28T08:57:07.722" v="2156" actId="115"/>
          <ac:spMkLst>
            <pc:docMk/>
            <pc:sldMk cId="3776201657" sldId="290"/>
            <ac:spMk id="3" creationId="{92BBA585-1044-46C6-51C8-E72ED13B3E99}"/>
          </ac:spMkLst>
        </pc:spChg>
      </pc:sldChg>
      <pc:sldChg chg="addSp modSp new mod">
        <pc:chgData name="Suman Das" userId="48a07445-4675-4748-acc3-eb500a5ddf20" providerId="ADAL" clId="{A7784D3A-2DAC-4ED2-BB27-C8D48836B5C0}" dt="2025-05-28T08:56:58.785" v="2154" actId="115"/>
        <pc:sldMkLst>
          <pc:docMk/>
          <pc:sldMk cId="348227344" sldId="291"/>
        </pc:sldMkLst>
        <pc:spChg chg="add mod">
          <ac:chgData name="Suman Das" userId="48a07445-4675-4748-acc3-eb500a5ddf20" providerId="ADAL" clId="{A7784D3A-2DAC-4ED2-BB27-C8D48836B5C0}" dt="2025-05-28T08:56:58.785" v="2154" actId="115"/>
          <ac:spMkLst>
            <pc:docMk/>
            <pc:sldMk cId="348227344" sldId="291"/>
            <ac:spMk id="2" creationId="{58972CFE-5F71-CCE2-B4D8-2C1E6E99B383}"/>
          </ac:spMkLst>
        </pc:sp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IN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D9F3B5D-2ABD-40F2-885F-3FEE7A293AF6}" type="datetimeFigureOut">
              <a:rPr lang="en-IN" smtClean="0"/>
              <a:t>28-05-2025</a:t>
            </a:fld>
            <a:endParaRPr lang="en-IN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IN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IN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B556F86-275E-4528-B5DE-9A79349179FA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32533245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B556F86-275E-4528-B5DE-9A79349179FA}" type="slidenum">
              <a:rPr lang="en-IN" smtClean="0"/>
              <a:t>6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70245918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B556F86-275E-4528-B5DE-9A79349179FA}" type="slidenum">
              <a:rPr lang="en-IN" smtClean="0"/>
              <a:t>8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2307614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B556F86-275E-4528-B5DE-9A79349179FA}" type="slidenum">
              <a:rPr lang="en-IN" smtClean="0"/>
              <a:t>10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411138054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B556F86-275E-4528-B5DE-9A79349179FA}" type="slidenum">
              <a:rPr lang="en-IN" smtClean="0"/>
              <a:t>12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11368637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09969CC-A4E9-51F1-E560-5B7E474CEF2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268D8A78-591F-FED1-B44A-30A6561D07C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688496FE-F6AC-E7F0-9C7D-84ADB4BD89F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A021F5F-629F-2C85-6554-60A2BA0BD5E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B556F86-275E-4528-B5DE-9A79349179FA}" type="slidenum">
              <a:rPr lang="en-IN" smtClean="0"/>
              <a:t>13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12691942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.xml"/></Relationships>
</file>

<file path=ppt/slideLayouts/_rels/slideLayout10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88.xml"/><Relationship Id="rId1" Type="http://schemas.openxmlformats.org/officeDocument/2006/relationships/tags" Target="../tags/tag87.xml"/><Relationship Id="rId6" Type="http://schemas.openxmlformats.org/officeDocument/2006/relationships/image" Target="../media/image10.png"/><Relationship Id="rId5" Type="http://schemas.openxmlformats.org/officeDocument/2006/relationships/image" Target="../media/image23.emf"/><Relationship Id="rId4" Type="http://schemas.openxmlformats.org/officeDocument/2006/relationships/oleObject" Target="../embeddings/oleObject66.bin"/></Relationships>
</file>

<file path=ppt/slideLayouts/_rels/slideLayout1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.xml"/></Relationships>
</file>

<file path=ppt/slideLayouts/_rels/slideLayout1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.xml"/></Relationships>
</file>

<file path=ppt/slideLayouts/_rels/slideLayout1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.xml"/></Relationships>
</file>

<file path=ppt/slideLayouts/_rels/slideLayout1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/Relationships>
</file>

<file path=ppt/slideLayouts/_rels/slideLayout1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90.xml"/><Relationship Id="rId1" Type="http://schemas.openxmlformats.org/officeDocument/2006/relationships/tags" Target="../tags/tag89.xml"/><Relationship Id="rId6" Type="http://schemas.openxmlformats.org/officeDocument/2006/relationships/image" Target="../media/image14.png"/><Relationship Id="rId5" Type="http://schemas.openxmlformats.org/officeDocument/2006/relationships/image" Target="../media/image13.emf"/><Relationship Id="rId4" Type="http://schemas.openxmlformats.org/officeDocument/2006/relationships/oleObject" Target="../embeddings/oleObject67.bin"/></Relationships>
</file>

<file path=ppt/slideLayouts/_rels/slideLayout1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3.xml"/></Relationships>
</file>

<file path=ppt/slideLayouts/_rels/slideLayout1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92.xml"/><Relationship Id="rId1" Type="http://schemas.openxmlformats.org/officeDocument/2006/relationships/tags" Target="../tags/tag91.xml"/><Relationship Id="rId6" Type="http://schemas.openxmlformats.org/officeDocument/2006/relationships/image" Target="../media/image11.png"/><Relationship Id="rId5" Type="http://schemas.openxmlformats.org/officeDocument/2006/relationships/image" Target="../media/image23.emf"/><Relationship Id="rId4" Type="http://schemas.openxmlformats.org/officeDocument/2006/relationships/oleObject" Target="../embeddings/oleObject68.bin"/></Relationships>
</file>

<file path=ppt/slideLayouts/_rels/slideLayout1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3.xml"/></Relationships>
</file>

<file path=ppt/slideLayouts/_rels/slideLayout1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94.xml"/><Relationship Id="rId1" Type="http://schemas.openxmlformats.org/officeDocument/2006/relationships/tags" Target="../tags/tag93.xml"/><Relationship Id="rId6" Type="http://schemas.openxmlformats.org/officeDocument/2006/relationships/image" Target="../media/image11.png"/><Relationship Id="rId5" Type="http://schemas.openxmlformats.org/officeDocument/2006/relationships/image" Target="../media/image23.emf"/><Relationship Id="rId4" Type="http://schemas.openxmlformats.org/officeDocument/2006/relationships/oleObject" Target="../embeddings/oleObject69.bin"/></Relationships>
</file>

<file path=ppt/slideLayouts/_rels/slideLayout1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96.xml"/><Relationship Id="rId1" Type="http://schemas.openxmlformats.org/officeDocument/2006/relationships/tags" Target="../tags/tag95.xml"/><Relationship Id="rId6" Type="http://schemas.openxmlformats.org/officeDocument/2006/relationships/image" Target="../media/image12.png"/><Relationship Id="rId5" Type="http://schemas.openxmlformats.org/officeDocument/2006/relationships/image" Target="../media/image23.emf"/><Relationship Id="rId4" Type="http://schemas.openxmlformats.org/officeDocument/2006/relationships/oleObject" Target="../embeddings/oleObject70.bin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98.xml"/><Relationship Id="rId1" Type="http://schemas.openxmlformats.org/officeDocument/2006/relationships/tags" Target="../tags/tag97.xml"/><Relationship Id="rId6" Type="http://schemas.openxmlformats.org/officeDocument/2006/relationships/image" Target="../media/image15.png"/><Relationship Id="rId5" Type="http://schemas.openxmlformats.org/officeDocument/2006/relationships/image" Target="../media/image13.emf"/><Relationship Id="rId4" Type="http://schemas.openxmlformats.org/officeDocument/2006/relationships/oleObject" Target="../embeddings/oleObject67.bin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jpeg"/><Relationship Id="rId3" Type="http://schemas.openxmlformats.org/officeDocument/2006/relationships/tags" Target="../tags/tag101.xml"/><Relationship Id="rId7" Type="http://schemas.openxmlformats.org/officeDocument/2006/relationships/image" Target="../media/image7.emf"/><Relationship Id="rId2" Type="http://schemas.openxmlformats.org/officeDocument/2006/relationships/tags" Target="../tags/tag100.xml"/><Relationship Id="rId1" Type="http://schemas.openxmlformats.org/officeDocument/2006/relationships/tags" Target="../tags/tag99.xml"/><Relationship Id="rId6" Type="http://schemas.openxmlformats.org/officeDocument/2006/relationships/oleObject" Target="../embeddings/oleObject71.bin"/><Relationship Id="rId5" Type="http://schemas.openxmlformats.org/officeDocument/2006/relationships/slideMaster" Target="../slideMasters/slideMaster3.xml"/><Relationship Id="rId10" Type="http://schemas.openxmlformats.org/officeDocument/2006/relationships/image" Target="../media/image24.jpeg"/><Relationship Id="rId4" Type="http://schemas.openxmlformats.org/officeDocument/2006/relationships/tags" Target="../tags/tag102.xml"/><Relationship Id="rId9" Type="http://schemas.openxmlformats.org/officeDocument/2006/relationships/oleObject" Target="../embeddings/oleObject72.bin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04.xml"/><Relationship Id="rId1" Type="http://schemas.openxmlformats.org/officeDocument/2006/relationships/tags" Target="../tags/tag103.xml"/><Relationship Id="rId5" Type="http://schemas.openxmlformats.org/officeDocument/2006/relationships/image" Target="../media/image25.emf"/><Relationship Id="rId4" Type="http://schemas.openxmlformats.org/officeDocument/2006/relationships/oleObject" Target="../embeddings/oleObject73.bin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.xml"/></Relationships>
</file>

<file path=ppt/slideLayouts/_rels/slideLayout1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.xml"/></Relationships>
</file>

<file path=ppt/slideLayouts/_rels/slideLayout1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.xml"/></Relationships>
</file>

<file path=ppt/slideLayouts/_rels/slideLayout1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.xml"/></Relationships>
</file>

<file path=ppt/slideLayouts/_rels/slideLayout1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.xml"/></Relationships>
</file>

<file path=ppt/slideLayouts/_rels/slideLayout1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.xml"/></Relationships>
</file>

<file path=ppt/slideLayouts/_rels/slideLayout1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06.xml"/><Relationship Id="rId1" Type="http://schemas.openxmlformats.org/officeDocument/2006/relationships/tags" Target="../tags/tag105.xml"/><Relationship Id="rId6" Type="http://schemas.openxmlformats.org/officeDocument/2006/relationships/image" Target="../media/image11.png"/><Relationship Id="rId5" Type="http://schemas.openxmlformats.org/officeDocument/2006/relationships/image" Target="../media/image13.emf"/><Relationship Id="rId4" Type="http://schemas.openxmlformats.org/officeDocument/2006/relationships/oleObject" Target="../embeddings/oleObject67.bin"/></Relationships>
</file>

<file path=ppt/slideLayouts/_rels/slideLayout1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3.xml"/></Relationships>
</file>

<file path=ppt/slideLayouts/_rels/slideLayout1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3.xml"/></Relationships>
</file>

<file path=ppt/slideLayouts/_rels/slideLayout1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/Relationships>
</file>

<file path=ppt/slideLayouts/_rels/slideLayout1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3.xml"/></Relationships>
</file>

<file path=ppt/slideLayouts/_rels/slideLayout1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/Relationships>
</file>

<file path=ppt/slideLayouts/_rels/slideLayout1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3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08.xml"/><Relationship Id="rId1" Type="http://schemas.openxmlformats.org/officeDocument/2006/relationships/tags" Target="../tags/tag107.xml"/><Relationship Id="rId6" Type="http://schemas.openxmlformats.org/officeDocument/2006/relationships/image" Target="../media/image15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67.bin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1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09.xml"/><Relationship Id="rId5" Type="http://schemas.openxmlformats.org/officeDocument/2006/relationships/image" Target="../media/image16.jpeg"/><Relationship Id="rId4" Type="http://schemas.openxmlformats.org/officeDocument/2006/relationships/image" Target="../media/image7.emf"/></Relationships>
</file>

<file path=ppt/slideLayouts/_rels/slideLayout153.xml.rels><?xml version="1.0" encoding="UTF-8" standalone="yes"?>
<Relationships xmlns="http://schemas.openxmlformats.org/package/2006/relationships"><Relationship Id="rId3" Type="http://schemas.openxmlformats.org/officeDocument/2006/relationships/tags" Target="../tags/tag112.xml"/><Relationship Id="rId7" Type="http://schemas.openxmlformats.org/officeDocument/2006/relationships/image" Target="../media/image5.emf"/><Relationship Id="rId2" Type="http://schemas.openxmlformats.org/officeDocument/2006/relationships/tags" Target="../tags/tag111.xml"/><Relationship Id="rId1" Type="http://schemas.openxmlformats.org/officeDocument/2006/relationships/tags" Target="../tags/tag110.xml"/><Relationship Id="rId6" Type="http://schemas.openxmlformats.org/officeDocument/2006/relationships/oleObject" Target="../embeddings/oleObject74.bin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113.xml"/></Relationships>
</file>

<file path=ppt/slideLayouts/_rels/slideLayout15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15.xml"/><Relationship Id="rId1" Type="http://schemas.openxmlformats.org/officeDocument/2006/relationships/tags" Target="../tags/tag114.x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75.bin"/></Relationships>
</file>

<file path=ppt/slideLayouts/_rels/slideLayout15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17.xml"/><Relationship Id="rId1" Type="http://schemas.openxmlformats.org/officeDocument/2006/relationships/tags" Target="../tags/tag116.x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76.bin"/></Relationships>
</file>

<file path=ppt/slideLayouts/_rels/slideLayout15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19.xml"/><Relationship Id="rId1" Type="http://schemas.openxmlformats.org/officeDocument/2006/relationships/tags" Target="../tags/tag118.xml"/><Relationship Id="rId6" Type="http://schemas.openxmlformats.org/officeDocument/2006/relationships/image" Target="../media/image10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77.bin"/></Relationships>
</file>

<file path=ppt/slideLayouts/_rels/slideLayout157.xml.rels><?xml version="1.0" encoding="UTF-8" standalone="yes"?>
<Relationships xmlns="http://schemas.openxmlformats.org/package/2006/relationships"><Relationship Id="rId3" Type="http://schemas.openxmlformats.org/officeDocument/2006/relationships/tags" Target="../tags/tag122.xml"/><Relationship Id="rId7" Type="http://schemas.openxmlformats.org/officeDocument/2006/relationships/image" Target="../media/image5.emf"/><Relationship Id="rId2" Type="http://schemas.openxmlformats.org/officeDocument/2006/relationships/tags" Target="../tags/tag121.xml"/><Relationship Id="rId1" Type="http://schemas.openxmlformats.org/officeDocument/2006/relationships/tags" Target="../tags/tag120.xml"/><Relationship Id="rId6" Type="http://schemas.openxmlformats.org/officeDocument/2006/relationships/oleObject" Target="../embeddings/oleObject78.bin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123.xml"/></Relationships>
</file>

<file path=ppt/slideLayouts/_rels/slideLayout15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25.xml"/><Relationship Id="rId1" Type="http://schemas.openxmlformats.org/officeDocument/2006/relationships/tags" Target="../tags/tag124.x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79.bin"/></Relationships>
</file>

<file path=ppt/slideLayouts/_rels/slideLayout15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27.xml"/><Relationship Id="rId1" Type="http://schemas.openxmlformats.org/officeDocument/2006/relationships/tags" Target="../tags/tag126.x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80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image" Target="../media/image6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2.bin"/></Relationships>
</file>

<file path=ppt/slideLayouts/_rels/slideLayout16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29.xml"/><Relationship Id="rId1" Type="http://schemas.openxmlformats.org/officeDocument/2006/relationships/tags" Target="../tags/tag128.xml"/><Relationship Id="rId6" Type="http://schemas.openxmlformats.org/officeDocument/2006/relationships/image" Target="../media/image10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81.bin"/></Relationships>
</file>

<file path=ppt/slideLayouts/_rels/slideLayout16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31.xml"/><Relationship Id="rId1" Type="http://schemas.openxmlformats.org/officeDocument/2006/relationships/tags" Target="../tags/tag130.xml"/><Relationship Id="rId6" Type="http://schemas.openxmlformats.org/officeDocument/2006/relationships/image" Target="../media/image11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82.bin"/></Relationships>
</file>

<file path=ppt/slideLayouts/_rels/slideLayout1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34.xml"/><Relationship Id="rId1" Type="http://schemas.openxmlformats.org/officeDocument/2006/relationships/tags" Target="../tags/tag133.xml"/><Relationship Id="rId6" Type="http://schemas.openxmlformats.org/officeDocument/2006/relationships/image" Target="../media/image6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84.bin"/></Relationships>
</file>

<file path=ppt/slideLayouts/_rels/slideLayout16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35.xml"/><Relationship Id="rId1" Type="http://schemas.openxmlformats.org/officeDocument/2006/relationships/themeOverride" Target="../theme/themeOverride3.xml"/><Relationship Id="rId6" Type="http://schemas.openxmlformats.org/officeDocument/2006/relationships/image" Target="../media/image8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85.bin"/></Relationships>
</file>

<file path=ppt/slideLayouts/_rels/slideLayout16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6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36.xml"/><Relationship Id="rId4" Type="http://schemas.openxmlformats.org/officeDocument/2006/relationships/image" Target="../media/image9.emf"/></Relationships>
</file>

<file path=ppt/slideLayouts/_rels/slideLayout16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7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37.xml"/><Relationship Id="rId4" Type="http://schemas.openxmlformats.org/officeDocument/2006/relationships/image" Target="../media/image9.emf"/></Relationships>
</file>

<file path=ppt/slideLayouts/_rels/slideLayout16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8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38.xml"/><Relationship Id="rId5" Type="http://schemas.openxmlformats.org/officeDocument/2006/relationships/image" Target="../media/image6.png"/><Relationship Id="rId4" Type="http://schemas.openxmlformats.org/officeDocument/2006/relationships/image" Target="../media/image9.emf"/></Relationships>
</file>

<file path=ppt/slideLayouts/_rels/slideLayout1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4.xml"/></Relationships>
</file>

<file path=ppt/slideLayouts/_rels/slideLayout1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4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.xml"/><Relationship Id="rId1" Type="http://schemas.openxmlformats.org/officeDocument/2006/relationships/themeOverride" Target="../theme/themeOverride1.xml"/><Relationship Id="rId6" Type="http://schemas.openxmlformats.org/officeDocument/2006/relationships/image" Target="../media/image8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3.bin"/></Relationships>
</file>

<file path=ppt/slideLayouts/_rels/slideLayout17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9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39.xml"/><Relationship Id="rId6" Type="http://schemas.openxmlformats.org/officeDocument/2006/relationships/image" Target="../media/image6.png"/><Relationship Id="rId5" Type="http://schemas.openxmlformats.org/officeDocument/2006/relationships/image" Target="../media/image10.png"/><Relationship Id="rId4" Type="http://schemas.openxmlformats.org/officeDocument/2006/relationships/image" Target="../media/image9.emf"/></Relationships>
</file>

<file path=ppt/slideLayouts/_rels/slideLayout17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0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40.xml"/><Relationship Id="rId6" Type="http://schemas.openxmlformats.org/officeDocument/2006/relationships/image" Target="../media/image6.png"/><Relationship Id="rId5" Type="http://schemas.openxmlformats.org/officeDocument/2006/relationships/image" Target="../media/image10.png"/><Relationship Id="rId4" Type="http://schemas.openxmlformats.org/officeDocument/2006/relationships/image" Target="../media/image9.emf"/></Relationships>
</file>

<file path=ppt/slideLayouts/_rels/slideLayout1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4.xml"/></Relationships>
</file>

<file path=ppt/slideLayouts/_rels/slideLayout1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4.xml"/></Relationships>
</file>

<file path=ppt/slideLayouts/_rels/slideLayout1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4.xml"/></Relationships>
</file>

<file path=ppt/slideLayouts/_rels/slideLayout17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1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41.xml"/><Relationship Id="rId6" Type="http://schemas.openxmlformats.org/officeDocument/2006/relationships/image" Target="../media/image6.png"/><Relationship Id="rId5" Type="http://schemas.openxmlformats.org/officeDocument/2006/relationships/image" Target="../media/image11.png"/><Relationship Id="rId4" Type="http://schemas.openxmlformats.org/officeDocument/2006/relationships/image" Target="../media/image9.emf"/></Relationships>
</file>

<file path=ppt/slideLayouts/_rels/slideLayout1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4.xml"/></Relationships>
</file>

<file path=ppt/slideLayouts/_rels/slideLayout17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2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42.xml"/><Relationship Id="rId6" Type="http://schemas.openxmlformats.org/officeDocument/2006/relationships/image" Target="../media/image6.png"/><Relationship Id="rId5" Type="http://schemas.openxmlformats.org/officeDocument/2006/relationships/image" Target="../media/image14.png"/><Relationship Id="rId4" Type="http://schemas.openxmlformats.org/officeDocument/2006/relationships/image" Target="../media/image13.emf"/></Relationships>
</file>

<file path=ppt/slideLayouts/_rels/slideLayout1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4.xml"/></Relationships>
</file>

<file path=ppt/slideLayouts/_rels/slideLayout17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3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43.xml"/><Relationship Id="rId6" Type="http://schemas.openxmlformats.org/officeDocument/2006/relationships/image" Target="../media/image6.png"/><Relationship Id="rId5" Type="http://schemas.openxmlformats.org/officeDocument/2006/relationships/image" Target="../media/image11.png"/><Relationship Id="rId4" Type="http://schemas.openxmlformats.org/officeDocument/2006/relationships/image" Target="../media/image9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.xml"/><Relationship Id="rId1" Type="http://schemas.openxmlformats.org/officeDocument/2006/relationships/themeOverride" Target="../theme/themeOverride2.xml"/><Relationship Id="rId6" Type="http://schemas.openxmlformats.org/officeDocument/2006/relationships/image" Target="../media/image8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4.bin"/></Relationships>
</file>

<file path=ppt/slideLayouts/_rels/slideLayout18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4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44.xml"/><Relationship Id="rId6" Type="http://schemas.openxmlformats.org/officeDocument/2006/relationships/image" Target="../media/image8.png"/><Relationship Id="rId5" Type="http://schemas.openxmlformats.org/officeDocument/2006/relationships/image" Target="../media/image12.png"/><Relationship Id="rId4" Type="http://schemas.openxmlformats.org/officeDocument/2006/relationships/image" Target="../media/image9.emf"/></Relationships>
</file>

<file path=ppt/slideLayouts/_rels/slideLayout18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5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45.xml"/><Relationship Id="rId6" Type="http://schemas.openxmlformats.org/officeDocument/2006/relationships/image" Target="../media/image6.png"/><Relationship Id="rId5" Type="http://schemas.openxmlformats.org/officeDocument/2006/relationships/image" Target="../media/image11.png"/><Relationship Id="rId4" Type="http://schemas.openxmlformats.org/officeDocument/2006/relationships/image" Target="../media/image9.emf"/></Relationships>
</file>

<file path=ppt/slideLayouts/_rels/slideLayout18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6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46.xml"/><Relationship Id="rId6" Type="http://schemas.openxmlformats.org/officeDocument/2006/relationships/image" Target="../media/image8.png"/><Relationship Id="rId5" Type="http://schemas.openxmlformats.org/officeDocument/2006/relationships/image" Target="../media/image12.png"/><Relationship Id="rId4" Type="http://schemas.openxmlformats.org/officeDocument/2006/relationships/image" Target="../media/image9.emf"/></Relationships>
</file>

<file path=ppt/slideLayouts/_rels/slideLayout1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4.xml"/></Relationships>
</file>

<file path=ppt/slideLayouts/_rels/slideLayout18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7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47.xml"/><Relationship Id="rId5" Type="http://schemas.openxmlformats.org/officeDocument/2006/relationships/image" Target="../media/image6.png"/><Relationship Id="rId4" Type="http://schemas.openxmlformats.org/officeDocument/2006/relationships/image" Target="../media/image9.emf"/></Relationships>
</file>

<file path=ppt/slideLayouts/_rels/slideLayout18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7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48.xml"/><Relationship Id="rId6" Type="http://schemas.openxmlformats.org/officeDocument/2006/relationships/image" Target="../media/image8.png"/><Relationship Id="rId5" Type="http://schemas.openxmlformats.org/officeDocument/2006/relationships/image" Target="../media/image15.png"/><Relationship Id="rId4" Type="http://schemas.openxmlformats.org/officeDocument/2006/relationships/image" Target="../media/image13.emf"/></Relationships>
</file>

<file path=ppt/slideLayouts/_rels/slideLayout18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8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49.xml"/><Relationship Id="rId5" Type="http://schemas.openxmlformats.org/officeDocument/2006/relationships/image" Target="../media/image8.png"/><Relationship Id="rId4" Type="http://schemas.openxmlformats.org/officeDocument/2006/relationships/image" Target="../media/image9.emf"/></Relationships>
</file>

<file path=ppt/slideLayouts/_rels/slideLayout1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4.xml"/></Relationships>
</file>

<file path=ppt/slideLayouts/_rels/slideLayout1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6.xml"/><Relationship Id="rId4" Type="http://schemas.openxmlformats.org/officeDocument/2006/relationships/image" Target="../media/image9.emf"/></Relationships>
</file>

<file path=ppt/slideLayouts/_rels/slideLayout19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9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50.xml"/><Relationship Id="rId6" Type="http://schemas.openxmlformats.org/officeDocument/2006/relationships/image" Target="../media/image8.png"/><Relationship Id="rId5" Type="http://schemas.openxmlformats.org/officeDocument/2006/relationships/image" Target="../media/image16.jpeg"/><Relationship Id="rId4" Type="http://schemas.openxmlformats.org/officeDocument/2006/relationships/image" Target="../media/image7.emf"/></Relationships>
</file>

<file path=ppt/slideLayouts/_rels/slideLayout1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9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52.xml"/><Relationship Id="rId1" Type="http://schemas.openxmlformats.org/officeDocument/2006/relationships/tags" Target="../tags/tag151.xml"/><Relationship Id="rId6" Type="http://schemas.openxmlformats.org/officeDocument/2006/relationships/image" Target="../media/image6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100.bin"/></Relationships>
</file>

<file path=ppt/slideLayouts/_rels/slideLayout19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1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53.xml"/><Relationship Id="rId4" Type="http://schemas.openxmlformats.org/officeDocument/2006/relationships/image" Target="../media/image9.emf"/></Relationships>
</file>

<file path=ppt/slideLayouts/_rels/slideLayout1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4.xml"/></Relationships>
</file>

<file path=ppt/slideLayouts/_rels/slideLayout19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2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54.xml"/><Relationship Id="rId4" Type="http://schemas.openxmlformats.org/officeDocument/2006/relationships/image" Target="../media/image9.emf"/></Relationships>
</file>

<file path=ppt/slideLayouts/_rels/slideLayout19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3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55.xml"/><Relationship Id="rId4" Type="http://schemas.openxmlformats.org/officeDocument/2006/relationships/image" Target="../media/image9.emf"/></Relationships>
</file>

<file path=ppt/slideLayouts/_rels/slideLayout19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4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56.xml"/><Relationship Id="rId6" Type="http://schemas.openxmlformats.org/officeDocument/2006/relationships/image" Target="../media/image6.png"/><Relationship Id="rId5" Type="http://schemas.openxmlformats.org/officeDocument/2006/relationships/image" Target="../media/image10.png"/><Relationship Id="rId4" Type="http://schemas.openxmlformats.org/officeDocument/2006/relationships/image" Target="../media/image9.emf"/></Relationships>
</file>

<file path=ppt/slideLayouts/_rels/slideLayout19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5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57.xml"/><Relationship Id="rId6" Type="http://schemas.openxmlformats.org/officeDocument/2006/relationships/image" Target="../media/image6.png"/><Relationship Id="rId5" Type="http://schemas.openxmlformats.org/officeDocument/2006/relationships/image" Target="../media/image10.png"/><Relationship Id="rId4" Type="http://schemas.openxmlformats.org/officeDocument/2006/relationships/image" Target="../media/image9.emf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7.xml"/><Relationship Id="rId4" Type="http://schemas.openxmlformats.org/officeDocument/2006/relationships/image" Target="../media/image9.emf"/></Relationships>
</file>

<file path=ppt/slideLayouts/_rels/slideLayout20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6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58.xml"/><Relationship Id="rId6" Type="http://schemas.openxmlformats.org/officeDocument/2006/relationships/image" Target="../media/image6.png"/><Relationship Id="rId5" Type="http://schemas.openxmlformats.org/officeDocument/2006/relationships/image" Target="../media/image10.png"/><Relationship Id="rId4" Type="http://schemas.openxmlformats.org/officeDocument/2006/relationships/image" Target="../media/image9.emf"/></Relationships>
</file>

<file path=ppt/slideLayouts/_rels/slideLayout20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7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59.xml"/><Relationship Id="rId6" Type="http://schemas.openxmlformats.org/officeDocument/2006/relationships/image" Target="../media/image8.png"/><Relationship Id="rId5" Type="http://schemas.openxmlformats.org/officeDocument/2006/relationships/image" Target="../media/image10.png"/><Relationship Id="rId4" Type="http://schemas.openxmlformats.org/officeDocument/2006/relationships/image" Target="../media/image9.emf"/></Relationships>
</file>

<file path=ppt/slideLayouts/_rels/slideLayout20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8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60.xml"/><Relationship Id="rId6" Type="http://schemas.openxmlformats.org/officeDocument/2006/relationships/image" Target="../media/image8.png"/><Relationship Id="rId5" Type="http://schemas.openxmlformats.org/officeDocument/2006/relationships/image" Target="../media/image10.png"/><Relationship Id="rId4" Type="http://schemas.openxmlformats.org/officeDocument/2006/relationships/image" Target="../media/image9.emf"/></Relationships>
</file>

<file path=ppt/slideLayouts/_rels/slideLayout20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9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61.xml"/><Relationship Id="rId6" Type="http://schemas.openxmlformats.org/officeDocument/2006/relationships/image" Target="../media/image8.png"/><Relationship Id="rId5" Type="http://schemas.openxmlformats.org/officeDocument/2006/relationships/image" Target="../media/image10.png"/><Relationship Id="rId4" Type="http://schemas.openxmlformats.org/officeDocument/2006/relationships/image" Target="../media/image9.emf"/></Relationships>
</file>

<file path=ppt/slideLayouts/_rels/slideLayout20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0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62.xml"/><Relationship Id="rId6" Type="http://schemas.openxmlformats.org/officeDocument/2006/relationships/image" Target="../media/image6.png"/><Relationship Id="rId5" Type="http://schemas.openxmlformats.org/officeDocument/2006/relationships/image" Target="../media/image11.png"/><Relationship Id="rId4" Type="http://schemas.openxmlformats.org/officeDocument/2006/relationships/image" Target="../media/image13.emf"/></Relationships>
</file>

<file path=ppt/slideLayouts/_rels/slideLayout20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1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63.xml"/><Relationship Id="rId6" Type="http://schemas.openxmlformats.org/officeDocument/2006/relationships/image" Target="../media/image8.png"/><Relationship Id="rId5" Type="http://schemas.openxmlformats.org/officeDocument/2006/relationships/image" Target="../media/image12.png"/><Relationship Id="rId4" Type="http://schemas.openxmlformats.org/officeDocument/2006/relationships/image" Target="../media/image9.emf"/></Relationships>
</file>

<file path=ppt/slideLayouts/_rels/slideLayout20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2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64.xml"/><Relationship Id="rId6" Type="http://schemas.openxmlformats.org/officeDocument/2006/relationships/image" Target="../media/image6.png"/><Relationship Id="rId5" Type="http://schemas.openxmlformats.org/officeDocument/2006/relationships/image" Target="../media/image14.png"/><Relationship Id="rId4" Type="http://schemas.openxmlformats.org/officeDocument/2006/relationships/image" Target="../media/image9.emf"/></Relationships>
</file>

<file path=ppt/slideLayouts/_rels/slideLayout20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3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65.xml"/><Relationship Id="rId6" Type="http://schemas.openxmlformats.org/officeDocument/2006/relationships/image" Target="../media/image8.png"/><Relationship Id="rId5" Type="http://schemas.openxmlformats.org/officeDocument/2006/relationships/image" Target="../media/image12.png"/><Relationship Id="rId4" Type="http://schemas.openxmlformats.org/officeDocument/2006/relationships/image" Target="../media/image9.emf"/></Relationships>
</file>

<file path=ppt/slideLayouts/_rels/slideLayout20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4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66.xml"/><Relationship Id="rId6" Type="http://schemas.openxmlformats.org/officeDocument/2006/relationships/image" Target="../media/image6.png"/><Relationship Id="rId5" Type="http://schemas.openxmlformats.org/officeDocument/2006/relationships/image" Target="../media/image11.png"/><Relationship Id="rId4" Type="http://schemas.openxmlformats.org/officeDocument/2006/relationships/image" Target="../media/image9.emf"/></Relationships>
</file>

<file path=ppt/slideLayouts/_rels/slideLayout20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5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67.xml"/><Relationship Id="rId6" Type="http://schemas.openxmlformats.org/officeDocument/2006/relationships/image" Target="../media/image8.png"/><Relationship Id="rId5" Type="http://schemas.openxmlformats.org/officeDocument/2006/relationships/image" Target="../media/image12.png"/><Relationship Id="rId4" Type="http://schemas.openxmlformats.org/officeDocument/2006/relationships/image" Target="../media/image9.emf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8.xml"/><Relationship Id="rId5" Type="http://schemas.openxmlformats.org/officeDocument/2006/relationships/image" Target="../media/image6.png"/><Relationship Id="rId4" Type="http://schemas.openxmlformats.org/officeDocument/2006/relationships/image" Target="../media/image9.emf"/></Relationships>
</file>

<file path=ppt/slideLayouts/_rels/slideLayout2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6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68.xml"/><Relationship Id="rId6" Type="http://schemas.openxmlformats.org/officeDocument/2006/relationships/image" Target="../media/image6.png"/><Relationship Id="rId5" Type="http://schemas.openxmlformats.org/officeDocument/2006/relationships/image" Target="../media/image11.png"/><Relationship Id="rId4" Type="http://schemas.openxmlformats.org/officeDocument/2006/relationships/image" Target="../media/image9.emf"/></Relationships>
</file>

<file path=ppt/slideLayouts/_rels/slideLayout2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7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69.xml"/><Relationship Id="rId6" Type="http://schemas.openxmlformats.org/officeDocument/2006/relationships/image" Target="../media/image8.png"/><Relationship Id="rId5" Type="http://schemas.openxmlformats.org/officeDocument/2006/relationships/image" Target="../media/image12.png"/><Relationship Id="rId4" Type="http://schemas.openxmlformats.org/officeDocument/2006/relationships/image" Target="../media/image9.emf"/></Relationships>
</file>

<file path=ppt/slideLayouts/_rels/slideLayout2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4.xml"/></Relationships>
</file>

<file path=ppt/slideLayouts/_rels/slideLayout2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8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70.xml"/><Relationship Id="rId4" Type="http://schemas.openxmlformats.org/officeDocument/2006/relationships/image" Target="../media/image9.emf"/></Relationships>
</file>

<file path=ppt/slideLayouts/_rels/slideLayout2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7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71.xml"/><Relationship Id="rId6" Type="http://schemas.openxmlformats.org/officeDocument/2006/relationships/image" Target="../media/image8.png"/><Relationship Id="rId5" Type="http://schemas.openxmlformats.org/officeDocument/2006/relationships/image" Target="../media/image15.png"/><Relationship Id="rId4" Type="http://schemas.openxmlformats.org/officeDocument/2006/relationships/image" Target="../media/image7.emf"/></Relationships>
</file>

<file path=ppt/slideLayouts/_rels/slideLayout2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9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72.xml"/><Relationship Id="rId5" Type="http://schemas.openxmlformats.org/officeDocument/2006/relationships/image" Target="../media/image8.png"/><Relationship Id="rId4" Type="http://schemas.openxmlformats.org/officeDocument/2006/relationships/image" Target="../media/image9.emf"/></Relationships>
</file>

<file path=ppt/slideLayouts/_rels/slideLayout2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4.xml"/></Relationships>
</file>

<file path=ppt/slideLayouts/_rels/slideLayout2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4.xml"/></Relationships>
</file>

<file path=ppt/slideLayouts/_rels/slideLayout2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2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0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73.xml"/><Relationship Id="rId6" Type="http://schemas.openxmlformats.org/officeDocument/2006/relationships/image" Target="../media/image8.png"/><Relationship Id="rId5" Type="http://schemas.openxmlformats.org/officeDocument/2006/relationships/image" Target="../media/image16.jpeg"/><Relationship Id="rId4" Type="http://schemas.openxmlformats.org/officeDocument/2006/relationships/image" Target="../media/image7.emf"/></Relationships>
</file>

<file path=ppt/slideLayouts/_rels/slideLayout2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75.xml"/><Relationship Id="rId1" Type="http://schemas.openxmlformats.org/officeDocument/2006/relationships/tags" Target="../tags/tag174.xml"/><Relationship Id="rId6" Type="http://schemas.openxmlformats.org/officeDocument/2006/relationships/image" Target="../media/image8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121.bin"/></Relationships>
</file>

<file path=ppt/slideLayouts/_rels/slideLayout2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2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76.xml"/><Relationship Id="rId5" Type="http://schemas.openxmlformats.org/officeDocument/2006/relationships/image" Target="../media/image8.png"/><Relationship Id="rId4" Type="http://schemas.openxmlformats.org/officeDocument/2006/relationships/image" Target="../media/image5.emf"/></Relationships>
</file>

<file path=ppt/slideLayouts/_rels/slideLayout2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3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77.xml"/><Relationship Id="rId5" Type="http://schemas.openxmlformats.org/officeDocument/2006/relationships/image" Target="../media/image8.png"/><Relationship Id="rId4" Type="http://schemas.openxmlformats.org/officeDocument/2006/relationships/image" Target="../media/image5.emf"/></Relationships>
</file>

<file path=ppt/slideLayouts/_rels/slideLayout2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4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78.xml"/><Relationship Id="rId6" Type="http://schemas.openxmlformats.org/officeDocument/2006/relationships/image" Target="../media/image8.png"/><Relationship Id="rId5" Type="http://schemas.openxmlformats.org/officeDocument/2006/relationships/image" Target="../media/image10.png"/><Relationship Id="rId4" Type="http://schemas.openxmlformats.org/officeDocument/2006/relationships/image" Target="../media/image5.emf"/></Relationships>
</file>

<file path=ppt/slideLayouts/_rels/slideLayout2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80.xml"/><Relationship Id="rId1" Type="http://schemas.openxmlformats.org/officeDocument/2006/relationships/tags" Target="../tags/tag179.x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25.bin"/></Relationships>
</file>

<file path=ppt/slideLayouts/_rels/slideLayout2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6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81.xml"/><Relationship Id="rId4" Type="http://schemas.openxmlformats.org/officeDocument/2006/relationships/image" Target="../media/image5.emf"/></Relationships>
</file>

<file path=ppt/slideLayouts/_rels/slideLayout2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7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82.xml"/><Relationship Id="rId4" Type="http://schemas.openxmlformats.org/officeDocument/2006/relationships/image" Target="../media/image5.emf"/></Relationships>
</file>

<file path=ppt/slideLayouts/_rels/slideLayout2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8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83.xml"/><Relationship Id="rId6" Type="http://schemas.openxmlformats.org/officeDocument/2006/relationships/image" Target="../media/image8.png"/><Relationship Id="rId5" Type="http://schemas.openxmlformats.org/officeDocument/2006/relationships/image" Target="../media/image10.png"/><Relationship Id="rId4" Type="http://schemas.openxmlformats.org/officeDocument/2006/relationships/image" Target="../media/image5.emf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23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9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84.xml"/><Relationship Id="rId6" Type="http://schemas.openxmlformats.org/officeDocument/2006/relationships/image" Target="../media/image6.png"/><Relationship Id="rId5" Type="http://schemas.openxmlformats.org/officeDocument/2006/relationships/image" Target="../media/image11.png"/><Relationship Id="rId4" Type="http://schemas.openxmlformats.org/officeDocument/2006/relationships/image" Target="../media/image5.emf"/></Relationships>
</file>

<file path=ppt/slideLayouts/_rels/slideLayout2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0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85.xml"/><Relationship Id="rId5" Type="http://schemas.openxmlformats.org/officeDocument/2006/relationships/image" Target="../media/image6.png"/><Relationship Id="rId4" Type="http://schemas.openxmlformats.org/officeDocument/2006/relationships/image" Target="../media/image17.emf"/></Relationships>
</file>

<file path=ppt/slideLayouts/_rels/slideLayout2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88.xml"/><Relationship Id="rId1" Type="http://schemas.openxmlformats.org/officeDocument/2006/relationships/tags" Target="../tags/tag187.xml"/><Relationship Id="rId6" Type="http://schemas.openxmlformats.org/officeDocument/2006/relationships/image" Target="../media/image6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132.bin"/></Relationships>
</file>

<file path=ppt/slideLayouts/_rels/slideLayout2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89.xml"/><Relationship Id="rId1" Type="http://schemas.openxmlformats.org/officeDocument/2006/relationships/themeOverride" Target="../theme/themeOverride4.xml"/><Relationship Id="rId6" Type="http://schemas.openxmlformats.org/officeDocument/2006/relationships/image" Target="../media/image8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133.bin"/></Relationships>
</file>

<file path=ppt/slideLayouts/_rels/slideLayout23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4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190.xml"/><Relationship Id="rId4" Type="http://schemas.openxmlformats.org/officeDocument/2006/relationships/image" Target="../media/image9.emf"/></Relationships>
</file>

<file path=ppt/slideLayouts/_rels/slideLayout23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5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191.xml"/><Relationship Id="rId4" Type="http://schemas.openxmlformats.org/officeDocument/2006/relationships/image" Target="../media/image9.emf"/></Relationships>
</file>

<file path=ppt/slideLayouts/_rels/slideLayout23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6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192.xml"/><Relationship Id="rId5" Type="http://schemas.openxmlformats.org/officeDocument/2006/relationships/image" Target="../media/image6.png"/><Relationship Id="rId4" Type="http://schemas.openxmlformats.org/officeDocument/2006/relationships/image" Target="../media/image9.emf"/></Relationships>
</file>

<file path=ppt/slideLayouts/_rels/slideLayout2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5.xml"/></Relationships>
</file>

<file path=ppt/slideLayouts/_rels/slideLayout2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5.xml"/></Relationships>
</file>

<file path=ppt/slideLayouts/_rels/slideLayout23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7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193.xml"/><Relationship Id="rId6" Type="http://schemas.openxmlformats.org/officeDocument/2006/relationships/image" Target="../media/image6.png"/><Relationship Id="rId5" Type="http://schemas.openxmlformats.org/officeDocument/2006/relationships/image" Target="../media/image10.png"/><Relationship Id="rId4" Type="http://schemas.openxmlformats.org/officeDocument/2006/relationships/image" Target="../media/image9.emf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6.png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6" Type="http://schemas.openxmlformats.org/officeDocument/2006/relationships/image" Target="../media/image10.png"/><Relationship Id="rId5" Type="http://schemas.openxmlformats.org/officeDocument/2006/relationships/image" Target="../media/image9.emf"/><Relationship Id="rId4" Type="http://schemas.openxmlformats.org/officeDocument/2006/relationships/oleObject" Target="../embeddings/oleObject8.bin"/></Relationships>
</file>

<file path=ppt/slideLayouts/_rels/slideLayout24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8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194.xml"/><Relationship Id="rId6" Type="http://schemas.openxmlformats.org/officeDocument/2006/relationships/image" Target="../media/image6.png"/><Relationship Id="rId5" Type="http://schemas.openxmlformats.org/officeDocument/2006/relationships/image" Target="../media/image10.png"/><Relationship Id="rId4" Type="http://schemas.openxmlformats.org/officeDocument/2006/relationships/image" Target="../media/image9.emf"/></Relationships>
</file>

<file path=ppt/slideLayouts/_rels/slideLayout2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5.xml"/></Relationships>
</file>

<file path=ppt/slideLayouts/_rels/slideLayout2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5.xml"/></Relationships>
</file>

<file path=ppt/slideLayouts/_rels/slideLayout2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5.xml"/></Relationships>
</file>

<file path=ppt/slideLayouts/_rels/slideLayout24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9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195.xml"/><Relationship Id="rId6" Type="http://schemas.openxmlformats.org/officeDocument/2006/relationships/image" Target="../media/image6.png"/><Relationship Id="rId5" Type="http://schemas.openxmlformats.org/officeDocument/2006/relationships/image" Target="../media/image11.png"/><Relationship Id="rId4" Type="http://schemas.openxmlformats.org/officeDocument/2006/relationships/image" Target="../media/image9.emf"/></Relationships>
</file>

<file path=ppt/slideLayouts/_rels/slideLayout2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5.xml"/></Relationships>
</file>

<file path=ppt/slideLayouts/_rels/slideLayout24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0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196.xml"/><Relationship Id="rId6" Type="http://schemas.openxmlformats.org/officeDocument/2006/relationships/image" Target="../media/image6.png"/><Relationship Id="rId5" Type="http://schemas.openxmlformats.org/officeDocument/2006/relationships/image" Target="../media/image14.png"/><Relationship Id="rId4" Type="http://schemas.openxmlformats.org/officeDocument/2006/relationships/image" Target="../media/image13.emf"/></Relationships>
</file>

<file path=ppt/slideLayouts/_rels/slideLayout2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5.xml"/></Relationships>
</file>

<file path=ppt/slideLayouts/_rels/slideLayout24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1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197.xml"/><Relationship Id="rId6" Type="http://schemas.openxmlformats.org/officeDocument/2006/relationships/image" Target="../media/image6.png"/><Relationship Id="rId5" Type="http://schemas.openxmlformats.org/officeDocument/2006/relationships/image" Target="../media/image11.png"/><Relationship Id="rId4" Type="http://schemas.openxmlformats.org/officeDocument/2006/relationships/image" Target="../media/image9.emf"/></Relationships>
</file>

<file path=ppt/slideLayouts/_rels/slideLayout24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2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198.xml"/><Relationship Id="rId6" Type="http://schemas.openxmlformats.org/officeDocument/2006/relationships/image" Target="../media/image8.png"/><Relationship Id="rId5" Type="http://schemas.openxmlformats.org/officeDocument/2006/relationships/image" Target="../media/image12.png"/><Relationship Id="rId4" Type="http://schemas.openxmlformats.org/officeDocument/2006/relationships/image" Target="../media/image9.emf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1.xml"/><Relationship Id="rId6" Type="http://schemas.openxmlformats.org/officeDocument/2006/relationships/image" Target="../media/image6.png"/><Relationship Id="rId5" Type="http://schemas.openxmlformats.org/officeDocument/2006/relationships/image" Target="../media/image10.png"/><Relationship Id="rId4" Type="http://schemas.openxmlformats.org/officeDocument/2006/relationships/image" Target="../media/image9.emf"/></Relationships>
</file>

<file path=ppt/slideLayouts/_rels/slideLayout25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3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199.xml"/><Relationship Id="rId6" Type="http://schemas.openxmlformats.org/officeDocument/2006/relationships/image" Target="../media/image6.png"/><Relationship Id="rId5" Type="http://schemas.openxmlformats.org/officeDocument/2006/relationships/image" Target="../media/image11.png"/><Relationship Id="rId4" Type="http://schemas.openxmlformats.org/officeDocument/2006/relationships/image" Target="../media/image9.emf"/></Relationships>
</file>

<file path=ppt/slideLayouts/_rels/slideLayout25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4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200.xml"/><Relationship Id="rId6" Type="http://schemas.openxmlformats.org/officeDocument/2006/relationships/image" Target="../media/image8.png"/><Relationship Id="rId5" Type="http://schemas.openxmlformats.org/officeDocument/2006/relationships/image" Target="../media/image12.png"/><Relationship Id="rId4" Type="http://schemas.openxmlformats.org/officeDocument/2006/relationships/image" Target="../media/image9.emf"/></Relationships>
</file>

<file path=ppt/slideLayouts/_rels/slideLayout2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5.xml"/></Relationships>
</file>

<file path=ppt/slideLayouts/_rels/slideLayout25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5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201.xml"/><Relationship Id="rId5" Type="http://schemas.openxmlformats.org/officeDocument/2006/relationships/image" Target="../media/image6.png"/><Relationship Id="rId4" Type="http://schemas.openxmlformats.org/officeDocument/2006/relationships/image" Target="../media/image9.emf"/></Relationships>
</file>

<file path=ppt/slideLayouts/_rels/slideLayout25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6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202.xml"/><Relationship Id="rId6" Type="http://schemas.openxmlformats.org/officeDocument/2006/relationships/image" Target="../media/image8.png"/><Relationship Id="rId5" Type="http://schemas.openxmlformats.org/officeDocument/2006/relationships/image" Target="../media/image15.png"/><Relationship Id="rId4" Type="http://schemas.openxmlformats.org/officeDocument/2006/relationships/image" Target="../media/image13.emf"/></Relationships>
</file>

<file path=ppt/slideLayouts/_rels/slideLayout25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7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203.xml"/><Relationship Id="rId5" Type="http://schemas.openxmlformats.org/officeDocument/2006/relationships/image" Target="../media/image8.png"/><Relationship Id="rId4" Type="http://schemas.openxmlformats.org/officeDocument/2006/relationships/image" Target="../media/image9.emf"/></Relationships>
</file>

<file path=ppt/slideLayouts/_rels/slideLayout2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5.xml"/></Relationships>
</file>

<file path=ppt/slideLayouts/_rels/slideLayout2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5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8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204.xml"/><Relationship Id="rId6" Type="http://schemas.openxmlformats.org/officeDocument/2006/relationships/image" Target="../media/image8.png"/><Relationship Id="rId5" Type="http://schemas.openxmlformats.org/officeDocument/2006/relationships/image" Target="../media/image16.jpeg"/><Relationship Id="rId4" Type="http://schemas.openxmlformats.org/officeDocument/2006/relationships/image" Target="../media/image7.emf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6.png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6" Type="http://schemas.openxmlformats.org/officeDocument/2006/relationships/image" Target="../media/image10.png"/><Relationship Id="rId5" Type="http://schemas.openxmlformats.org/officeDocument/2006/relationships/image" Target="../media/image9.emf"/><Relationship Id="rId4" Type="http://schemas.openxmlformats.org/officeDocument/2006/relationships/oleObject" Target="../embeddings/oleObject10.bin"/></Relationships>
</file>

<file path=ppt/slideLayouts/_rels/slideLayout2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6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06.xml"/><Relationship Id="rId1" Type="http://schemas.openxmlformats.org/officeDocument/2006/relationships/tags" Target="../tags/tag205.xml"/><Relationship Id="rId6" Type="http://schemas.openxmlformats.org/officeDocument/2006/relationships/image" Target="../media/image6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149.bin"/></Relationships>
</file>

<file path=ppt/slideLayouts/_rels/slideLayout26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0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207.xml"/><Relationship Id="rId4" Type="http://schemas.openxmlformats.org/officeDocument/2006/relationships/image" Target="../media/image9.emf"/></Relationships>
</file>

<file path=ppt/slideLayouts/_rels/slideLayout2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5.xml"/></Relationships>
</file>

<file path=ppt/slideLayouts/_rels/slideLayout26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1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208.xml"/><Relationship Id="rId4" Type="http://schemas.openxmlformats.org/officeDocument/2006/relationships/image" Target="../media/image9.emf"/></Relationships>
</file>

<file path=ppt/slideLayouts/_rels/slideLayout26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2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209.xml"/><Relationship Id="rId4" Type="http://schemas.openxmlformats.org/officeDocument/2006/relationships/image" Target="../media/image9.emf"/></Relationships>
</file>

<file path=ppt/slideLayouts/_rels/slideLayout26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3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210.xml"/><Relationship Id="rId6" Type="http://schemas.openxmlformats.org/officeDocument/2006/relationships/image" Target="../media/image6.png"/><Relationship Id="rId5" Type="http://schemas.openxmlformats.org/officeDocument/2006/relationships/image" Target="../media/image10.png"/><Relationship Id="rId4" Type="http://schemas.openxmlformats.org/officeDocument/2006/relationships/image" Target="../media/image9.emf"/></Relationships>
</file>

<file path=ppt/slideLayouts/_rels/slideLayout26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4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211.xml"/><Relationship Id="rId6" Type="http://schemas.openxmlformats.org/officeDocument/2006/relationships/image" Target="../media/image6.png"/><Relationship Id="rId5" Type="http://schemas.openxmlformats.org/officeDocument/2006/relationships/image" Target="../media/image10.png"/><Relationship Id="rId4" Type="http://schemas.openxmlformats.org/officeDocument/2006/relationships/image" Target="../media/image9.emf"/></Relationships>
</file>

<file path=ppt/slideLayouts/_rels/slideLayout26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5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212.xml"/><Relationship Id="rId6" Type="http://schemas.openxmlformats.org/officeDocument/2006/relationships/image" Target="../media/image6.png"/><Relationship Id="rId5" Type="http://schemas.openxmlformats.org/officeDocument/2006/relationships/image" Target="../media/image10.png"/><Relationship Id="rId4" Type="http://schemas.openxmlformats.org/officeDocument/2006/relationships/image" Target="../media/image9.emf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27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6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213.xml"/><Relationship Id="rId6" Type="http://schemas.openxmlformats.org/officeDocument/2006/relationships/image" Target="../media/image8.png"/><Relationship Id="rId5" Type="http://schemas.openxmlformats.org/officeDocument/2006/relationships/image" Target="../media/image10.png"/><Relationship Id="rId4" Type="http://schemas.openxmlformats.org/officeDocument/2006/relationships/image" Target="../media/image9.emf"/></Relationships>
</file>

<file path=ppt/slideLayouts/_rels/slideLayout27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7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214.xml"/><Relationship Id="rId6" Type="http://schemas.openxmlformats.org/officeDocument/2006/relationships/image" Target="../media/image8.png"/><Relationship Id="rId5" Type="http://schemas.openxmlformats.org/officeDocument/2006/relationships/image" Target="../media/image10.png"/><Relationship Id="rId4" Type="http://schemas.openxmlformats.org/officeDocument/2006/relationships/image" Target="../media/image9.emf"/></Relationships>
</file>

<file path=ppt/slideLayouts/_rels/slideLayout27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8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215.xml"/><Relationship Id="rId6" Type="http://schemas.openxmlformats.org/officeDocument/2006/relationships/image" Target="../media/image8.png"/><Relationship Id="rId5" Type="http://schemas.openxmlformats.org/officeDocument/2006/relationships/image" Target="../media/image10.png"/><Relationship Id="rId4" Type="http://schemas.openxmlformats.org/officeDocument/2006/relationships/image" Target="../media/image9.emf"/></Relationships>
</file>

<file path=ppt/slideLayouts/_rels/slideLayout27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9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216.xml"/><Relationship Id="rId6" Type="http://schemas.openxmlformats.org/officeDocument/2006/relationships/image" Target="../media/image6.png"/><Relationship Id="rId5" Type="http://schemas.openxmlformats.org/officeDocument/2006/relationships/image" Target="../media/image11.png"/><Relationship Id="rId4" Type="http://schemas.openxmlformats.org/officeDocument/2006/relationships/image" Target="../media/image13.emf"/></Relationships>
</file>

<file path=ppt/slideLayouts/_rels/slideLayout27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0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217.xml"/><Relationship Id="rId6" Type="http://schemas.openxmlformats.org/officeDocument/2006/relationships/image" Target="../media/image8.png"/><Relationship Id="rId5" Type="http://schemas.openxmlformats.org/officeDocument/2006/relationships/image" Target="../media/image12.png"/><Relationship Id="rId4" Type="http://schemas.openxmlformats.org/officeDocument/2006/relationships/image" Target="../media/image9.emf"/></Relationships>
</file>

<file path=ppt/slideLayouts/_rels/slideLayout27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1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218.xml"/><Relationship Id="rId6" Type="http://schemas.openxmlformats.org/officeDocument/2006/relationships/image" Target="../media/image6.png"/><Relationship Id="rId5" Type="http://schemas.openxmlformats.org/officeDocument/2006/relationships/image" Target="../media/image14.png"/><Relationship Id="rId4" Type="http://schemas.openxmlformats.org/officeDocument/2006/relationships/image" Target="../media/image9.emf"/></Relationships>
</file>

<file path=ppt/slideLayouts/_rels/slideLayout27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2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219.xml"/><Relationship Id="rId6" Type="http://schemas.openxmlformats.org/officeDocument/2006/relationships/image" Target="../media/image8.png"/><Relationship Id="rId5" Type="http://schemas.openxmlformats.org/officeDocument/2006/relationships/image" Target="../media/image12.png"/><Relationship Id="rId4" Type="http://schemas.openxmlformats.org/officeDocument/2006/relationships/image" Target="../media/image9.emf"/></Relationships>
</file>

<file path=ppt/slideLayouts/_rels/slideLayout27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3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220.xml"/><Relationship Id="rId6" Type="http://schemas.openxmlformats.org/officeDocument/2006/relationships/image" Target="../media/image6.png"/><Relationship Id="rId5" Type="http://schemas.openxmlformats.org/officeDocument/2006/relationships/image" Target="../media/image11.png"/><Relationship Id="rId4" Type="http://schemas.openxmlformats.org/officeDocument/2006/relationships/image" Target="../media/image9.emf"/></Relationships>
</file>

<file path=ppt/slideLayouts/_rels/slideLayout27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4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221.xml"/><Relationship Id="rId6" Type="http://schemas.openxmlformats.org/officeDocument/2006/relationships/image" Target="../media/image8.png"/><Relationship Id="rId5" Type="http://schemas.openxmlformats.org/officeDocument/2006/relationships/image" Target="../media/image12.png"/><Relationship Id="rId4" Type="http://schemas.openxmlformats.org/officeDocument/2006/relationships/image" Target="../media/image9.emf"/></Relationships>
</file>

<file path=ppt/slideLayouts/_rels/slideLayout27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5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222.xml"/><Relationship Id="rId6" Type="http://schemas.openxmlformats.org/officeDocument/2006/relationships/image" Target="../media/image6.png"/><Relationship Id="rId5" Type="http://schemas.openxmlformats.org/officeDocument/2006/relationships/image" Target="../media/image11.png"/><Relationship Id="rId4" Type="http://schemas.openxmlformats.org/officeDocument/2006/relationships/image" Target="../media/image9.emf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4.xml"/><Relationship Id="rId4" Type="http://schemas.openxmlformats.org/officeDocument/2006/relationships/image" Target="../media/image8.png"/></Relationships>
</file>

<file path=ppt/slideLayouts/_rels/slideLayout28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6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223.xml"/><Relationship Id="rId6" Type="http://schemas.openxmlformats.org/officeDocument/2006/relationships/image" Target="../media/image8.png"/><Relationship Id="rId5" Type="http://schemas.openxmlformats.org/officeDocument/2006/relationships/image" Target="../media/image12.png"/><Relationship Id="rId4" Type="http://schemas.openxmlformats.org/officeDocument/2006/relationships/image" Target="../media/image9.emf"/></Relationships>
</file>

<file path=ppt/slideLayouts/_rels/slideLayout2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5.xml"/></Relationships>
</file>

<file path=ppt/slideLayouts/_rels/slideLayout28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7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224.xml"/><Relationship Id="rId4" Type="http://schemas.openxmlformats.org/officeDocument/2006/relationships/image" Target="../media/image9.emf"/></Relationships>
</file>

<file path=ppt/slideLayouts/_rels/slideLayout28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8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225.xml"/><Relationship Id="rId6" Type="http://schemas.openxmlformats.org/officeDocument/2006/relationships/image" Target="../media/image8.png"/><Relationship Id="rId5" Type="http://schemas.openxmlformats.org/officeDocument/2006/relationships/image" Target="../media/image15.png"/><Relationship Id="rId4" Type="http://schemas.openxmlformats.org/officeDocument/2006/relationships/image" Target="../media/image7.emf"/></Relationships>
</file>

<file path=ppt/slideLayouts/_rels/slideLayout28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9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226.xml"/><Relationship Id="rId5" Type="http://schemas.openxmlformats.org/officeDocument/2006/relationships/image" Target="../media/image8.png"/><Relationship Id="rId4" Type="http://schemas.openxmlformats.org/officeDocument/2006/relationships/image" Target="../media/image9.emf"/></Relationships>
</file>

<file path=ppt/slideLayouts/_rels/slideLayout2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5.xml"/></Relationships>
</file>

<file path=ppt/slideLayouts/_rels/slideLayout2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5.xml"/></Relationships>
</file>

<file path=ppt/slideLayouts/_rels/slideLayout2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8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0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227.xml"/><Relationship Id="rId6" Type="http://schemas.openxmlformats.org/officeDocument/2006/relationships/image" Target="../media/image8.png"/><Relationship Id="rId5" Type="http://schemas.openxmlformats.org/officeDocument/2006/relationships/image" Target="../media/image16.jpeg"/><Relationship Id="rId4" Type="http://schemas.openxmlformats.org/officeDocument/2006/relationships/image" Target="../media/image7.emf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5.xml"/><Relationship Id="rId4" Type="http://schemas.openxmlformats.org/officeDocument/2006/relationships/image" Target="../media/image8.png"/></Relationships>
</file>

<file path=ppt/slideLayouts/_rels/slideLayout2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9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29.xml"/><Relationship Id="rId1" Type="http://schemas.openxmlformats.org/officeDocument/2006/relationships/tags" Target="../tags/tag228.xml"/><Relationship Id="rId6" Type="http://schemas.openxmlformats.org/officeDocument/2006/relationships/image" Target="../media/image8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171.bin"/></Relationships>
</file>

<file path=ppt/slideLayouts/_rels/slideLayout29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2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230.xml"/><Relationship Id="rId5" Type="http://schemas.openxmlformats.org/officeDocument/2006/relationships/image" Target="../media/image8.png"/><Relationship Id="rId4" Type="http://schemas.openxmlformats.org/officeDocument/2006/relationships/image" Target="../media/image5.emf"/></Relationships>
</file>

<file path=ppt/slideLayouts/_rels/slideLayout29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3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231.xml"/><Relationship Id="rId5" Type="http://schemas.openxmlformats.org/officeDocument/2006/relationships/image" Target="../media/image8.png"/><Relationship Id="rId4" Type="http://schemas.openxmlformats.org/officeDocument/2006/relationships/image" Target="../media/image5.emf"/></Relationships>
</file>

<file path=ppt/slideLayouts/_rels/slideLayout29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4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232.xml"/><Relationship Id="rId6" Type="http://schemas.openxmlformats.org/officeDocument/2006/relationships/image" Target="../media/image8.png"/><Relationship Id="rId5" Type="http://schemas.openxmlformats.org/officeDocument/2006/relationships/image" Target="../media/image10.png"/><Relationship Id="rId4" Type="http://schemas.openxmlformats.org/officeDocument/2006/relationships/image" Target="../media/image5.emf"/></Relationships>
</file>

<file path=ppt/slideLayouts/_rels/slideLayout29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34.xml"/><Relationship Id="rId1" Type="http://schemas.openxmlformats.org/officeDocument/2006/relationships/tags" Target="../tags/tag233.x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75.bin"/></Relationships>
</file>

<file path=ppt/slideLayouts/_rels/slideLayout29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6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235.xml"/><Relationship Id="rId4" Type="http://schemas.openxmlformats.org/officeDocument/2006/relationships/image" Target="../media/image5.emf"/></Relationships>
</file>

<file path=ppt/slideLayouts/_rels/slideLayout29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7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236.xml"/><Relationship Id="rId4" Type="http://schemas.openxmlformats.org/officeDocument/2006/relationships/image" Target="../media/image5.emf"/></Relationships>
</file>

<file path=ppt/slideLayouts/_rels/slideLayout29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8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237.xml"/><Relationship Id="rId6" Type="http://schemas.openxmlformats.org/officeDocument/2006/relationships/image" Target="../media/image8.png"/><Relationship Id="rId5" Type="http://schemas.openxmlformats.org/officeDocument/2006/relationships/image" Target="../media/image10.png"/><Relationship Id="rId4" Type="http://schemas.openxmlformats.org/officeDocument/2006/relationships/image" Target="../media/image5.emf"/></Relationships>
</file>

<file path=ppt/slideLayouts/_rels/slideLayout29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9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238.xml"/><Relationship Id="rId6" Type="http://schemas.openxmlformats.org/officeDocument/2006/relationships/image" Target="../media/image6.png"/><Relationship Id="rId5" Type="http://schemas.openxmlformats.org/officeDocument/2006/relationships/image" Target="../media/image11.png"/><Relationship Id="rId4" Type="http://schemas.openxmlformats.org/officeDocument/2006/relationships/image" Target="../media/image5.emf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6.png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6" Type="http://schemas.openxmlformats.org/officeDocument/2006/relationships/image" Target="../media/image11.png"/><Relationship Id="rId5" Type="http://schemas.openxmlformats.org/officeDocument/2006/relationships/image" Target="../media/image9.emf"/><Relationship Id="rId4" Type="http://schemas.openxmlformats.org/officeDocument/2006/relationships/oleObject" Target="../embeddings/oleObject11.bin"/></Relationships>
</file>

<file path=ppt/slideLayouts/_rels/slideLayout30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0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239.xml"/><Relationship Id="rId5" Type="http://schemas.openxmlformats.org/officeDocument/2006/relationships/image" Target="../media/image6.png"/><Relationship Id="rId4" Type="http://schemas.openxmlformats.org/officeDocument/2006/relationships/image" Target="../media/image17.emf"/></Relationships>
</file>

<file path=ppt/slideLayouts/_rels/slideLayout3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0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243.xml"/><Relationship Id="rId1" Type="http://schemas.openxmlformats.org/officeDocument/2006/relationships/tags" Target="../tags/tag242.xml"/><Relationship Id="rId6" Type="http://schemas.openxmlformats.org/officeDocument/2006/relationships/image" Target="../media/image6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132.bin"/></Relationships>
</file>

<file path=ppt/slideLayouts/_rels/slideLayout30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244.xml"/><Relationship Id="rId1" Type="http://schemas.openxmlformats.org/officeDocument/2006/relationships/themeOverride" Target="../theme/themeOverride5.xml"/><Relationship Id="rId6" Type="http://schemas.openxmlformats.org/officeDocument/2006/relationships/image" Target="../media/image8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133.bin"/></Relationships>
</file>

<file path=ppt/slideLayouts/_rels/slideLayout30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4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245.xml"/><Relationship Id="rId4" Type="http://schemas.openxmlformats.org/officeDocument/2006/relationships/image" Target="../media/image9.emf"/></Relationships>
</file>

<file path=ppt/slideLayouts/_rels/slideLayout30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5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246.xml"/><Relationship Id="rId4" Type="http://schemas.openxmlformats.org/officeDocument/2006/relationships/image" Target="../media/image9.emf"/></Relationships>
</file>

<file path=ppt/slideLayouts/_rels/slideLayout30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6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247.xml"/><Relationship Id="rId5" Type="http://schemas.openxmlformats.org/officeDocument/2006/relationships/image" Target="../media/image6.png"/><Relationship Id="rId4" Type="http://schemas.openxmlformats.org/officeDocument/2006/relationships/image" Target="../media/image9.emf"/></Relationships>
</file>

<file path=ppt/slideLayouts/_rels/slideLayout3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6.xml"/></Relationships>
</file>

<file path=ppt/slideLayouts/_rels/slideLayout3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6.xml"/></Relationships>
</file>

<file path=ppt/slideLayouts/_rels/slideLayout30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7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248.xml"/><Relationship Id="rId6" Type="http://schemas.openxmlformats.org/officeDocument/2006/relationships/image" Target="../media/image6.png"/><Relationship Id="rId5" Type="http://schemas.openxmlformats.org/officeDocument/2006/relationships/image" Target="../media/image10.png"/><Relationship Id="rId4" Type="http://schemas.openxmlformats.org/officeDocument/2006/relationships/image" Target="../media/image9.emf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3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8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249.xml"/><Relationship Id="rId6" Type="http://schemas.openxmlformats.org/officeDocument/2006/relationships/image" Target="../media/image6.png"/><Relationship Id="rId5" Type="http://schemas.openxmlformats.org/officeDocument/2006/relationships/image" Target="../media/image10.png"/><Relationship Id="rId4" Type="http://schemas.openxmlformats.org/officeDocument/2006/relationships/image" Target="../media/image9.emf"/></Relationships>
</file>

<file path=ppt/slideLayouts/_rels/slideLayout3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6.xml"/></Relationships>
</file>

<file path=ppt/slideLayouts/_rels/slideLayout3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6.xml"/></Relationships>
</file>

<file path=ppt/slideLayouts/_rels/slideLayout3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6.xml"/></Relationships>
</file>

<file path=ppt/slideLayouts/_rels/slideLayout3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9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250.xml"/><Relationship Id="rId6" Type="http://schemas.openxmlformats.org/officeDocument/2006/relationships/image" Target="../media/image6.png"/><Relationship Id="rId5" Type="http://schemas.openxmlformats.org/officeDocument/2006/relationships/image" Target="../media/image11.png"/><Relationship Id="rId4" Type="http://schemas.openxmlformats.org/officeDocument/2006/relationships/image" Target="../media/image9.emf"/></Relationships>
</file>

<file path=ppt/slideLayouts/_rels/slideLayout3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6.xml"/></Relationships>
</file>

<file path=ppt/slideLayouts/_rels/slideLayout31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67.bin"/><Relationship Id="rId3" Type="http://schemas.openxmlformats.org/officeDocument/2006/relationships/slideMaster" Target="../slideMasters/slideMaster6.xml"/><Relationship Id="rId7" Type="http://schemas.openxmlformats.org/officeDocument/2006/relationships/image" Target="../media/image6.png"/><Relationship Id="rId2" Type="http://schemas.openxmlformats.org/officeDocument/2006/relationships/tags" Target="../tags/tag252.xml"/><Relationship Id="rId1" Type="http://schemas.openxmlformats.org/officeDocument/2006/relationships/tags" Target="../tags/tag251.xml"/><Relationship Id="rId6" Type="http://schemas.openxmlformats.org/officeDocument/2006/relationships/image" Target="../media/image14.png"/><Relationship Id="rId5" Type="http://schemas.openxmlformats.org/officeDocument/2006/relationships/image" Target="../media/image13.emf"/><Relationship Id="rId4" Type="http://schemas.openxmlformats.org/officeDocument/2006/relationships/oleObject" Target="../embeddings/oleObject140.bin"/></Relationships>
</file>

<file path=ppt/slideLayouts/_rels/slideLayout3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6.xml"/></Relationships>
</file>

<file path=ppt/slideLayouts/_rels/slideLayout3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1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253.xml"/><Relationship Id="rId6" Type="http://schemas.openxmlformats.org/officeDocument/2006/relationships/image" Target="../media/image6.png"/><Relationship Id="rId5" Type="http://schemas.openxmlformats.org/officeDocument/2006/relationships/image" Target="../media/image11.png"/><Relationship Id="rId4" Type="http://schemas.openxmlformats.org/officeDocument/2006/relationships/image" Target="../media/image9.emf"/></Relationships>
</file>

<file path=ppt/slideLayouts/_rels/slideLayout3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2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254.xml"/><Relationship Id="rId6" Type="http://schemas.openxmlformats.org/officeDocument/2006/relationships/image" Target="../media/image8.png"/><Relationship Id="rId5" Type="http://schemas.openxmlformats.org/officeDocument/2006/relationships/image" Target="../media/image12.png"/><Relationship Id="rId4" Type="http://schemas.openxmlformats.org/officeDocument/2006/relationships/image" Target="../media/image9.emf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6.png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6" Type="http://schemas.openxmlformats.org/officeDocument/2006/relationships/image" Target="../media/image14.png"/><Relationship Id="rId5" Type="http://schemas.openxmlformats.org/officeDocument/2006/relationships/image" Target="../media/image13.emf"/><Relationship Id="rId4" Type="http://schemas.openxmlformats.org/officeDocument/2006/relationships/oleObject" Target="../embeddings/oleObject12.bin"/></Relationships>
</file>

<file path=ppt/slideLayouts/_rels/slideLayout3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3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255.xml"/><Relationship Id="rId6" Type="http://schemas.openxmlformats.org/officeDocument/2006/relationships/image" Target="../media/image6.png"/><Relationship Id="rId5" Type="http://schemas.openxmlformats.org/officeDocument/2006/relationships/image" Target="../media/image11.png"/><Relationship Id="rId4" Type="http://schemas.openxmlformats.org/officeDocument/2006/relationships/image" Target="../media/image9.emf"/></Relationships>
</file>

<file path=ppt/slideLayouts/_rels/slideLayout3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4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256.xml"/><Relationship Id="rId6" Type="http://schemas.openxmlformats.org/officeDocument/2006/relationships/image" Target="../media/image8.png"/><Relationship Id="rId5" Type="http://schemas.openxmlformats.org/officeDocument/2006/relationships/image" Target="../media/image12.png"/><Relationship Id="rId4" Type="http://schemas.openxmlformats.org/officeDocument/2006/relationships/image" Target="../media/image9.emf"/></Relationships>
</file>

<file path=ppt/slideLayouts/_rels/slideLayout3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6.xml"/></Relationships>
</file>

<file path=ppt/slideLayouts/_rels/slideLayout3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5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257.xml"/><Relationship Id="rId5" Type="http://schemas.openxmlformats.org/officeDocument/2006/relationships/image" Target="../media/image6.png"/><Relationship Id="rId4" Type="http://schemas.openxmlformats.org/officeDocument/2006/relationships/image" Target="../media/image9.emf"/></Relationships>
</file>

<file path=ppt/slideLayouts/_rels/slideLayout324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67.bin"/><Relationship Id="rId3" Type="http://schemas.openxmlformats.org/officeDocument/2006/relationships/slideMaster" Target="../slideMasters/slideMaster6.xml"/><Relationship Id="rId7" Type="http://schemas.openxmlformats.org/officeDocument/2006/relationships/image" Target="../media/image8.png"/><Relationship Id="rId2" Type="http://schemas.openxmlformats.org/officeDocument/2006/relationships/tags" Target="../tags/tag259.xml"/><Relationship Id="rId1" Type="http://schemas.openxmlformats.org/officeDocument/2006/relationships/tags" Target="../tags/tag258.xml"/><Relationship Id="rId6" Type="http://schemas.openxmlformats.org/officeDocument/2006/relationships/image" Target="../media/image15.png"/><Relationship Id="rId5" Type="http://schemas.openxmlformats.org/officeDocument/2006/relationships/image" Target="../media/image13.emf"/><Relationship Id="rId4" Type="http://schemas.openxmlformats.org/officeDocument/2006/relationships/oleObject" Target="../embeddings/oleObject146.bin"/></Relationships>
</file>

<file path=ppt/slideLayouts/_rels/slideLayout3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7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260.xml"/><Relationship Id="rId5" Type="http://schemas.openxmlformats.org/officeDocument/2006/relationships/image" Target="../media/image8.png"/><Relationship Id="rId4" Type="http://schemas.openxmlformats.org/officeDocument/2006/relationships/image" Target="../media/image9.emf"/></Relationships>
</file>

<file path=ppt/slideLayouts/_rels/slideLayout3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6.xml"/></Relationships>
</file>

<file path=ppt/slideLayouts/_rels/slideLayout3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jpeg"/><Relationship Id="rId3" Type="http://schemas.openxmlformats.org/officeDocument/2006/relationships/tags" Target="../tags/tag263.xml"/><Relationship Id="rId7" Type="http://schemas.openxmlformats.org/officeDocument/2006/relationships/image" Target="../media/image7.emf"/><Relationship Id="rId2" Type="http://schemas.openxmlformats.org/officeDocument/2006/relationships/tags" Target="../tags/tag262.xml"/><Relationship Id="rId1" Type="http://schemas.openxmlformats.org/officeDocument/2006/relationships/tags" Target="../tags/tag261.xml"/><Relationship Id="rId6" Type="http://schemas.openxmlformats.org/officeDocument/2006/relationships/oleObject" Target="../embeddings/oleObject148.bin"/><Relationship Id="rId11" Type="http://schemas.openxmlformats.org/officeDocument/2006/relationships/image" Target="../media/image24.jpeg"/><Relationship Id="rId5" Type="http://schemas.openxmlformats.org/officeDocument/2006/relationships/slideMaster" Target="../slideMasters/slideMaster6.xml"/><Relationship Id="rId10" Type="http://schemas.openxmlformats.org/officeDocument/2006/relationships/oleObject" Target="../embeddings/oleObject72.bin"/><Relationship Id="rId4" Type="http://schemas.openxmlformats.org/officeDocument/2006/relationships/tags" Target="../tags/tag264.xml"/><Relationship Id="rId9" Type="http://schemas.openxmlformats.org/officeDocument/2006/relationships/image" Target="../media/image8.png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3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266.xml"/><Relationship Id="rId1" Type="http://schemas.openxmlformats.org/officeDocument/2006/relationships/tags" Target="../tags/tag265.xml"/><Relationship Id="rId6" Type="http://schemas.openxmlformats.org/officeDocument/2006/relationships/image" Target="../media/image6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149.bin"/></Relationships>
</file>

<file path=ppt/slideLayouts/_rels/slideLayout3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0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267.xml"/><Relationship Id="rId4" Type="http://schemas.openxmlformats.org/officeDocument/2006/relationships/image" Target="../media/image9.emf"/></Relationships>
</file>

<file path=ppt/slideLayouts/_rels/slideLayout3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33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1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268.xml"/><Relationship Id="rId4" Type="http://schemas.openxmlformats.org/officeDocument/2006/relationships/image" Target="../media/image9.emf"/></Relationships>
</file>

<file path=ppt/slideLayouts/_rels/slideLayout33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2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269.xml"/><Relationship Id="rId4" Type="http://schemas.openxmlformats.org/officeDocument/2006/relationships/image" Target="../media/image9.emf"/></Relationships>
</file>

<file path=ppt/slideLayouts/_rels/slideLayout33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3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270.xml"/><Relationship Id="rId6" Type="http://schemas.openxmlformats.org/officeDocument/2006/relationships/image" Target="../media/image6.png"/><Relationship Id="rId5" Type="http://schemas.openxmlformats.org/officeDocument/2006/relationships/image" Target="../media/image10.png"/><Relationship Id="rId4" Type="http://schemas.openxmlformats.org/officeDocument/2006/relationships/image" Target="../media/image9.emf"/></Relationships>
</file>

<file path=ppt/slideLayouts/_rels/slideLayout33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4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271.xml"/><Relationship Id="rId6" Type="http://schemas.openxmlformats.org/officeDocument/2006/relationships/image" Target="../media/image6.png"/><Relationship Id="rId5" Type="http://schemas.openxmlformats.org/officeDocument/2006/relationships/image" Target="../media/image10.png"/><Relationship Id="rId4" Type="http://schemas.openxmlformats.org/officeDocument/2006/relationships/image" Target="../media/image9.emf"/></Relationships>
</file>

<file path=ppt/slideLayouts/_rels/slideLayout33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5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272.xml"/><Relationship Id="rId6" Type="http://schemas.openxmlformats.org/officeDocument/2006/relationships/image" Target="../media/image6.png"/><Relationship Id="rId5" Type="http://schemas.openxmlformats.org/officeDocument/2006/relationships/image" Target="../media/image10.png"/><Relationship Id="rId4" Type="http://schemas.openxmlformats.org/officeDocument/2006/relationships/image" Target="../media/image9.emf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6.png"/><Relationship Id="rId2" Type="http://schemas.openxmlformats.org/officeDocument/2006/relationships/tags" Target="../tags/tag21.xml"/><Relationship Id="rId1" Type="http://schemas.openxmlformats.org/officeDocument/2006/relationships/tags" Target="../tags/tag20.xml"/><Relationship Id="rId6" Type="http://schemas.openxmlformats.org/officeDocument/2006/relationships/image" Target="../media/image11.png"/><Relationship Id="rId5" Type="http://schemas.openxmlformats.org/officeDocument/2006/relationships/image" Target="../media/image9.emf"/><Relationship Id="rId4" Type="http://schemas.openxmlformats.org/officeDocument/2006/relationships/oleObject" Target="../embeddings/oleObject13.bin"/></Relationships>
</file>

<file path=ppt/slideLayouts/_rels/slideLayout34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6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273.xml"/><Relationship Id="rId6" Type="http://schemas.openxmlformats.org/officeDocument/2006/relationships/image" Target="../media/image8.png"/><Relationship Id="rId5" Type="http://schemas.openxmlformats.org/officeDocument/2006/relationships/image" Target="../media/image10.png"/><Relationship Id="rId4" Type="http://schemas.openxmlformats.org/officeDocument/2006/relationships/image" Target="../media/image9.emf"/></Relationships>
</file>

<file path=ppt/slideLayouts/_rels/slideLayout34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7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274.xml"/><Relationship Id="rId6" Type="http://schemas.openxmlformats.org/officeDocument/2006/relationships/image" Target="../media/image8.png"/><Relationship Id="rId5" Type="http://schemas.openxmlformats.org/officeDocument/2006/relationships/image" Target="../media/image10.png"/><Relationship Id="rId4" Type="http://schemas.openxmlformats.org/officeDocument/2006/relationships/image" Target="../media/image9.emf"/></Relationships>
</file>

<file path=ppt/slideLayouts/_rels/slideLayout34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8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275.xml"/><Relationship Id="rId6" Type="http://schemas.openxmlformats.org/officeDocument/2006/relationships/image" Target="../media/image8.png"/><Relationship Id="rId5" Type="http://schemas.openxmlformats.org/officeDocument/2006/relationships/image" Target="../media/image10.png"/><Relationship Id="rId4" Type="http://schemas.openxmlformats.org/officeDocument/2006/relationships/image" Target="../media/image9.emf"/></Relationships>
</file>

<file path=ppt/slideLayouts/_rels/slideLayout34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67.bin"/><Relationship Id="rId3" Type="http://schemas.openxmlformats.org/officeDocument/2006/relationships/slideMaster" Target="../slideMasters/slideMaster6.xml"/><Relationship Id="rId7" Type="http://schemas.openxmlformats.org/officeDocument/2006/relationships/image" Target="../media/image6.png"/><Relationship Id="rId2" Type="http://schemas.openxmlformats.org/officeDocument/2006/relationships/tags" Target="../tags/tag277.xml"/><Relationship Id="rId1" Type="http://schemas.openxmlformats.org/officeDocument/2006/relationships/tags" Target="../tags/tag276.xml"/><Relationship Id="rId6" Type="http://schemas.openxmlformats.org/officeDocument/2006/relationships/image" Target="../media/image11.png"/><Relationship Id="rId5" Type="http://schemas.openxmlformats.org/officeDocument/2006/relationships/image" Target="../media/image13.emf"/><Relationship Id="rId4" Type="http://schemas.openxmlformats.org/officeDocument/2006/relationships/oleObject" Target="../embeddings/oleObject159.bin"/></Relationships>
</file>

<file path=ppt/slideLayouts/_rels/slideLayout34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0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278.xml"/><Relationship Id="rId6" Type="http://schemas.openxmlformats.org/officeDocument/2006/relationships/image" Target="../media/image8.png"/><Relationship Id="rId5" Type="http://schemas.openxmlformats.org/officeDocument/2006/relationships/image" Target="../media/image12.png"/><Relationship Id="rId4" Type="http://schemas.openxmlformats.org/officeDocument/2006/relationships/image" Target="../media/image9.emf"/></Relationships>
</file>

<file path=ppt/slideLayouts/_rels/slideLayout34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1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279.xml"/><Relationship Id="rId6" Type="http://schemas.openxmlformats.org/officeDocument/2006/relationships/image" Target="../media/image6.png"/><Relationship Id="rId5" Type="http://schemas.openxmlformats.org/officeDocument/2006/relationships/image" Target="../media/image14.png"/><Relationship Id="rId4" Type="http://schemas.openxmlformats.org/officeDocument/2006/relationships/image" Target="../media/image9.emf"/></Relationships>
</file>

<file path=ppt/slideLayouts/_rels/slideLayout34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2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280.xml"/><Relationship Id="rId6" Type="http://schemas.openxmlformats.org/officeDocument/2006/relationships/image" Target="../media/image8.png"/><Relationship Id="rId5" Type="http://schemas.openxmlformats.org/officeDocument/2006/relationships/image" Target="../media/image12.png"/><Relationship Id="rId4" Type="http://schemas.openxmlformats.org/officeDocument/2006/relationships/image" Target="../media/image9.emf"/></Relationships>
</file>

<file path=ppt/slideLayouts/_rels/slideLayout34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3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281.xml"/><Relationship Id="rId6" Type="http://schemas.openxmlformats.org/officeDocument/2006/relationships/image" Target="../media/image6.png"/><Relationship Id="rId5" Type="http://schemas.openxmlformats.org/officeDocument/2006/relationships/image" Target="../media/image11.png"/><Relationship Id="rId4" Type="http://schemas.openxmlformats.org/officeDocument/2006/relationships/image" Target="../media/image9.emf"/></Relationships>
</file>

<file path=ppt/slideLayouts/_rels/slideLayout34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4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282.xml"/><Relationship Id="rId6" Type="http://schemas.openxmlformats.org/officeDocument/2006/relationships/image" Target="../media/image8.png"/><Relationship Id="rId5" Type="http://schemas.openxmlformats.org/officeDocument/2006/relationships/image" Target="../media/image12.png"/><Relationship Id="rId4" Type="http://schemas.openxmlformats.org/officeDocument/2006/relationships/image" Target="../media/image9.emf"/></Relationships>
</file>

<file path=ppt/slideLayouts/_rels/slideLayout34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5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283.xml"/><Relationship Id="rId6" Type="http://schemas.openxmlformats.org/officeDocument/2006/relationships/image" Target="../media/image6.png"/><Relationship Id="rId5" Type="http://schemas.openxmlformats.org/officeDocument/2006/relationships/image" Target="../media/image11.png"/><Relationship Id="rId4" Type="http://schemas.openxmlformats.org/officeDocument/2006/relationships/image" Target="../media/image9.emf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2.xml"/><Relationship Id="rId6" Type="http://schemas.openxmlformats.org/officeDocument/2006/relationships/image" Target="../media/image8.png"/><Relationship Id="rId5" Type="http://schemas.openxmlformats.org/officeDocument/2006/relationships/image" Target="../media/image12.png"/><Relationship Id="rId4" Type="http://schemas.openxmlformats.org/officeDocument/2006/relationships/image" Target="../media/image9.emf"/></Relationships>
</file>

<file path=ppt/slideLayouts/_rels/slideLayout35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6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284.xml"/><Relationship Id="rId6" Type="http://schemas.openxmlformats.org/officeDocument/2006/relationships/image" Target="../media/image8.png"/><Relationship Id="rId5" Type="http://schemas.openxmlformats.org/officeDocument/2006/relationships/image" Target="../media/image12.png"/><Relationship Id="rId4" Type="http://schemas.openxmlformats.org/officeDocument/2006/relationships/image" Target="../media/image9.emf"/></Relationships>
</file>

<file path=ppt/slideLayouts/_rels/slideLayout3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6.xml"/></Relationships>
</file>

<file path=ppt/slideLayouts/_rels/slideLayout35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7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285.xml"/><Relationship Id="rId4" Type="http://schemas.openxmlformats.org/officeDocument/2006/relationships/image" Target="../media/image9.emf"/></Relationships>
</file>

<file path=ppt/slideLayouts/_rels/slideLayout35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67.bin"/><Relationship Id="rId3" Type="http://schemas.openxmlformats.org/officeDocument/2006/relationships/slideMaster" Target="../slideMasters/slideMaster6.xml"/><Relationship Id="rId7" Type="http://schemas.openxmlformats.org/officeDocument/2006/relationships/image" Target="../media/image8.png"/><Relationship Id="rId2" Type="http://schemas.openxmlformats.org/officeDocument/2006/relationships/tags" Target="../tags/tag287.xml"/><Relationship Id="rId1" Type="http://schemas.openxmlformats.org/officeDocument/2006/relationships/tags" Target="../tags/tag286.xml"/><Relationship Id="rId6" Type="http://schemas.openxmlformats.org/officeDocument/2006/relationships/image" Target="../media/image15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168.bin"/></Relationships>
</file>

<file path=ppt/slideLayouts/_rels/slideLayout35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9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288.xml"/><Relationship Id="rId5" Type="http://schemas.openxmlformats.org/officeDocument/2006/relationships/image" Target="../media/image8.png"/><Relationship Id="rId4" Type="http://schemas.openxmlformats.org/officeDocument/2006/relationships/image" Target="../media/image9.emf"/></Relationships>
</file>

<file path=ppt/slideLayouts/_rels/slideLayout3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6.xml"/></Relationships>
</file>

<file path=ppt/slideLayouts/_rels/slideLayout3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6.xml"/></Relationships>
</file>

<file path=ppt/slideLayouts/_rels/slideLayout3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5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0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289.xml"/><Relationship Id="rId6" Type="http://schemas.openxmlformats.org/officeDocument/2006/relationships/image" Target="../media/image8.png"/><Relationship Id="rId5" Type="http://schemas.openxmlformats.org/officeDocument/2006/relationships/image" Target="../media/image16.jpeg"/><Relationship Id="rId4" Type="http://schemas.openxmlformats.org/officeDocument/2006/relationships/image" Target="../media/image7.emf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6.png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6" Type="http://schemas.openxmlformats.org/officeDocument/2006/relationships/image" Target="../media/image11.png"/><Relationship Id="rId5" Type="http://schemas.openxmlformats.org/officeDocument/2006/relationships/image" Target="../media/image9.emf"/><Relationship Id="rId4" Type="http://schemas.openxmlformats.org/officeDocument/2006/relationships/oleObject" Target="../embeddings/oleObject15.bin"/></Relationships>
</file>

<file path=ppt/slideLayouts/_rels/slideLayout3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61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tags" Target="../tags/tag292.xml"/><Relationship Id="rId7" Type="http://schemas.openxmlformats.org/officeDocument/2006/relationships/image" Target="../media/image5.emf"/><Relationship Id="rId2" Type="http://schemas.openxmlformats.org/officeDocument/2006/relationships/tags" Target="../tags/tag291.xml"/><Relationship Id="rId1" Type="http://schemas.openxmlformats.org/officeDocument/2006/relationships/tags" Target="../tags/tag290.xml"/><Relationship Id="rId6" Type="http://schemas.openxmlformats.org/officeDocument/2006/relationships/oleObject" Target="../embeddings/oleObject171.bin"/><Relationship Id="rId5" Type="http://schemas.openxmlformats.org/officeDocument/2006/relationships/slideMaster" Target="../slideMasters/slideMaster6.xml"/><Relationship Id="rId4" Type="http://schemas.openxmlformats.org/officeDocument/2006/relationships/tags" Target="../tags/tag293.xml"/><Relationship Id="rId9" Type="http://schemas.openxmlformats.org/officeDocument/2006/relationships/oleObject" Target="../embeddings/oleObject74.bin"/></Relationships>
</file>

<file path=ppt/slideLayouts/_rels/slideLayout36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7" Type="http://schemas.openxmlformats.org/officeDocument/2006/relationships/oleObject" Target="../embeddings/oleObject75.bin"/><Relationship Id="rId2" Type="http://schemas.openxmlformats.org/officeDocument/2006/relationships/tags" Target="../tags/tag295.xml"/><Relationship Id="rId1" Type="http://schemas.openxmlformats.org/officeDocument/2006/relationships/tags" Target="../tags/tag294.xml"/><Relationship Id="rId6" Type="http://schemas.openxmlformats.org/officeDocument/2006/relationships/image" Target="../media/image8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172.bin"/></Relationships>
</file>

<file path=ppt/slideLayouts/_rels/slideLayout36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7" Type="http://schemas.openxmlformats.org/officeDocument/2006/relationships/oleObject" Target="../embeddings/oleObject76.bin"/><Relationship Id="rId2" Type="http://schemas.openxmlformats.org/officeDocument/2006/relationships/tags" Target="../tags/tag297.xml"/><Relationship Id="rId1" Type="http://schemas.openxmlformats.org/officeDocument/2006/relationships/tags" Target="../tags/tag296.xml"/><Relationship Id="rId6" Type="http://schemas.openxmlformats.org/officeDocument/2006/relationships/image" Target="../media/image8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173.bin"/></Relationships>
</file>

<file path=ppt/slideLayouts/_rels/slideLayout364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77.bin"/><Relationship Id="rId3" Type="http://schemas.openxmlformats.org/officeDocument/2006/relationships/slideMaster" Target="../slideMasters/slideMaster6.xml"/><Relationship Id="rId7" Type="http://schemas.openxmlformats.org/officeDocument/2006/relationships/image" Target="../media/image8.png"/><Relationship Id="rId2" Type="http://schemas.openxmlformats.org/officeDocument/2006/relationships/tags" Target="../tags/tag299.xml"/><Relationship Id="rId1" Type="http://schemas.openxmlformats.org/officeDocument/2006/relationships/tags" Target="../tags/tag298.xml"/><Relationship Id="rId6" Type="http://schemas.openxmlformats.org/officeDocument/2006/relationships/image" Target="../media/image10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174.bin"/></Relationships>
</file>

<file path=ppt/slideLayouts/_rels/slideLayout36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78.bin"/><Relationship Id="rId3" Type="http://schemas.openxmlformats.org/officeDocument/2006/relationships/tags" Target="../tags/tag302.xml"/><Relationship Id="rId7" Type="http://schemas.openxmlformats.org/officeDocument/2006/relationships/image" Target="../media/image5.emf"/><Relationship Id="rId2" Type="http://schemas.openxmlformats.org/officeDocument/2006/relationships/tags" Target="../tags/tag301.xml"/><Relationship Id="rId1" Type="http://schemas.openxmlformats.org/officeDocument/2006/relationships/tags" Target="../tags/tag300.xml"/><Relationship Id="rId6" Type="http://schemas.openxmlformats.org/officeDocument/2006/relationships/oleObject" Target="../embeddings/oleObject175.bin"/><Relationship Id="rId5" Type="http://schemas.openxmlformats.org/officeDocument/2006/relationships/slideMaster" Target="../slideMasters/slideMaster6.xml"/><Relationship Id="rId4" Type="http://schemas.openxmlformats.org/officeDocument/2006/relationships/tags" Target="../tags/tag303.xml"/></Relationships>
</file>

<file path=ppt/slideLayouts/_rels/slideLayout36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305.xml"/><Relationship Id="rId1" Type="http://schemas.openxmlformats.org/officeDocument/2006/relationships/tags" Target="../tags/tag304.xml"/><Relationship Id="rId6" Type="http://schemas.openxmlformats.org/officeDocument/2006/relationships/oleObject" Target="../embeddings/oleObject79.bin"/><Relationship Id="rId5" Type="http://schemas.openxmlformats.org/officeDocument/2006/relationships/image" Target="../media/image5.emf"/><Relationship Id="rId4" Type="http://schemas.openxmlformats.org/officeDocument/2006/relationships/oleObject" Target="../embeddings/oleObject176.bin"/></Relationships>
</file>

<file path=ppt/slideLayouts/_rels/slideLayout36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307.xml"/><Relationship Id="rId1" Type="http://schemas.openxmlformats.org/officeDocument/2006/relationships/tags" Target="../tags/tag306.xml"/><Relationship Id="rId6" Type="http://schemas.openxmlformats.org/officeDocument/2006/relationships/oleObject" Target="../embeddings/oleObject80.bin"/><Relationship Id="rId5" Type="http://schemas.openxmlformats.org/officeDocument/2006/relationships/image" Target="../media/image5.emf"/><Relationship Id="rId4" Type="http://schemas.openxmlformats.org/officeDocument/2006/relationships/oleObject" Target="../embeddings/oleObject177.bin"/></Relationships>
</file>

<file path=ppt/slideLayouts/_rels/slideLayout368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81.bin"/><Relationship Id="rId3" Type="http://schemas.openxmlformats.org/officeDocument/2006/relationships/slideMaster" Target="../slideMasters/slideMaster6.xml"/><Relationship Id="rId7" Type="http://schemas.openxmlformats.org/officeDocument/2006/relationships/image" Target="../media/image8.png"/><Relationship Id="rId2" Type="http://schemas.openxmlformats.org/officeDocument/2006/relationships/tags" Target="../tags/tag309.xml"/><Relationship Id="rId1" Type="http://schemas.openxmlformats.org/officeDocument/2006/relationships/tags" Target="../tags/tag308.xml"/><Relationship Id="rId6" Type="http://schemas.openxmlformats.org/officeDocument/2006/relationships/image" Target="../media/image10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178.bin"/></Relationships>
</file>

<file path=ppt/slideLayouts/_rels/slideLayout369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82.bin"/><Relationship Id="rId3" Type="http://schemas.openxmlformats.org/officeDocument/2006/relationships/slideMaster" Target="../slideMasters/slideMaster6.xml"/><Relationship Id="rId7" Type="http://schemas.openxmlformats.org/officeDocument/2006/relationships/image" Target="../media/image6.png"/><Relationship Id="rId2" Type="http://schemas.openxmlformats.org/officeDocument/2006/relationships/tags" Target="../tags/tag311.xml"/><Relationship Id="rId1" Type="http://schemas.openxmlformats.org/officeDocument/2006/relationships/tags" Target="../tags/tag310.xml"/><Relationship Id="rId6" Type="http://schemas.openxmlformats.org/officeDocument/2006/relationships/image" Target="../media/image11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179.bin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8.png"/><Relationship Id="rId2" Type="http://schemas.openxmlformats.org/officeDocument/2006/relationships/tags" Target="../tags/tag26.xml"/><Relationship Id="rId1" Type="http://schemas.openxmlformats.org/officeDocument/2006/relationships/tags" Target="../tags/tag25.xml"/><Relationship Id="rId6" Type="http://schemas.openxmlformats.org/officeDocument/2006/relationships/image" Target="../media/image12.png"/><Relationship Id="rId5" Type="http://schemas.openxmlformats.org/officeDocument/2006/relationships/image" Target="../media/image9.emf"/><Relationship Id="rId4" Type="http://schemas.openxmlformats.org/officeDocument/2006/relationships/oleObject" Target="../embeddings/oleObject16.bin"/></Relationships>
</file>

<file path=ppt/slideLayouts/_rels/slideLayout37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0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312.xml"/><Relationship Id="rId5" Type="http://schemas.openxmlformats.org/officeDocument/2006/relationships/image" Target="../media/image6.png"/><Relationship Id="rId4" Type="http://schemas.openxmlformats.org/officeDocument/2006/relationships/image" Target="../media/image17.emf"/></Relationships>
</file>

<file path=ppt/slideLayouts/_rels/slideLayout3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8.xml"/><Relationship Id="rId1" Type="http://schemas.openxmlformats.org/officeDocument/2006/relationships/tags" Target="../tags/tag27.xml"/><Relationship Id="rId6" Type="http://schemas.openxmlformats.org/officeDocument/2006/relationships/image" Target="../media/image6.png"/><Relationship Id="rId5" Type="http://schemas.openxmlformats.org/officeDocument/2006/relationships/image" Target="../media/image9.emf"/><Relationship Id="rId4" Type="http://schemas.openxmlformats.org/officeDocument/2006/relationships/oleObject" Target="../embeddings/oleObject17.bin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8.png"/><Relationship Id="rId2" Type="http://schemas.openxmlformats.org/officeDocument/2006/relationships/tags" Target="../tags/tag30.xml"/><Relationship Id="rId1" Type="http://schemas.openxmlformats.org/officeDocument/2006/relationships/tags" Target="../tags/tag29.xml"/><Relationship Id="rId6" Type="http://schemas.openxmlformats.org/officeDocument/2006/relationships/image" Target="../media/image15.png"/><Relationship Id="rId5" Type="http://schemas.openxmlformats.org/officeDocument/2006/relationships/image" Target="../media/image13.emf"/><Relationship Id="rId4" Type="http://schemas.openxmlformats.org/officeDocument/2006/relationships/oleObject" Target="../embeddings/oleObject18.bin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2.xml"/><Relationship Id="rId1" Type="http://schemas.openxmlformats.org/officeDocument/2006/relationships/tags" Target="../tags/tag31.xml"/><Relationship Id="rId6" Type="http://schemas.openxmlformats.org/officeDocument/2006/relationships/image" Target="../media/image8.png"/><Relationship Id="rId5" Type="http://schemas.openxmlformats.org/officeDocument/2006/relationships/image" Target="../media/image9.emf"/><Relationship Id="rId4" Type="http://schemas.openxmlformats.org/officeDocument/2006/relationships/oleObject" Target="../embeddings/oleObject19.bin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3.xml"/><Relationship Id="rId6" Type="http://schemas.openxmlformats.org/officeDocument/2006/relationships/image" Target="../media/image8.png"/><Relationship Id="rId5" Type="http://schemas.openxmlformats.org/officeDocument/2006/relationships/image" Target="../media/image16.jpeg"/><Relationship Id="rId4" Type="http://schemas.openxmlformats.org/officeDocument/2006/relationships/image" Target="../media/image7.emf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5.xml"/><Relationship Id="rId1" Type="http://schemas.openxmlformats.org/officeDocument/2006/relationships/tags" Target="../tags/tag34.xml"/><Relationship Id="rId6" Type="http://schemas.openxmlformats.org/officeDocument/2006/relationships/image" Target="../media/image6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21.bin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6.xml"/><Relationship Id="rId4" Type="http://schemas.openxmlformats.org/officeDocument/2006/relationships/image" Target="../media/image9.emf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7.xml"/><Relationship Id="rId4" Type="http://schemas.openxmlformats.org/officeDocument/2006/relationships/image" Target="../media/image9.emf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8.xml"/><Relationship Id="rId4" Type="http://schemas.openxmlformats.org/officeDocument/2006/relationships/image" Target="../media/image9.emf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9.xml"/><Relationship Id="rId6" Type="http://schemas.openxmlformats.org/officeDocument/2006/relationships/image" Target="../media/image6.png"/><Relationship Id="rId5" Type="http://schemas.openxmlformats.org/officeDocument/2006/relationships/image" Target="../media/image10.png"/><Relationship Id="rId4" Type="http://schemas.openxmlformats.org/officeDocument/2006/relationships/image" Target="../media/image9.emf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0.xml"/><Relationship Id="rId6" Type="http://schemas.openxmlformats.org/officeDocument/2006/relationships/image" Target="../media/image6.png"/><Relationship Id="rId5" Type="http://schemas.openxmlformats.org/officeDocument/2006/relationships/image" Target="../media/image10.png"/><Relationship Id="rId4" Type="http://schemas.openxmlformats.org/officeDocument/2006/relationships/image" Target="../media/image9.emf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1.xml"/><Relationship Id="rId6" Type="http://schemas.openxmlformats.org/officeDocument/2006/relationships/image" Target="../media/image6.png"/><Relationship Id="rId5" Type="http://schemas.openxmlformats.org/officeDocument/2006/relationships/image" Target="../media/image10.png"/><Relationship Id="rId4" Type="http://schemas.openxmlformats.org/officeDocument/2006/relationships/image" Target="../media/image9.emf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2.xml"/><Relationship Id="rId6" Type="http://schemas.openxmlformats.org/officeDocument/2006/relationships/image" Target="../media/image8.png"/><Relationship Id="rId5" Type="http://schemas.openxmlformats.org/officeDocument/2006/relationships/image" Target="../media/image10.png"/><Relationship Id="rId4" Type="http://schemas.openxmlformats.org/officeDocument/2006/relationships/image" Target="../media/image9.emf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9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3.xml"/><Relationship Id="rId6" Type="http://schemas.openxmlformats.org/officeDocument/2006/relationships/image" Target="../media/image8.png"/><Relationship Id="rId5" Type="http://schemas.openxmlformats.org/officeDocument/2006/relationships/image" Target="../media/image10.png"/><Relationship Id="rId4" Type="http://schemas.openxmlformats.org/officeDocument/2006/relationships/image" Target="../media/image9.emf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0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4.xml"/><Relationship Id="rId6" Type="http://schemas.openxmlformats.org/officeDocument/2006/relationships/image" Target="../media/image8.png"/><Relationship Id="rId5" Type="http://schemas.openxmlformats.org/officeDocument/2006/relationships/image" Target="../media/image10.png"/><Relationship Id="rId4" Type="http://schemas.openxmlformats.org/officeDocument/2006/relationships/image" Target="../media/image9.emf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5.xml"/><Relationship Id="rId6" Type="http://schemas.openxmlformats.org/officeDocument/2006/relationships/image" Target="../media/image6.png"/><Relationship Id="rId5" Type="http://schemas.openxmlformats.org/officeDocument/2006/relationships/image" Target="../media/image11.png"/><Relationship Id="rId4" Type="http://schemas.openxmlformats.org/officeDocument/2006/relationships/image" Target="../media/image13.emf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6.xml"/><Relationship Id="rId6" Type="http://schemas.openxmlformats.org/officeDocument/2006/relationships/image" Target="../media/image8.png"/><Relationship Id="rId5" Type="http://schemas.openxmlformats.org/officeDocument/2006/relationships/image" Target="../media/image12.png"/><Relationship Id="rId4" Type="http://schemas.openxmlformats.org/officeDocument/2006/relationships/image" Target="../media/image9.emf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7.xml"/><Relationship Id="rId6" Type="http://schemas.openxmlformats.org/officeDocument/2006/relationships/image" Target="../media/image6.png"/><Relationship Id="rId5" Type="http://schemas.openxmlformats.org/officeDocument/2006/relationships/image" Target="../media/image14.png"/><Relationship Id="rId4" Type="http://schemas.openxmlformats.org/officeDocument/2006/relationships/image" Target="../media/image9.emf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8.xml"/><Relationship Id="rId6" Type="http://schemas.openxmlformats.org/officeDocument/2006/relationships/image" Target="../media/image8.png"/><Relationship Id="rId5" Type="http://schemas.openxmlformats.org/officeDocument/2006/relationships/image" Target="../media/image12.png"/><Relationship Id="rId4" Type="http://schemas.openxmlformats.org/officeDocument/2006/relationships/image" Target="../media/image9.emf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9.xml"/><Relationship Id="rId6" Type="http://schemas.openxmlformats.org/officeDocument/2006/relationships/image" Target="../media/image6.png"/><Relationship Id="rId5" Type="http://schemas.openxmlformats.org/officeDocument/2006/relationships/image" Target="../media/image11.png"/><Relationship Id="rId4" Type="http://schemas.openxmlformats.org/officeDocument/2006/relationships/image" Target="../media/image9.emf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0.xml"/><Relationship Id="rId6" Type="http://schemas.openxmlformats.org/officeDocument/2006/relationships/image" Target="../media/image8.png"/><Relationship Id="rId5" Type="http://schemas.openxmlformats.org/officeDocument/2006/relationships/image" Target="../media/image12.png"/><Relationship Id="rId4" Type="http://schemas.openxmlformats.org/officeDocument/2006/relationships/image" Target="../media/image9.emf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7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1.xml"/><Relationship Id="rId6" Type="http://schemas.openxmlformats.org/officeDocument/2006/relationships/image" Target="../media/image6.png"/><Relationship Id="rId5" Type="http://schemas.openxmlformats.org/officeDocument/2006/relationships/image" Target="../media/image11.png"/><Relationship Id="rId4" Type="http://schemas.openxmlformats.org/officeDocument/2006/relationships/image" Target="../media/image9.emf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8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2.xml"/><Relationship Id="rId6" Type="http://schemas.openxmlformats.org/officeDocument/2006/relationships/image" Target="../media/image8.png"/><Relationship Id="rId5" Type="http://schemas.openxmlformats.org/officeDocument/2006/relationships/image" Target="../media/image12.png"/><Relationship Id="rId4" Type="http://schemas.openxmlformats.org/officeDocument/2006/relationships/image" Target="../media/image9.emf"/></Relationships>
</file>

<file path=ppt/slideLayouts/_rels/slideLayout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9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3.xml"/><Relationship Id="rId4" Type="http://schemas.openxmlformats.org/officeDocument/2006/relationships/image" Target="../media/image9.emf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0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4.xml"/><Relationship Id="rId6" Type="http://schemas.openxmlformats.org/officeDocument/2006/relationships/image" Target="../media/image8.png"/><Relationship Id="rId5" Type="http://schemas.openxmlformats.org/officeDocument/2006/relationships/image" Target="../media/image15.png"/><Relationship Id="rId4" Type="http://schemas.openxmlformats.org/officeDocument/2006/relationships/image" Target="../media/image7.emf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5.xml"/><Relationship Id="rId5" Type="http://schemas.openxmlformats.org/officeDocument/2006/relationships/image" Target="../media/image8.png"/><Relationship Id="rId4" Type="http://schemas.openxmlformats.org/officeDocument/2006/relationships/image" Target="../media/image9.emf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6.xml"/><Relationship Id="rId6" Type="http://schemas.openxmlformats.org/officeDocument/2006/relationships/image" Target="../media/image8.png"/><Relationship Id="rId5" Type="http://schemas.openxmlformats.org/officeDocument/2006/relationships/image" Target="../media/image16.jpeg"/><Relationship Id="rId4" Type="http://schemas.openxmlformats.org/officeDocument/2006/relationships/image" Target="../media/image7.emf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8.xml"/><Relationship Id="rId1" Type="http://schemas.openxmlformats.org/officeDocument/2006/relationships/tags" Target="../tags/tag57.xml"/><Relationship Id="rId6" Type="http://schemas.openxmlformats.org/officeDocument/2006/relationships/image" Target="../media/image8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43.bin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9.xml"/><Relationship Id="rId5" Type="http://schemas.openxmlformats.org/officeDocument/2006/relationships/image" Target="../media/image8.png"/><Relationship Id="rId4" Type="http://schemas.openxmlformats.org/officeDocument/2006/relationships/image" Target="../media/image5.emf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60.xml"/><Relationship Id="rId5" Type="http://schemas.openxmlformats.org/officeDocument/2006/relationships/image" Target="../media/image8.png"/><Relationship Id="rId4" Type="http://schemas.openxmlformats.org/officeDocument/2006/relationships/image" Target="../media/image5.emf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61.xml"/><Relationship Id="rId6" Type="http://schemas.openxmlformats.org/officeDocument/2006/relationships/image" Target="../media/image8.png"/><Relationship Id="rId5" Type="http://schemas.openxmlformats.org/officeDocument/2006/relationships/image" Target="../media/image10.png"/><Relationship Id="rId4" Type="http://schemas.openxmlformats.org/officeDocument/2006/relationships/image" Target="../media/image5.emf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3.xml"/><Relationship Id="rId1" Type="http://schemas.openxmlformats.org/officeDocument/2006/relationships/tags" Target="../tags/tag62.x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47.bin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8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64.xml"/><Relationship Id="rId4" Type="http://schemas.openxmlformats.org/officeDocument/2006/relationships/image" Target="../media/image5.emf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9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65.xml"/><Relationship Id="rId4" Type="http://schemas.openxmlformats.org/officeDocument/2006/relationships/image" Target="../media/image5.emf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0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66.xml"/><Relationship Id="rId6" Type="http://schemas.openxmlformats.org/officeDocument/2006/relationships/image" Target="../media/image8.png"/><Relationship Id="rId5" Type="http://schemas.openxmlformats.org/officeDocument/2006/relationships/image" Target="../media/image10.png"/><Relationship Id="rId4" Type="http://schemas.openxmlformats.org/officeDocument/2006/relationships/image" Target="../media/image5.emf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67.xml"/><Relationship Id="rId6" Type="http://schemas.openxmlformats.org/officeDocument/2006/relationships/image" Target="../media/image6.png"/><Relationship Id="rId5" Type="http://schemas.openxmlformats.org/officeDocument/2006/relationships/image" Target="../media/image11.png"/><Relationship Id="rId4" Type="http://schemas.openxmlformats.org/officeDocument/2006/relationships/image" Target="../media/image5.emf"/></Relationships>
</file>

<file path=ppt/slideLayouts/_rels/slideLayout8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9.xml"/><Relationship Id="rId1" Type="http://schemas.openxmlformats.org/officeDocument/2006/relationships/tags" Target="../tags/tag68.xml"/><Relationship Id="rId6" Type="http://schemas.openxmlformats.org/officeDocument/2006/relationships/image" Target="../media/image8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52.bin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70.xml"/><Relationship Id="rId5" Type="http://schemas.openxmlformats.org/officeDocument/2006/relationships/image" Target="../media/image8.png"/><Relationship Id="rId4" Type="http://schemas.openxmlformats.org/officeDocument/2006/relationships/image" Target="../media/image5.emf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71.xml"/><Relationship Id="rId5" Type="http://schemas.openxmlformats.org/officeDocument/2006/relationships/image" Target="../media/image8.png"/><Relationship Id="rId4" Type="http://schemas.openxmlformats.org/officeDocument/2006/relationships/image" Target="../media/image5.emf"/></Relationships>
</file>

<file path=ppt/slideLayouts/_rels/slideLayout8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72.xml"/><Relationship Id="rId6" Type="http://schemas.openxmlformats.org/officeDocument/2006/relationships/image" Target="../media/image8.png"/><Relationship Id="rId5" Type="http://schemas.openxmlformats.org/officeDocument/2006/relationships/image" Target="../media/image10.png"/><Relationship Id="rId4" Type="http://schemas.openxmlformats.org/officeDocument/2006/relationships/image" Target="../media/image5.emf"/></Relationships>
</file>

<file path=ppt/slideLayouts/_rels/slideLayout8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4.xml"/><Relationship Id="rId1" Type="http://schemas.openxmlformats.org/officeDocument/2006/relationships/tags" Target="../tags/tag73.x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56.bin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7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75.xml"/><Relationship Id="rId4" Type="http://schemas.openxmlformats.org/officeDocument/2006/relationships/image" Target="../media/image5.emf"/></Relationships>
</file>

<file path=ppt/slideLayouts/_rels/slideLayout9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8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76.xml"/><Relationship Id="rId4" Type="http://schemas.openxmlformats.org/officeDocument/2006/relationships/image" Target="../media/image5.emf"/></Relationships>
</file>

<file path=ppt/slideLayouts/_rels/slideLayout9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9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77.xml"/><Relationship Id="rId6" Type="http://schemas.openxmlformats.org/officeDocument/2006/relationships/image" Target="../media/image8.png"/><Relationship Id="rId5" Type="http://schemas.openxmlformats.org/officeDocument/2006/relationships/image" Target="../media/image10.png"/><Relationship Id="rId4" Type="http://schemas.openxmlformats.org/officeDocument/2006/relationships/image" Target="../media/image5.emf"/></Relationships>
</file>

<file path=ppt/slideLayouts/_rels/slideLayout9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0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78.xml"/><Relationship Id="rId6" Type="http://schemas.openxmlformats.org/officeDocument/2006/relationships/image" Target="../media/image6.png"/><Relationship Id="rId5" Type="http://schemas.openxmlformats.org/officeDocument/2006/relationships/image" Target="../media/image11.png"/><Relationship Id="rId4" Type="http://schemas.openxmlformats.org/officeDocument/2006/relationships/image" Target="../media/image5.emf"/></Relationships>
</file>

<file path=ppt/slideLayouts/_rels/slideLayout9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79.xml"/><Relationship Id="rId5" Type="http://schemas.openxmlformats.org/officeDocument/2006/relationships/image" Target="../media/image6.png"/><Relationship Id="rId4" Type="http://schemas.openxmlformats.org/officeDocument/2006/relationships/image" Target="../media/image17.emf"/></Relationships>
</file>

<file path=ppt/slideLayouts/_rels/slideLayout9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jpeg"/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21.png"/><Relationship Id="rId2" Type="http://schemas.openxmlformats.org/officeDocument/2006/relationships/tags" Target="../tags/tag84.xml"/><Relationship Id="rId1" Type="http://schemas.openxmlformats.org/officeDocument/2006/relationships/tags" Target="../tags/tag83.xml"/><Relationship Id="rId6" Type="http://schemas.openxmlformats.org/officeDocument/2006/relationships/image" Target="../media/image20.jpeg"/><Relationship Id="rId5" Type="http://schemas.openxmlformats.org/officeDocument/2006/relationships/image" Target="../media/image7.emf"/><Relationship Id="rId4" Type="http://schemas.openxmlformats.org/officeDocument/2006/relationships/oleObject" Target="../embeddings/oleObject64.bin"/></Relationships>
</file>

<file path=ppt/slideLayouts/_rels/slideLayout9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86.xml"/><Relationship Id="rId1" Type="http://schemas.openxmlformats.org/officeDocument/2006/relationships/tags" Target="../tags/tag85.xml"/><Relationship Id="rId5" Type="http://schemas.openxmlformats.org/officeDocument/2006/relationships/image" Target="../media/image23.emf"/><Relationship Id="rId4" Type="http://schemas.openxmlformats.org/officeDocument/2006/relationships/oleObject" Target="../embeddings/oleObject65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Shape, arrow&#10;&#10;Description automatically generated">
            <a:extLst>
              <a:ext uri="{FF2B5EF4-FFF2-40B4-BE49-F238E27FC236}">
                <a16:creationId xmlns:a16="http://schemas.microsoft.com/office/drawing/2014/main" id="{25B3A1BF-2D23-4451-ACED-D5F0B5EEB94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70338" y="-23166"/>
            <a:ext cx="9821662" cy="5898388"/>
          </a:xfrm>
          <a:prstGeom prst="rect">
            <a:avLst/>
          </a:prstGeom>
        </p:spPr>
      </p:pic>
      <p:sp>
        <p:nvSpPr>
          <p:cNvPr id="3" name="Subtitle 2">
            <a:extLst>
              <a:ext uri="{FF2B5EF4-FFF2-40B4-BE49-F238E27FC236}">
                <a16:creationId xmlns:a16="http://schemas.microsoft.com/office/drawing/2014/main" id="{CEBA0BBB-DA2B-4CCE-B833-F2E6D48601E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06244" y="3783412"/>
            <a:ext cx="7531224" cy="1474387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ubject to be mentioned here</a:t>
            </a:r>
            <a:endParaRPr lang="en-IN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CCA3982-65BB-4677-8CCF-2A0BBF118F55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845320AC-DD4B-443B-9124-A76A02BBF0F0}" type="datetimeFigureOut">
              <a:rPr lang="en-IN" smtClean="0"/>
              <a:t>28-05-2025</a:t>
            </a:fld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D75386F-B8FD-4182-A27D-1EA34D9C380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IN"/>
          </a:p>
        </p:txBody>
      </p:sp>
      <p:pic>
        <p:nvPicPr>
          <p:cNvPr id="9" name="Picture 8" descr="Logo&#10;&#10;Description automatically generated">
            <a:extLst>
              <a:ext uri="{FF2B5EF4-FFF2-40B4-BE49-F238E27FC236}">
                <a16:creationId xmlns:a16="http://schemas.microsoft.com/office/drawing/2014/main" id="{854E3252-1DD7-4C7F-8672-F545900F718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6322" y="1161478"/>
            <a:ext cx="4984140" cy="1474386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86D3E6E0-F14D-43C0-BBB3-CF7AAA7CDD69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082508" y="4515229"/>
            <a:ext cx="109491" cy="2342771"/>
          </a:xfrm>
          <a:prstGeom prst="rect">
            <a:avLst/>
          </a:prstGeom>
        </p:spPr>
      </p:pic>
      <p:sp>
        <p:nvSpPr>
          <p:cNvPr id="13" name="Rectangle 2">
            <a:extLst>
              <a:ext uri="{FF2B5EF4-FFF2-40B4-BE49-F238E27FC236}">
                <a16:creationId xmlns:a16="http://schemas.microsoft.com/office/drawing/2014/main" id="{EFE6B8CB-A528-408D-B686-39B13D28732D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0"/>
            <a:ext cx="12192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IN"/>
          </a:p>
        </p:txBody>
      </p:sp>
      <p:sp>
        <p:nvSpPr>
          <p:cNvPr id="14" name="Rectangle 3">
            <a:extLst>
              <a:ext uri="{FF2B5EF4-FFF2-40B4-BE49-F238E27FC236}">
                <a16:creationId xmlns:a16="http://schemas.microsoft.com/office/drawing/2014/main" id="{EBAB3A67-0CB1-4A44-966F-C472CC93D8D5}"/>
              </a:ext>
            </a:extLst>
          </p:cNvPr>
          <p:cNvSpPr>
            <a:spLocks noChangeArrowheads="1"/>
          </p:cNvSpPr>
          <p:nvPr/>
        </p:nvSpPr>
        <p:spPr bwMode="auto">
          <a:xfrm>
            <a:off x="9812414" y="5338583"/>
            <a:ext cx="1932743" cy="120032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tabLst>
                <a:tab pos="269875" algn="r"/>
                <a:tab pos="2971800" algn="ctr"/>
                <a:tab pos="5943600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tabLst>
                <a:tab pos="269875" algn="r"/>
                <a:tab pos="2971800" algn="ctr"/>
                <a:tab pos="5943600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tabLst>
                <a:tab pos="269875" algn="r"/>
                <a:tab pos="2971800" algn="ctr"/>
                <a:tab pos="5943600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tabLst>
                <a:tab pos="269875" algn="r"/>
                <a:tab pos="2971800" algn="ctr"/>
                <a:tab pos="5943600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tabLst>
                <a:tab pos="269875" algn="r"/>
                <a:tab pos="2971800" algn="ctr"/>
                <a:tab pos="5943600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tabLst>
                <a:tab pos="269875" algn="r"/>
                <a:tab pos="2971800" algn="ctr"/>
                <a:tab pos="5943600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tabLst>
                <a:tab pos="269875" algn="r"/>
                <a:tab pos="2971800" algn="ctr"/>
                <a:tab pos="5943600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tabLst>
                <a:tab pos="269875" algn="r"/>
                <a:tab pos="2971800" algn="ctr"/>
                <a:tab pos="5943600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tabLst>
                <a:tab pos="269875" algn="r"/>
                <a:tab pos="2971800" algn="ctr"/>
                <a:tab pos="5943600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269875" algn="r"/>
                <a:tab pos="2971800" algn="ctr"/>
                <a:tab pos="5943600" algn="r"/>
              </a:tabLst>
            </a:pPr>
            <a:r>
              <a:rPr kumimoji="0" lang="en-GB" altLang="zh-CN" sz="12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ea typeface="DengXian" panose="02010600030101010101" pitchFamily="2" charset="-122"/>
                <a:cs typeface="Gotham Medium"/>
              </a:rPr>
              <a:t>Exide Energy Solutions Ltd</a:t>
            </a:r>
            <a:endParaRPr kumimoji="0" lang="en-GB" altLang="zh-CN" sz="105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269875" algn="r"/>
                <a:tab pos="2971800" algn="ctr"/>
                <a:tab pos="5943600" algn="r"/>
              </a:tabLst>
            </a:pPr>
            <a:r>
              <a:rPr kumimoji="0" lang="en-GB" altLang="zh-CN" sz="12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ea typeface="DengXian" panose="02010600030101010101" pitchFamily="2" charset="-122"/>
                <a:cs typeface="Gotham Light"/>
              </a:rPr>
              <a:t>59E, </a:t>
            </a:r>
            <a:r>
              <a:rPr kumimoji="0" lang="en-GB" altLang="zh-CN" sz="1200" b="0" i="0" u="none" strike="noStrike" cap="none" normalizeH="0" baseline="0" err="1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ea typeface="DengXian" panose="02010600030101010101" pitchFamily="2" charset="-122"/>
                <a:cs typeface="Gotham Light"/>
              </a:rPr>
              <a:t>Chowringhee</a:t>
            </a:r>
            <a:r>
              <a:rPr kumimoji="0" lang="en-GB" altLang="zh-CN" sz="12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ea typeface="DengXian" panose="02010600030101010101" pitchFamily="2" charset="-122"/>
                <a:cs typeface="Gotham Light"/>
              </a:rPr>
              <a:t> Road</a:t>
            </a:r>
            <a:endParaRPr kumimoji="0" lang="en-GB" altLang="zh-CN" sz="105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269875" algn="r"/>
                <a:tab pos="2971800" algn="ctr"/>
                <a:tab pos="5943600" algn="r"/>
              </a:tabLst>
            </a:pPr>
            <a:r>
              <a:rPr kumimoji="0" lang="en-GB" altLang="zh-CN" sz="12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ea typeface="DengXian" panose="02010600030101010101" pitchFamily="2" charset="-122"/>
                <a:cs typeface="Gotham Light"/>
              </a:rPr>
              <a:t>Kolkata 700 020</a:t>
            </a:r>
            <a:endParaRPr kumimoji="0" lang="en-GB" altLang="zh-CN" sz="105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269875" algn="r"/>
                <a:tab pos="2971800" algn="ctr"/>
                <a:tab pos="5943600" algn="r"/>
              </a:tabLst>
            </a:pPr>
            <a:r>
              <a:rPr kumimoji="0" lang="en-GB" altLang="zh-CN" sz="1200" b="1" i="0" u="none" strike="noStrike" cap="none" normalizeH="0" baseline="0">
                <a:ln>
                  <a:noFill/>
                </a:ln>
                <a:solidFill>
                  <a:srgbClr val="FF0000"/>
                </a:solidFill>
                <a:effectLst/>
                <a:latin typeface="Gotham Bold"/>
                <a:ea typeface="DengXian" panose="02010600030101010101" pitchFamily="2" charset="-122"/>
                <a:cs typeface="Gotham Light"/>
              </a:rPr>
              <a:t>T </a:t>
            </a:r>
            <a:r>
              <a:rPr kumimoji="0" lang="en-GB" altLang="zh-CN" sz="12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ea typeface="DengXian" panose="02010600030101010101" pitchFamily="2" charset="-122"/>
                <a:cs typeface="Gotham Light"/>
              </a:rPr>
              <a:t>	(033) 2302 3400</a:t>
            </a:r>
            <a:endParaRPr kumimoji="0" lang="en-GB" altLang="zh-CN" sz="105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269875" algn="r"/>
                <a:tab pos="2971800" algn="ctr"/>
                <a:tab pos="5943600" algn="r"/>
              </a:tabLst>
            </a:pPr>
            <a:r>
              <a:rPr kumimoji="0" lang="en-GB" altLang="zh-CN" sz="1200" b="1" i="0" u="none" strike="noStrike" cap="none" normalizeH="0" baseline="0">
                <a:ln>
                  <a:noFill/>
                </a:ln>
                <a:solidFill>
                  <a:srgbClr val="FF0000"/>
                </a:solidFill>
                <a:effectLst/>
                <a:latin typeface="Gotham Bold"/>
                <a:ea typeface="DengXian" panose="02010600030101010101" pitchFamily="2" charset="-122"/>
                <a:cs typeface="Gotham Light"/>
              </a:rPr>
              <a:t>F </a:t>
            </a:r>
            <a:r>
              <a:rPr kumimoji="0" lang="en-GB" altLang="zh-CN" sz="12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ea typeface="DengXian" panose="02010600030101010101" pitchFamily="2" charset="-122"/>
                <a:cs typeface="Gotham Light"/>
              </a:rPr>
              <a:t>	(033) 2283 2637</a:t>
            </a:r>
            <a:endParaRPr kumimoji="0" lang="en-GB" altLang="zh-CN" sz="105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269875" algn="r"/>
                <a:tab pos="2971800" algn="ctr"/>
                <a:tab pos="5943600" algn="r"/>
              </a:tabLst>
            </a:pPr>
            <a:r>
              <a:rPr kumimoji="0" lang="en-GB" altLang="zh-CN" sz="1200" b="1" i="0" u="none" strike="noStrike" cap="none" normalizeH="0" baseline="0">
                <a:ln>
                  <a:noFill/>
                </a:ln>
                <a:solidFill>
                  <a:srgbClr val="FF0000"/>
                </a:solidFill>
                <a:effectLst/>
                <a:latin typeface="Gotham Bold"/>
                <a:ea typeface="DengXian" panose="02010600030101010101" pitchFamily="2" charset="-122"/>
                <a:cs typeface="Gotham Light"/>
              </a:rPr>
              <a:t>W </a:t>
            </a:r>
            <a:r>
              <a:rPr kumimoji="0" lang="en-GB" altLang="zh-CN" sz="12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ea typeface="DengXian" panose="02010600030101010101" pitchFamily="2" charset="-122"/>
                <a:cs typeface="Gotham Light"/>
              </a:rPr>
              <a:t>	www.exideenergy.com</a:t>
            </a:r>
            <a:endParaRPr kumimoji="0" lang="en-GB" altLang="zh-CN" sz="2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0433085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9A2ABED6-22DD-4D20-BC17-09D8FC05590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845320AC-DD4B-443B-9124-A76A02BBF0F0}" type="datetimeFigureOut">
              <a:rPr lang="en-IN" smtClean="0"/>
              <a:t>28-05-2025</a:t>
            </a:fld>
            <a:endParaRPr lang="en-IN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B18AA12-E345-4025-AB90-8FDAA7EB34C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IN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CFF9B80-38F1-46EA-B7D4-BF0E282A5AF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E7FF1D80-0C43-4B56-BCBD-119C695EDC96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88679132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ay slice head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 bwMode="ltGray">
          <a:xfrm>
            <a:off x="1" y="-1309"/>
            <a:ext cx="46944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750"/>
              </a:spcAft>
            </a:pPr>
            <a:endParaRPr lang="en-US" sz="900">
              <a:solidFill>
                <a:schemeClr val="bg1"/>
              </a:solidFill>
              <a:latin typeface="+mn-lt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ltGray">
          <a:xfrm>
            <a:off x="630000" y="1544274"/>
            <a:ext cx="3452400" cy="1495794"/>
          </a:xfrm>
          <a:noFill/>
        </p:spPr>
        <p:txBody>
          <a:bodyPr wrap="square" lIns="0" tIns="0" rIns="320040" bIns="0" anchor="b">
            <a:noAutofit/>
          </a:bodyPr>
          <a:lstStyle>
            <a:lvl1pPr>
              <a:defRPr sz="240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D6202555-EDDA-4FDE-BFC1-D57F0F549023}"/>
              </a:ext>
            </a:extLst>
          </p:cNvPr>
          <p:cNvSpPr/>
          <p:nvPr/>
        </p:nvSpPr>
        <p:spPr bwMode="ltGray">
          <a:xfrm>
            <a:off x="1" y="-1309"/>
            <a:ext cx="46944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750"/>
              </a:spcAft>
            </a:pPr>
            <a:endParaRPr lang="en-US" sz="900">
              <a:solidFill>
                <a:schemeClr val="bg1"/>
              </a:solidFill>
              <a:latin typeface="+mn-lt"/>
            </a:endParaRPr>
          </a:p>
        </p:txBody>
      </p:sp>
      <p:sp>
        <p:nvSpPr>
          <p:cNvPr id="5" name="Copyright">
            <a:extLst>
              <a:ext uri="{FF2B5EF4-FFF2-40B4-BE49-F238E27FC236}">
                <a16:creationId xmlns:a16="http://schemas.microsoft.com/office/drawing/2014/main" id="{867444C1-06BD-48FF-A6AF-7D3EE005F2A9}"/>
              </a:ext>
            </a:extLst>
          </p:cNvPr>
          <p:cNvSpPr txBox="1"/>
          <p:nvPr/>
        </p:nvSpPr>
        <p:spPr>
          <a:xfrm rot="16200000">
            <a:off x="9486902" y="3934616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7063627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box">
    <p:bg bwMode="grayWhite">
      <p:bgPr>
        <a:gradFill>
          <a:gsLst>
            <a:gs pos="0">
              <a:schemeClr val="tx2"/>
            </a:gs>
            <a:gs pos="100000">
              <a:schemeClr val="accent1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284743" y="2668041"/>
            <a:ext cx="9620491" cy="3201026"/>
          </a:xfrm>
          <a:prstGeom prst="rect">
            <a:avLst/>
          </a:prstGeom>
          <a:ln w="9525">
            <a:solidFill>
              <a:schemeClr val="bg1"/>
            </a:solidFill>
          </a:ln>
        </p:spPr>
        <p:txBody>
          <a:bodyPr lIns="274320" tIns="274320" rIns="274320" bIns="137160" anchor="b">
            <a:noAutofit/>
          </a:bodyPr>
          <a:lstStyle>
            <a:lvl1pPr marL="0" algn="l" defTabSz="685800" rtl="0" eaLnBrk="1" fontAlgn="auto" latinLnBrk="0" hangingPunct="1">
              <a:lnSpc>
                <a:spcPts val="4500"/>
              </a:lnSpc>
              <a:spcBef>
                <a:spcPts val="0"/>
              </a:spcBef>
              <a:spcAft>
                <a:spcPts val="0"/>
              </a:spcAft>
              <a:defRPr lang="en-US" sz="4050" kern="1200" baseline="0" dirty="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11167872" y="6443508"/>
            <a:ext cx="38100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59" name="Rectangle 58"/>
          <p:cNvSpPr/>
          <p:nvPr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9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5" name="Copyright">
            <a:extLst>
              <a:ext uri="{FF2B5EF4-FFF2-40B4-BE49-F238E27FC236}">
                <a16:creationId xmlns:a16="http://schemas.microsoft.com/office/drawing/2014/main" id="{F19FEF3B-088B-4850-860D-C35B69E2DE70}"/>
              </a:ext>
            </a:extLst>
          </p:cNvPr>
          <p:cNvSpPr txBox="1"/>
          <p:nvPr/>
        </p:nvSpPr>
        <p:spPr>
          <a:xfrm rot="16200000">
            <a:off x="9486902" y="3934616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F43CE2EE-C57B-4971-8601-74545DA7DBD6}"/>
              </a:ext>
            </a:extLst>
          </p:cNvPr>
          <p:cNvSpPr/>
          <p:nvPr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9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429572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line">
    <p:bg bwMode="blackWhite">
      <p:bgPr>
        <a:gradFill>
          <a:gsLst>
            <a:gs pos="0">
              <a:schemeClr val="tx2"/>
            </a:gs>
            <a:gs pos="100000">
              <a:schemeClr val="accent1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>
          <a:xfrm>
            <a:off x="11167872" y="6443508"/>
            <a:ext cx="38100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4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3826800"/>
            <a:ext cx="10936800" cy="2041200"/>
          </a:xfrm>
        </p:spPr>
        <p:txBody>
          <a:bodyPr anchor="t">
            <a:noAutofit/>
          </a:bodyPr>
          <a:lstStyle>
            <a:lvl1pPr>
              <a:defRPr sz="405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cxnSp>
        <p:nvCxnSpPr>
          <p:cNvPr id="148" name="Straight Connector 147"/>
          <p:cNvCxnSpPr/>
          <p:nvPr/>
        </p:nvCxnSpPr>
        <p:spPr bwMode="white">
          <a:xfrm>
            <a:off x="618899" y="3680016"/>
            <a:ext cx="11576304" cy="0"/>
          </a:xfrm>
          <a:prstGeom prst="line">
            <a:avLst/>
          </a:prstGeom>
          <a:ln w="19050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Box 5">
            <a:extLst>
              <a:ext uri="{FF2B5EF4-FFF2-40B4-BE49-F238E27FC236}">
                <a16:creationId xmlns:a16="http://schemas.microsoft.com/office/drawing/2014/main" id="{9759F74E-FC22-491D-A52B-1E718A98611B}"/>
              </a:ext>
            </a:extLst>
          </p:cNvPr>
          <p:cNvSpPr txBox="1"/>
          <p:nvPr/>
        </p:nvSpPr>
        <p:spPr>
          <a:xfrm>
            <a:off x="11167872" y="6443508"/>
            <a:ext cx="38100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35ABE246-DC91-436F-BC8A-D5CF6B251BD9}"/>
              </a:ext>
            </a:extLst>
          </p:cNvPr>
          <p:cNvCxnSpPr/>
          <p:nvPr/>
        </p:nvCxnSpPr>
        <p:spPr bwMode="white">
          <a:xfrm>
            <a:off x="618899" y="3680016"/>
            <a:ext cx="11576304" cy="0"/>
          </a:xfrm>
          <a:prstGeom prst="line">
            <a:avLst/>
          </a:prstGeom>
          <a:ln w="19050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417414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White one third">
    <p:bg>
      <p:bgPr>
        <a:gradFill>
          <a:gsLst>
            <a:gs pos="0">
              <a:schemeClr val="tx2"/>
            </a:gs>
            <a:gs pos="100000">
              <a:schemeClr val="accent1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4064995" y="0"/>
            <a:ext cx="416951" cy="6858000"/>
          </a:xfrm>
          <a:prstGeom prst="rect">
            <a:avLst/>
          </a:prstGeom>
        </p:spPr>
      </p:pic>
      <p:sp>
        <p:nvSpPr>
          <p:cNvPr id="20" name="TextBox 19"/>
          <p:cNvSpPr txBox="1"/>
          <p:nvPr/>
        </p:nvSpPr>
        <p:spPr>
          <a:xfrm>
            <a:off x="11167872" y="6443508"/>
            <a:ext cx="38100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6" name="Rectangle 25"/>
          <p:cNvSpPr/>
          <p:nvPr/>
        </p:nvSpPr>
        <p:spPr bwMode="white">
          <a:xfrm>
            <a:off x="1" y="0"/>
            <a:ext cx="4079508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9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7" name="Title 4"/>
          <p:cNvSpPr>
            <a:spLocks noGrp="1"/>
          </p:cNvSpPr>
          <p:nvPr>
            <p:ph type="title" hasCustomPrompt="1"/>
          </p:nvPr>
        </p:nvSpPr>
        <p:spPr>
          <a:xfrm>
            <a:off x="630001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CD90CF38-8198-4F83-A9EE-5368C9E75B92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4064995" y="0"/>
            <a:ext cx="416951" cy="6858000"/>
          </a:xfrm>
          <a:prstGeom prst="rect">
            <a:avLst/>
          </a:prstGeom>
        </p:spPr>
      </p:pic>
      <p:sp>
        <p:nvSpPr>
          <p:cNvPr id="7" name="Copyright">
            <a:extLst>
              <a:ext uri="{FF2B5EF4-FFF2-40B4-BE49-F238E27FC236}">
                <a16:creationId xmlns:a16="http://schemas.microsoft.com/office/drawing/2014/main" id="{A0B5B52C-D5C8-4835-BF72-186E7301D7C4}"/>
              </a:ext>
            </a:extLst>
          </p:cNvPr>
          <p:cNvSpPr txBox="1"/>
          <p:nvPr/>
        </p:nvSpPr>
        <p:spPr>
          <a:xfrm rot="16200000">
            <a:off x="9486902" y="3934616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9511B60F-FA6F-4D5E-BA25-E6CBA409D635}"/>
              </a:ext>
            </a:extLst>
          </p:cNvPr>
          <p:cNvSpPr txBox="1"/>
          <p:nvPr/>
        </p:nvSpPr>
        <p:spPr>
          <a:xfrm>
            <a:off x="11167872" y="6443508"/>
            <a:ext cx="38100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B9F2F5E9-00FD-4A6F-B91C-CDA2A05C3AAA}"/>
              </a:ext>
            </a:extLst>
          </p:cNvPr>
          <p:cNvSpPr/>
          <p:nvPr/>
        </p:nvSpPr>
        <p:spPr bwMode="white">
          <a:xfrm>
            <a:off x="1" y="0"/>
            <a:ext cx="4079508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9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716592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Green highlight">
    <p:bg>
      <p:bgPr>
        <a:gradFill>
          <a:gsLst>
            <a:gs pos="0">
              <a:schemeClr val="tx2"/>
            </a:gs>
            <a:gs pos="100000">
              <a:schemeClr val="accent1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E38C8CB-DAC0-4C83-8C9F-68BA8050AA2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88035904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E38C8CB-DAC0-4C83-8C9F-68BA8050AA2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B8772D8-4299-479A-B7BD-08BF404E5E3F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" y="0"/>
            <a:ext cx="158751" cy="158750"/>
          </a:xfrm>
          <a:prstGeom prst="rect">
            <a:avLst/>
          </a:prstGeom>
          <a:solidFill>
            <a:srgbClr val="DB2026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550" b="0" i="0" baseline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7165607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/>
        </p:nvSpPr>
        <p:spPr bwMode="white">
          <a:xfrm>
            <a:off x="1" y="0"/>
            <a:ext cx="7171956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9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11167872" y="6443508"/>
            <a:ext cx="38100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3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740524"/>
            <a:ext cx="6256800" cy="353174"/>
          </a:xfrm>
          <a:prstGeom prst="rect">
            <a:avLst/>
          </a:prstGeom>
        </p:spPr>
        <p:txBody>
          <a:bodyPr vert="horz" wrap="square" lIns="0" tIns="0" rIns="0" bIns="0" anchor="b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2550" b="0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678C1DC0-1B1B-4544-8E3B-6C1B0CDB94BA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7165607" y="0"/>
            <a:ext cx="416951" cy="6858000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8C4C18AC-D5C0-4D1D-BB88-5664A2CA22D8}"/>
              </a:ext>
            </a:extLst>
          </p:cNvPr>
          <p:cNvSpPr/>
          <p:nvPr/>
        </p:nvSpPr>
        <p:spPr bwMode="white">
          <a:xfrm>
            <a:off x="1" y="0"/>
            <a:ext cx="7171956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9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1" name="Copyright">
            <a:extLst>
              <a:ext uri="{FF2B5EF4-FFF2-40B4-BE49-F238E27FC236}">
                <a16:creationId xmlns:a16="http://schemas.microsoft.com/office/drawing/2014/main" id="{FE460D1A-6569-45A2-BC8E-9277B693B202}"/>
              </a:ext>
            </a:extLst>
          </p:cNvPr>
          <p:cNvSpPr txBox="1"/>
          <p:nvPr/>
        </p:nvSpPr>
        <p:spPr>
          <a:xfrm rot="16200000">
            <a:off x="9486902" y="3934616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7A462C3E-053B-47A3-BF68-76C1AB25A940}"/>
              </a:ext>
            </a:extLst>
          </p:cNvPr>
          <p:cNvSpPr txBox="1"/>
          <p:nvPr/>
        </p:nvSpPr>
        <p:spPr>
          <a:xfrm>
            <a:off x="11167872" y="6443508"/>
            <a:ext cx="38100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794434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Green one third">
    <p:bg>
      <p:bgPr>
        <a:gradFill>
          <a:gsLst>
            <a:gs pos="0">
              <a:schemeClr val="tx2"/>
            </a:gs>
            <a:gs pos="100000">
              <a:schemeClr val="accent1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70" y="0"/>
            <a:ext cx="416951" cy="6858000"/>
          </a:xfrm>
          <a:prstGeom prst="rect">
            <a:avLst/>
          </a:prstGeom>
        </p:spPr>
      </p:pic>
      <p:sp>
        <p:nvSpPr>
          <p:cNvPr id="11" name="Title 4"/>
          <p:cNvSpPr>
            <a:spLocks noGrp="1"/>
          </p:cNvSpPr>
          <p:nvPr>
            <p:ph type="title" hasCustomPrompt="1"/>
          </p:nvPr>
        </p:nvSpPr>
        <p:spPr>
          <a:xfrm>
            <a:off x="630001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3" name="Rectangle 12"/>
          <p:cNvSpPr/>
          <p:nvPr/>
        </p:nvSpPr>
        <p:spPr bwMode="white">
          <a:xfrm>
            <a:off x="4080764" y="-1309"/>
            <a:ext cx="8111237" cy="685930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9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11167872" y="6443508"/>
            <a:ext cx="38100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0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4D265D7A-232B-4E7B-ABF9-750A71A7271D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70" y="0"/>
            <a:ext cx="416951" cy="6858000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FE4387F4-0CBB-42DC-8404-FB5709A56213}"/>
              </a:ext>
            </a:extLst>
          </p:cNvPr>
          <p:cNvSpPr/>
          <p:nvPr/>
        </p:nvSpPr>
        <p:spPr bwMode="white">
          <a:xfrm>
            <a:off x="4080764" y="-1309"/>
            <a:ext cx="8111237" cy="685930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9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8" name="Copyright">
            <a:extLst>
              <a:ext uri="{FF2B5EF4-FFF2-40B4-BE49-F238E27FC236}">
                <a16:creationId xmlns:a16="http://schemas.microsoft.com/office/drawing/2014/main" id="{970BAA46-77C0-4EF5-AAFA-54744856C8CB}"/>
              </a:ext>
            </a:extLst>
          </p:cNvPr>
          <p:cNvSpPr txBox="1"/>
          <p:nvPr/>
        </p:nvSpPr>
        <p:spPr>
          <a:xfrm rot="16200000">
            <a:off x="9486902" y="3934616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E194D146-FA13-4EA1-85B3-88BB9C8455DF}"/>
              </a:ext>
            </a:extLst>
          </p:cNvPr>
          <p:cNvSpPr txBox="1"/>
          <p:nvPr/>
        </p:nvSpPr>
        <p:spPr>
          <a:xfrm>
            <a:off x="11167872" y="6443508"/>
            <a:ext cx="38100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0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993465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Green half">
    <p:bg bwMode="grayWhite">
      <p:bgPr>
        <a:gradFill>
          <a:gsLst>
            <a:gs pos="0">
              <a:schemeClr val="tx2"/>
            </a:gs>
            <a:gs pos="100000">
              <a:schemeClr val="accent1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5689583" y="0"/>
            <a:ext cx="416951" cy="6858000"/>
          </a:xfrm>
          <a:prstGeom prst="rect">
            <a:avLst/>
          </a:prstGeom>
        </p:spPr>
      </p:pic>
      <p:sp>
        <p:nvSpPr>
          <p:cNvPr id="12" name="Rectangle 11"/>
          <p:cNvSpPr/>
          <p:nvPr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750"/>
              </a:spcAft>
            </a:pPr>
            <a:endParaRPr lang="en-US" sz="9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3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2022" y="0"/>
            <a:ext cx="6099977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350" baseline="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630000" y="1785600"/>
            <a:ext cx="4388400" cy="3286800"/>
          </a:xfrm>
          <a:prstGeom prst="rect">
            <a:avLst/>
          </a:prstGeom>
          <a:noFill/>
        </p:spPr>
        <p:txBody>
          <a:bodyPr wrap="square" lIns="0" tIns="0" rIns="320040" bIns="0" anchor="ctr">
            <a:noAutofit/>
          </a:bodyPr>
          <a:lstStyle>
            <a:lvl1pPr>
              <a:defRPr sz="33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11167872" y="6443508"/>
            <a:ext cx="38100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600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9722C7F4-CE91-4ADC-AF0E-9DF7027E32A1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5689583" y="0"/>
            <a:ext cx="416951" cy="6858000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D2932009-E8CB-4482-8E7B-C830F00F844E}"/>
              </a:ext>
            </a:extLst>
          </p:cNvPr>
          <p:cNvSpPr/>
          <p:nvPr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750"/>
              </a:spcAft>
            </a:pPr>
            <a:endParaRPr lang="en-US" sz="9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54602BF4-6CD6-4458-9C50-B21417CC9651}"/>
              </a:ext>
            </a:extLst>
          </p:cNvPr>
          <p:cNvSpPr txBox="1"/>
          <p:nvPr/>
        </p:nvSpPr>
        <p:spPr>
          <a:xfrm>
            <a:off x="11167872" y="6443508"/>
            <a:ext cx="38100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600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0" name="Copyright">
            <a:extLst>
              <a:ext uri="{FF2B5EF4-FFF2-40B4-BE49-F238E27FC236}">
                <a16:creationId xmlns:a16="http://schemas.microsoft.com/office/drawing/2014/main" id="{64EE5AAF-066F-453A-B6E3-829DF3F6342D}"/>
              </a:ext>
            </a:extLst>
          </p:cNvPr>
          <p:cNvSpPr txBox="1"/>
          <p:nvPr/>
        </p:nvSpPr>
        <p:spPr>
          <a:xfrm rot="16200000">
            <a:off x="9486902" y="3934616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331871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Green two third">
    <p:bg bwMode="grayWhite">
      <p:bgPr>
        <a:gradFill>
          <a:gsLst>
            <a:gs pos="0">
              <a:schemeClr val="tx2"/>
            </a:gs>
            <a:gs pos="100000">
              <a:schemeClr val="accent1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7409850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/>
        </p:nvSpPr>
        <p:spPr bwMode="gray">
          <a:xfrm>
            <a:off x="7819545" y="0"/>
            <a:ext cx="4372457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9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1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20026" y="0"/>
            <a:ext cx="4371975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200">
                <a:solidFill>
                  <a:schemeClr val="tx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1804650"/>
            <a:ext cx="6247552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3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11167872" y="6443508"/>
            <a:ext cx="38100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600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A382A866-082D-4532-AF66-631A3506291C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7409850" y="0"/>
            <a:ext cx="416951" cy="6858000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373C1222-D4B6-401D-BD42-4922262346C1}"/>
              </a:ext>
            </a:extLst>
          </p:cNvPr>
          <p:cNvSpPr/>
          <p:nvPr/>
        </p:nvSpPr>
        <p:spPr bwMode="gray">
          <a:xfrm>
            <a:off x="7819545" y="0"/>
            <a:ext cx="4372457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9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2" name="Copyright">
            <a:extLst>
              <a:ext uri="{FF2B5EF4-FFF2-40B4-BE49-F238E27FC236}">
                <a16:creationId xmlns:a16="http://schemas.microsoft.com/office/drawing/2014/main" id="{3A262885-8294-4346-8C6C-8FFBDE9E3969}"/>
              </a:ext>
            </a:extLst>
          </p:cNvPr>
          <p:cNvSpPr txBox="1"/>
          <p:nvPr/>
        </p:nvSpPr>
        <p:spPr>
          <a:xfrm rot="16200000">
            <a:off x="9486902" y="3929410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A39B0EAC-E28F-448B-8A81-4EFAA7DF47C5}"/>
              </a:ext>
            </a:extLst>
          </p:cNvPr>
          <p:cNvSpPr txBox="1"/>
          <p:nvPr/>
        </p:nvSpPr>
        <p:spPr>
          <a:xfrm>
            <a:off x="11167872" y="6443508"/>
            <a:ext cx="38100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600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672553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Left arrow">
    <p:bg>
      <p:bgPr>
        <a:gradFill>
          <a:gsLst>
            <a:gs pos="0">
              <a:schemeClr val="tx2"/>
            </a:gs>
            <a:gs pos="100000">
              <a:schemeClr val="accent1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14"/>
          <p:cNvSpPr/>
          <p:nvPr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750"/>
              </a:spcAft>
            </a:pPr>
            <a:endParaRPr lang="en-US" sz="9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11167872" y="6443508"/>
            <a:ext cx="38100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7" name="Title 2"/>
          <p:cNvSpPr>
            <a:spLocks noGrp="1"/>
          </p:cNvSpPr>
          <p:nvPr>
            <p:ph type="title" hasCustomPrompt="1"/>
          </p:nvPr>
        </p:nvSpPr>
        <p:spPr>
          <a:xfrm>
            <a:off x="630001" y="2764205"/>
            <a:ext cx="2478639" cy="1314311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 baseline="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>
                <a:solidFill>
                  <a:schemeClr val="tx2"/>
                </a:solidFill>
              </a:rPr>
              <a:t>Click to add title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32441" y="3590399"/>
            <a:ext cx="1365251" cy="3382962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Freeform 14">
            <a:extLst>
              <a:ext uri="{FF2B5EF4-FFF2-40B4-BE49-F238E27FC236}">
                <a16:creationId xmlns:a16="http://schemas.microsoft.com/office/drawing/2014/main" id="{6C3C316F-FE14-4E7D-AE8B-C1BD8D2C0C6A}"/>
              </a:ext>
            </a:extLst>
          </p:cNvPr>
          <p:cNvSpPr/>
          <p:nvPr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750"/>
              </a:spcAft>
            </a:pPr>
            <a:endParaRPr lang="en-US" sz="9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7" name="Copyright">
            <a:extLst>
              <a:ext uri="{FF2B5EF4-FFF2-40B4-BE49-F238E27FC236}">
                <a16:creationId xmlns:a16="http://schemas.microsoft.com/office/drawing/2014/main" id="{115C8534-E796-4AFF-B894-AFC2F51E0426}"/>
              </a:ext>
            </a:extLst>
          </p:cNvPr>
          <p:cNvSpPr txBox="1"/>
          <p:nvPr/>
        </p:nvSpPr>
        <p:spPr>
          <a:xfrm rot="16200000">
            <a:off x="9486902" y="3934616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2CCFE86B-64B6-4151-9256-69C26F8925FD}"/>
              </a:ext>
            </a:extLst>
          </p:cNvPr>
          <p:cNvSpPr txBox="1"/>
          <p:nvPr/>
        </p:nvSpPr>
        <p:spPr>
          <a:xfrm>
            <a:off x="11167872" y="6443508"/>
            <a:ext cx="38100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730B682D-134F-4D2B-9521-6E0D1F9EDF2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32441" y="3590399"/>
            <a:ext cx="1365251" cy="3382962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2318314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Green left arrow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14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1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750"/>
              </a:spcAft>
            </a:pPr>
            <a:endParaRPr lang="en-US" sz="9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1" y="2764205"/>
            <a:ext cx="2478639" cy="1314311"/>
          </a:xfrm>
        </p:spPr>
        <p:txBody>
          <a:bodyPr anchor="ctr" anchorCtr="0">
            <a:noAutofit/>
          </a:bodyPr>
          <a:lstStyle>
            <a:lvl1pPr>
              <a:defRPr sz="2400" baseline="0">
                <a:solidFill>
                  <a:srgbClr val="FFFFFF"/>
                </a:solidFill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11167872" y="6443508"/>
            <a:ext cx="38100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0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216" b="7716"/>
          <a:stretch/>
        </p:blipFill>
        <p:spPr>
          <a:xfrm rot="120000">
            <a:off x="2174641" y="3402830"/>
            <a:ext cx="2694667" cy="3461745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  <p:sp>
        <p:nvSpPr>
          <p:cNvPr id="6" name="Freeform 14">
            <a:extLst>
              <a:ext uri="{FF2B5EF4-FFF2-40B4-BE49-F238E27FC236}">
                <a16:creationId xmlns:a16="http://schemas.microsoft.com/office/drawing/2014/main" id="{737D61FC-3CFE-4D80-B060-A5CFA375D150}"/>
              </a:ext>
            </a:extLst>
          </p:cNvPr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750"/>
              </a:spcAft>
            </a:pPr>
            <a:endParaRPr lang="en-US" sz="9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A302811E-8219-41EB-8D93-8BFBBFD3D142}"/>
              </a:ext>
            </a:extLst>
          </p:cNvPr>
          <p:cNvSpPr txBox="1"/>
          <p:nvPr/>
        </p:nvSpPr>
        <p:spPr>
          <a:xfrm>
            <a:off x="11167872" y="6443508"/>
            <a:ext cx="38100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0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Copyright">
            <a:extLst>
              <a:ext uri="{FF2B5EF4-FFF2-40B4-BE49-F238E27FC236}">
                <a16:creationId xmlns:a16="http://schemas.microsoft.com/office/drawing/2014/main" id="{2AB6B2D4-D647-4E62-98B1-0B4A8CA99025}"/>
              </a:ext>
            </a:extLst>
          </p:cNvPr>
          <p:cNvSpPr txBox="1"/>
          <p:nvPr/>
        </p:nvSpPr>
        <p:spPr>
          <a:xfrm rot="16200000">
            <a:off x="9486902" y="3934616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032D13C7-944C-491F-A457-BE8C315F6BB7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216" b="7716"/>
          <a:stretch/>
        </p:blipFill>
        <p:spPr>
          <a:xfrm rot="120000">
            <a:off x="2174641" y="3402830"/>
            <a:ext cx="2694667" cy="3461745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6070662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9A2ABED6-22DD-4D20-BC17-09D8FC05590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845320AC-DD4B-443B-9124-A76A02BBF0F0}" type="datetimeFigureOut">
              <a:rPr lang="en-IN" smtClean="0"/>
              <a:t>28-05-2025</a:t>
            </a:fld>
            <a:endParaRPr lang="en-IN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B18AA12-E345-4025-AB90-8FDAA7EB34C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IN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CFF9B80-38F1-46EA-B7D4-BF0E282A5AF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E7FF1D80-0C43-4B56-BCBD-119C695EDC96}" type="slidenum">
              <a:rPr lang="en-IN" smtClean="0"/>
              <a:t>‹#›</a:t>
            </a:fld>
            <a:endParaRPr lang="en-IN"/>
          </a:p>
        </p:txBody>
      </p:sp>
      <p:sp>
        <p:nvSpPr>
          <p:cNvPr id="5" name="Freeform: Shape 4">
            <a:extLst>
              <a:ext uri="{FF2B5EF4-FFF2-40B4-BE49-F238E27FC236}">
                <a16:creationId xmlns:a16="http://schemas.microsoft.com/office/drawing/2014/main" id="{9548235A-E806-97CC-8543-A6A22C8C2AAA}"/>
              </a:ext>
            </a:extLst>
          </p:cNvPr>
          <p:cNvSpPr>
            <a:spLocks noChangeAspect="1"/>
          </p:cNvSpPr>
          <p:nvPr/>
        </p:nvSpPr>
        <p:spPr>
          <a:xfrm>
            <a:off x="985475" y="0"/>
            <a:ext cx="3332464" cy="6013752"/>
          </a:xfrm>
          <a:custGeom>
            <a:avLst/>
            <a:gdLst>
              <a:gd name="connsiteX0" fmla="*/ 340519 w 1359694"/>
              <a:gd name="connsiteY0" fmla="*/ 1333500 h 1333500"/>
              <a:gd name="connsiteX1" fmla="*/ 1359694 w 1359694"/>
              <a:gd name="connsiteY1" fmla="*/ 0 h 1333500"/>
              <a:gd name="connsiteX2" fmla="*/ 909638 w 1359694"/>
              <a:gd name="connsiteY2" fmla="*/ 57150 h 1333500"/>
              <a:gd name="connsiteX3" fmla="*/ 597694 w 1359694"/>
              <a:gd name="connsiteY3" fmla="*/ 271463 h 1333500"/>
              <a:gd name="connsiteX4" fmla="*/ 442913 w 1359694"/>
              <a:gd name="connsiteY4" fmla="*/ 138113 h 1333500"/>
              <a:gd name="connsiteX5" fmla="*/ 0 w 1359694"/>
              <a:gd name="connsiteY5" fmla="*/ 226219 h 1333500"/>
              <a:gd name="connsiteX6" fmla="*/ 30956 w 1359694"/>
              <a:gd name="connsiteY6" fmla="*/ 442913 h 1333500"/>
              <a:gd name="connsiteX7" fmla="*/ 623888 w 1359694"/>
              <a:gd name="connsiteY7" fmla="*/ 440531 h 1333500"/>
              <a:gd name="connsiteX8" fmla="*/ 347663 w 1359694"/>
              <a:gd name="connsiteY8" fmla="*/ 654844 h 1333500"/>
              <a:gd name="connsiteX9" fmla="*/ 435769 w 1359694"/>
              <a:gd name="connsiteY9" fmla="*/ 909638 h 1333500"/>
              <a:gd name="connsiteX10" fmla="*/ 421481 w 1359694"/>
              <a:gd name="connsiteY10" fmla="*/ 935831 h 1333500"/>
              <a:gd name="connsiteX11" fmla="*/ 340519 w 1359694"/>
              <a:gd name="connsiteY11" fmla="*/ 1333500 h 1333500"/>
              <a:gd name="connsiteX0" fmla="*/ 340519 w 2772569"/>
              <a:gd name="connsiteY0" fmla="*/ 3178175 h 3178175"/>
              <a:gd name="connsiteX1" fmla="*/ 2772569 w 2772569"/>
              <a:gd name="connsiteY1" fmla="*/ 0 h 3178175"/>
              <a:gd name="connsiteX2" fmla="*/ 909638 w 2772569"/>
              <a:gd name="connsiteY2" fmla="*/ 1901825 h 3178175"/>
              <a:gd name="connsiteX3" fmla="*/ 597694 w 2772569"/>
              <a:gd name="connsiteY3" fmla="*/ 2116138 h 3178175"/>
              <a:gd name="connsiteX4" fmla="*/ 442913 w 2772569"/>
              <a:gd name="connsiteY4" fmla="*/ 1982788 h 3178175"/>
              <a:gd name="connsiteX5" fmla="*/ 0 w 2772569"/>
              <a:gd name="connsiteY5" fmla="*/ 2070894 h 3178175"/>
              <a:gd name="connsiteX6" fmla="*/ 30956 w 2772569"/>
              <a:gd name="connsiteY6" fmla="*/ 2287588 h 3178175"/>
              <a:gd name="connsiteX7" fmla="*/ 623888 w 2772569"/>
              <a:gd name="connsiteY7" fmla="*/ 2285206 h 3178175"/>
              <a:gd name="connsiteX8" fmla="*/ 347663 w 2772569"/>
              <a:gd name="connsiteY8" fmla="*/ 2499519 h 3178175"/>
              <a:gd name="connsiteX9" fmla="*/ 435769 w 2772569"/>
              <a:gd name="connsiteY9" fmla="*/ 2754313 h 3178175"/>
              <a:gd name="connsiteX10" fmla="*/ 421481 w 2772569"/>
              <a:gd name="connsiteY10" fmla="*/ 2780506 h 3178175"/>
              <a:gd name="connsiteX11" fmla="*/ 340519 w 2772569"/>
              <a:gd name="connsiteY11" fmla="*/ 3178175 h 3178175"/>
              <a:gd name="connsiteX0" fmla="*/ 340519 w 2772569"/>
              <a:gd name="connsiteY0" fmla="*/ 3178175 h 3178175"/>
              <a:gd name="connsiteX1" fmla="*/ 2772569 w 2772569"/>
              <a:gd name="connsiteY1" fmla="*/ 0 h 3178175"/>
              <a:gd name="connsiteX2" fmla="*/ 1497807 w 2772569"/>
              <a:gd name="connsiteY2" fmla="*/ 863600 h 3178175"/>
              <a:gd name="connsiteX3" fmla="*/ 597694 w 2772569"/>
              <a:gd name="connsiteY3" fmla="*/ 2116138 h 3178175"/>
              <a:gd name="connsiteX4" fmla="*/ 442913 w 2772569"/>
              <a:gd name="connsiteY4" fmla="*/ 1982788 h 3178175"/>
              <a:gd name="connsiteX5" fmla="*/ 0 w 2772569"/>
              <a:gd name="connsiteY5" fmla="*/ 2070894 h 3178175"/>
              <a:gd name="connsiteX6" fmla="*/ 30956 w 2772569"/>
              <a:gd name="connsiteY6" fmla="*/ 2287588 h 3178175"/>
              <a:gd name="connsiteX7" fmla="*/ 623888 w 2772569"/>
              <a:gd name="connsiteY7" fmla="*/ 2285206 h 3178175"/>
              <a:gd name="connsiteX8" fmla="*/ 347663 w 2772569"/>
              <a:gd name="connsiteY8" fmla="*/ 2499519 h 3178175"/>
              <a:gd name="connsiteX9" fmla="*/ 435769 w 2772569"/>
              <a:gd name="connsiteY9" fmla="*/ 2754313 h 3178175"/>
              <a:gd name="connsiteX10" fmla="*/ 421481 w 2772569"/>
              <a:gd name="connsiteY10" fmla="*/ 2780506 h 3178175"/>
              <a:gd name="connsiteX11" fmla="*/ 340519 w 2772569"/>
              <a:gd name="connsiteY11" fmla="*/ 3178175 h 3178175"/>
              <a:gd name="connsiteX0" fmla="*/ 340519 w 2772569"/>
              <a:gd name="connsiteY0" fmla="*/ 3178175 h 3178175"/>
              <a:gd name="connsiteX1" fmla="*/ 2772569 w 2772569"/>
              <a:gd name="connsiteY1" fmla="*/ 0 h 3178175"/>
              <a:gd name="connsiteX2" fmla="*/ 1497807 w 2772569"/>
              <a:gd name="connsiteY2" fmla="*/ 863600 h 3178175"/>
              <a:gd name="connsiteX3" fmla="*/ 1097756 w 2772569"/>
              <a:gd name="connsiteY3" fmla="*/ 849313 h 3178175"/>
              <a:gd name="connsiteX4" fmla="*/ 442913 w 2772569"/>
              <a:gd name="connsiteY4" fmla="*/ 1982788 h 3178175"/>
              <a:gd name="connsiteX5" fmla="*/ 0 w 2772569"/>
              <a:gd name="connsiteY5" fmla="*/ 2070894 h 3178175"/>
              <a:gd name="connsiteX6" fmla="*/ 30956 w 2772569"/>
              <a:gd name="connsiteY6" fmla="*/ 2287588 h 3178175"/>
              <a:gd name="connsiteX7" fmla="*/ 623888 w 2772569"/>
              <a:gd name="connsiteY7" fmla="*/ 2285206 h 3178175"/>
              <a:gd name="connsiteX8" fmla="*/ 347663 w 2772569"/>
              <a:gd name="connsiteY8" fmla="*/ 2499519 h 3178175"/>
              <a:gd name="connsiteX9" fmla="*/ 435769 w 2772569"/>
              <a:gd name="connsiteY9" fmla="*/ 2754313 h 3178175"/>
              <a:gd name="connsiteX10" fmla="*/ 421481 w 2772569"/>
              <a:gd name="connsiteY10" fmla="*/ 2780506 h 3178175"/>
              <a:gd name="connsiteX11" fmla="*/ 340519 w 2772569"/>
              <a:gd name="connsiteY11" fmla="*/ 3178175 h 3178175"/>
              <a:gd name="connsiteX0" fmla="*/ 340519 w 2772569"/>
              <a:gd name="connsiteY0" fmla="*/ 3178175 h 3178175"/>
              <a:gd name="connsiteX1" fmla="*/ 2772569 w 2772569"/>
              <a:gd name="connsiteY1" fmla="*/ 0 h 3178175"/>
              <a:gd name="connsiteX2" fmla="*/ 1497807 w 2772569"/>
              <a:gd name="connsiteY2" fmla="*/ 863600 h 3178175"/>
              <a:gd name="connsiteX3" fmla="*/ 1097756 w 2772569"/>
              <a:gd name="connsiteY3" fmla="*/ 849313 h 3178175"/>
              <a:gd name="connsiteX4" fmla="*/ 759619 w 2772569"/>
              <a:gd name="connsiteY4" fmla="*/ 861219 h 3178175"/>
              <a:gd name="connsiteX5" fmla="*/ 0 w 2772569"/>
              <a:gd name="connsiteY5" fmla="*/ 2070894 h 3178175"/>
              <a:gd name="connsiteX6" fmla="*/ 30956 w 2772569"/>
              <a:gd name="connsiteY6" fmla="*/ 2287588 h 3178175"/>
              <a:gd name="connsiteX7" fmla="*/ 623888 w 2772569"/>
              <a:gd name="connsiteY7" fmla="*/ 2285206 h 3178175"/>
              <a:gd name="connsiteX8" fmla="*/ 347663 w 2772569"/>
              <a:gd name="connsiteY8" fmla="*/ 2499519 h 3178175"/>
              <a:gd name="connsiteX9" fmla="*/ 435769 w 2772569"/>
              <a:gd name="connsiteY9" fmla="*/ 2754313 h 3178175"/>
              <a:gd name="connsiteX10" fmla="*/ 421481 w 2772569"/>
              <a:gd name="connsiteY10" fmla="*/ 2780506 h 3178175"/>
              <a:gd name="connsiteX11" fmla="*/ 340519 w 2772569"/>
              <a:gd name="connsiteY11" fmla="*/ 3178175 h 3178175"/>
              <a:gd name="connsiteX0" fmla="*/ 309563 w 2741613"/>
              <a:gd name="connsiteY0" fmla="*/ 3178175 h 3178175"/>
              <a:gd name="connsiteX1" fmla="*/ 2741613 w 2741613"/>
              <a:gd name="connsiteY1" fmla="*/ 0 h 3178175"/>
              <a:gd name="connsiteX2" fmla="*/ 1466851 w 2741613"/>
              <a:gd name="connsiteY2" fmla="*/ 863600 h 3178175"/>
              <a:gd name="connsiteX3" fmla="*/ 1066800 w 2741613"/>
              <a:gd name="connsiteY3" fmla="*/ 849313 h 3178175"/>
              <a:gd name="connsiteX4" fmla="*/ 728663 w 2741613"/>
              <a:gd name="connsiteY4" fmla="*/ 861219 h 3178175"/>
              <a:gd name="connsiteX5" fmla="*/ 264319 w 2741613"/>
              <a:gd name="connsiteY5" fmla="*/ 923132 h 3178175"/>
              <a:gd name="connsiteX6" fmla="*/ 0 w 2741613"/>
              <a:gd name="connsiteY6" fmla="*/ 2287588 h 3178175"/>
              <a:gd name="connsiteX7" fmla="*/ 592932 w 2741613"/>
              <a:gd name="connsiteY7" fmla="*/ 2285206 h 3178175"/>
              <a:gd name="connsiteX8" fmla="*/ 316707 w 2741613"/>
              <a:gd name="connsiteY8" fmla="*/ 2499519 h 3178175"/>
              <a:gd name="connsiteX9" fmla="*/ 404813 w 2741613"/>
              <a:gd name="connsiteY9" fmla="*/ 2754313 h 3178175"/>
              <a:gd name="connsiteX10" fmla="*/ 390525 w 2741613"/>
              <a:gd name="connsiteY10" fmla="*/ 2780506 h 3178175"/>
              <a:gd name="connsiteX11" fmla="*/ 309563 w 2741613"/>
              <a:gd name="connsiteY11" fmla="*/ 3178175 h 3178175"/>
              <a:gd name="connsiteX0" fmla="*/ 309563 w 2741613"/>
              <a:gd name="connsiteY0" fmla="*/ 3178175 h 3178175"/>
              <a:gd name="connsiteX1" fmla="*/ 2741613 w 2741613"/>
              <a:gd name="connsiteY1" fmla="*/ 0 h 3178175"/>
              <a:gd name="connsiteX2" fmla="*/ 1466851 w 2741613"/>
              <a:gd name="connsiteY2" fmla="*/ 863600 h 3178175"/>
              <a:gd name="connsiteX3" fmla="*/ 1066800 w 2741613"/>
              <a:gd name="connsiteY3" fmla="*/ 849313 h 3178175"/>
              <a:gd name="connsiteX4" fmla="*/ 728663 w 2741613"/>
              <a:gd name="connsiteY4" fmla="*/ 861219 h 3178175"/>
              <a:gd name="connsiteX5" fmla="*/ 264319 w 2741613"/>
              <a:gd name="connsiteY5" fmla="*/ 923132 h 3178175"/>
              <a:gd name="connsiteX6" fmla="*/ 0 w 2741613"/>
              <a:gd name="connsiteY6" fmla="*/ 2287588 h 3178175"/>
              <a:gd name="connsiteX7" fmla="*/ 1378745 w 2741613"/>
              <a:gd name="connsiteY7" fmla="*/ 1339850 h 3178175"/>
              <a:gd name="connsiteX8" fmla="*/ 316707 w 2741613"/>
              <a:gd name="connsiteY8" fmla="*/ 2499519 h 3178175"/>
              <a:gd name="connsiteX9" fmla="*/ 404813 w 2741613"/>
              <a:gd name="connsiteY9" fmla="*/ 2754313 h 3178175"/>
              <a:gd name="connsiteX10" fmla="*/ 390525 w 2741613"/>
              <a:gd name="connsiteY10" fmla="*/ 2780506 h 3178175"/>
              <a:gd name="connsiteX11" fmla="*/ 309563 w 2741613"/>
              <a:gd name="connsiteY11" fmla="*/ 3178175 h 3178175"/>
              <a:gd name="connsiteX0" fmla="*/ 509588 w 2941638"/>
              <a:gd name="connsiteY0" fmla="*/ 3178175 h 3178175"/>
              <a:gd name="connsiteX1" fmla="*/ 2941638 w 2941638"/>
              <a:gd name="connsiteY1" fmla="*/ 0 h 3178175"/>
              <a:gd name="connsiteX2" fmla="*/ 1666876 w 2941638"/>
              <a:gd name="connsiteY2" fmla="*/ 863600 h 3178175"/>
              <a:gd name="connsiteX3" fmla="*/ 1266825 w 2941638"/>
              <a:gd name="connsiteY3" fmla="*/ 849313 h 3178175"/>
              <a:gd name="connsiteX4" fmla="*/ 928688 w 2941638"/>
              <a:gd name="connsiteY4" fmla="*/ 861219 h 3178175"/>
              <a:gd name="connsiteX5" fmla="*/ 464344 w 2941638"/>
              <a:gd name="connsiteY5" fmla="*/ 923132 h 3178175"/>
              <a:gd name="connsiteX6" fmla="*/ 0 w 2941638"/>
              <a:gd name="connsiteY6" fmla="*/ 1246982 h 3178175"/>
              <a:gd name="connsiteX7" fmla="*/ 1578770 w 2941638"/>
              <a:gd name="connsiteY7" fmla="*/ 1339850 h 3178175"/>
              <a:gd name="connsiteX8" fmla="*/ 516732 w 2941638"/>
              <a:gd name="connsiteY8" fmla="*/ 2499519 h 3178175"/>
              <a:gd name="connsiteX9" fmla="*/ 604838 w 2941638"/>
              <a:gd name="connsiteY9" fmla="*/ 2754313 h 3178175"/>
              <a:gd name="connsiteX10" fmla="*/ 590550 w 2941638"/>
              <a:gd name="connsiteY10" fmla="*/ 2780506 h 3178175"/>
              <a:gd name="connsiteX11" fmla="*/ 509588 w 2941638"/>
              <a:gd name="connsiteY11" fmla="*/ 3178175 h 3178175"/>
              <a:gd name="connsiteX0" fmla="*/ 509588 w 2941638"/>
              <a:gd name="connsiteY0" fmla="*/ 3178175 h 3178175"/>
              <a:gd name="connsiteX1" fmla="*/ 2941638 w 2941638"/>
              <a:gd name="connsiteY1" fmla="*/ 0 h 3178175"/>
              <a:gd name="connsiteX2" fmla="*/ 1666876 w 2941638"/>
              <a:gd name="connsiteY2" fmla="*/ 863600 h 3178175"/>
              <a:gd name="connsiteX3" fmla="*/ 1266825 w 2941638"/>
              <a:gd name="connsiteY3" fmla="*/ 849313 h 3178175"/>
              <a:gd name="connsiteX4" fmla="*/ 928688 w 2941638"/>
              <a:gd name="connsiteY4" fmla="*/ 861219 h 3178175"/>
              <a:gd name="connsiteX5" fmla="*/ 464344 w 2941638"/>
              <a:gd name="connsiteY5" fmla="*/ 923132 h 3178175"/>
              <a:gd name="connsiteX6" fmla="*/ 0 w 2941638"/>
              <a:gd name="connsiteY6" fmla="*/ 1246982 h 3178175"/>
              <a:gd name="connsiteX7" fmla="*/ 1212057 w 2941638"/>
              <a:gd name="connsiteY7" fmla="*/ 1075531 h 3178175"/>
              <a:gd name="connsiteX8" fmla="*/ 516732 w 2941638"/>
              <a:gd name="connsiteY8" fmla="*/ 2499519 h 3178175"/>
              <a:gd name="connsiteX9" fmla="*/ 604838 w 2941638"/>
              <a:gd name="connsiteY9" fmla="*/ 2754313 h 3178175"/>
              <a:gd name="connsiteX10" fmla="*/ 590550 w 2941638"/>
              <a:gd name="connsiteY10" fmla="*/ 2780506 h 3178175"/>
              <a:gd name="connsiteX11" fmla="*/ 509588 w 2941638"/>
              <a:gd name="connsiteY11" fmla="*/ 3178175 h 3178175"/>
              <a:gd name="connsiteX0" fmla="*/ 509588 w 2941638"/>
              <a:gd name="connsiteY0" fmla="*/ 3178175 h 3178175"/>
              <a:gd name="connsiteX1" fmla="*/ 2941638 w 2941638"/>
              <a:gd name="connsiteY1" fmla="*/ 0 h 3178175"/>
              <a:gd name="connsiteX2" fmla="*/ 1666876 w 2941638"/>
              <a:gd name="connsiteY2" fmla="*/ 863600 h 3178175"/>
              <a:gd name="connsiteX3" fmla="*/ 1266825 w 2941638"/>
              <a:gd name="connsiteY3" fmla="*/ 849313 h 3178175"/>
              <a:gd name="connsiteX4" fmla="*/ 928688 w 2941638"/>
              <a:gd name="connsiteY4" fmla="*/ 861219 h 3178175"/>
              <a:gd name="connsiteX5" fmla="*/ 464344 w 2941638"/>
              <a:gd name="connsiteY5" fmla="*/ 923132 h 3178175"/>
              <a:gd name="connsiteX6" fmla="*/ 0 w 2941638"/>
              <a:gd name="connsiteY6" fmla="*/ 1246982 h 3178175"/>
              <a:gd name="connsiteX7" fmla="*/ 1123951 w 2941638"/>
              <a:gd name="connsiteY7" fmla="*/ 1194593 h 3178175"/>
              <a:gd name="connsiteX8" fmla="*/ 516732 w 2941638"/>
              <a:gd name="connsiteY8" fmla="*/ 2499519 h 3178175"/>
              <a:gd name="connsiteX9" fmla="*/ 604838 w 2941638"/>
              <a:gd name="connsiteY9" fmla="*/ 2754313 h 3178175"/>
              <a:gd name="connsiteX10" fmla="*/ 590550 w 2941638"/>
              <a:gd name="connsiteY10" fmla="*/ 2780506 h 3178175"/>
              <a:gd name="connsiteX11" fmla="*/ 509588 w 2941638"/>
              <a:gd name="connsiteY11" fmla="*/ 3178175 h 3178175"/>
              <a:gd name="connsiteX0" fmla="*/ 509588 w 2941638"/>
              <a:gd name="connsiteY0" fmla="*/ 3178175 h 3178175"/>
              <a:gd name="connsiteX1" fmla="*/ 2941638 w 2941638"/>
              <a:gd name="connsiteY1" fmla="*/ 0 h 3178175"/>
              <a:gd name="connsiteX2" fmla="*/ 1666876 w 2941638"/>
              <a:gd name="connsiteY2" fmla="*/ 863600 h 3178175"/>
              <a:gd name="connsiteX3" fmla="*/ 1266825 w 2941638"/>
              <a:gd name="connsiteY3" fmla="*/ 849313 h 3178175"/>
              <a:gd name="connsiteX4" fmla="*/ 928688 w 2941638"/>
              <a:gd name="connsiteY4" fmla="*/ 861219 h 3178175"/>
              <a:gd name="connsiteX5" fmla="*/ 464344 w 2941638"/>
              <a:gd name="connsiteY5" fmla="*/ 923132 h 3178175"/>
              <a:gd name="connsiteX6" fmla="*/ 0 w 2941638"/>
              <a:gd name="connsiteY6" fmla="*/ 1246982 h 3178175"/>
              <a:gd name="connsiteX7" fmla="*/ 1123951 w 2941638"/>
              <a:gd name="connsiteY7" fmla="*/ 1194593 h 3178175"/>
              <a:gd name="connsiteX8" fmla="*/ 1550194 w 2941638"/>
              <a:gd name="connsiteY8" fmla="*/ 1170781 h 3178175"/>
              <a:gd name="connsiteX9" fmla="*/ 604838 w 2941638"/>
              <a:gd name="connsiteY9" fmla="*/ 2754313 h 3178175"/>
              <a:gd name="connsiteX10" fmla="*/ 590550 w 2941638"/>
              <a:gd name="connsiteY10" fmla="*/ 2780506 h 3178175"/>
              <a:gd name="connsiteX11" fmla="*/ 509588 w 2941638"/>
              <a:gd name="connsiteY11" fmla="*/ 3178175 h 3178175"/>
              <a:gd name="connsiteX0" fmla="*/ 509588 w 2941638"/>
              <a:gd name="connsiteY0" fmla="*/ 3178175 h 3178175"/>
              <a:gd name="connsiteX1" fmla="*/ 2941638 w 2941638"/>
              <a:gd name="connsiteY1" fmla="*/ 0 h 3178175"/>
              <a:gd name="connsiteX2" fmla="*/ 1666876 w 2941638"/>
              <a:gd name="connsiteY2" fmla="*/ 863600 h 3178175"/>
              <a:gd name="connsiteX3" fmla="*/ 1266825 w 2941638"/>
              <a:gd name="connsiteY3" fmla="*/ 849313 h 3178175"/>
              <a:gd name="connsiteX4" fmla="*/ 928688 w 2941638"/>
              <a:gd name="connsiteY4" fmla="*/ 861219 h 3178175"/>
              <a:gd name="connsiteX5" fmla="*/ 464344 w 2941638"/>
              <a:gd name="connsiteY5" fmla="*/ 923132 h 3178175"/>
              <a:gd name="connsiteX6" fmla="*/ 0 w 2941638"/>
              <a:gd name="connsiteY6" fmla="*/ 1246982 h 3178175"/>
              <a:gd name="connsiteX7" fmla="*/ 1123951 w 2941638"/>
              <a:gd name="connsiteY7" fmla="*/ 1194593 h 3178175"/>
              <a:gd name="connsiteX8" fmla="*/ 1550194 w 2941638"/>
              <a:gd name="connsiteY8" fmla="*/ 1170781 h 3178175"/>
              <a:gd name="connsiteX9" fmla="*/ 590550 w 2941638"/>
              <a:gd name="connsiteY9" fmla="*/ 2780506 h 3178175"/>
              <a:gd name="connsiteX10" fmla="*/ 509588 w 2941638"/>
              <a:gd name="connsiteY10" fmla="*/ 3178175 h 3178175"/>
              <a:gd name="connsiteX0" fmla="*/ 509588 w 2941638"/>
              <a:gd name="connsiteY0" fmla="*/ 3178175 h 3178175"/>
              <a:gd name="connsiteX1" fmla="*/ 2941638 w 2941638"/>
              <a:gd name="connsiteY1" fmla="*/ 0 h 3178175"/>
              <a:gd name="connsiteX2" fmla="*/ 1666876 w 2941638"/>
              <a:gd name="connsiteY2" fmla="*/ 863600 h 3178175"/>
              <a:gd name="connsiteX3" fmla="*/ 1266825 w 2941638"/>
              <a:gd name="connsiteY3" fmla="*/ 849313 h 3178175"/>
              <a:gd name="connsiteX4" fmla="*/ 928688 w 2941638"/>
              <a:gd name="connsiteY4" fmla="*/ 861219 h 3178175"/>
              <a:gd name="connsiteX5" fmla="*/ 464344 w 2941638"/>
              <a:gd name="connsiteY5" fmla="*/ 923132 h 3178175"/>
              <a:gd name="connsiteX6" fmla="*/ 0 w 2941638"/>
              <a:gd name="connsiteY6" fmla="*/ 1246982 h 3178175"/>
              <a:gd name="connsiteX7" fmla="*/ 1123951 w 2941638"/>
              <a:gd name="connsiteY7" fmla="*/ 1194593 h 3178175"/>
              <a:gd name="connsiteX8" fmla="*/ 1550194 w 2941638"/>
              <a:gd name="connsiteY8" fmla="*/ 1170781 h 3178175"/>
              <a:gd name="connsiteX9" fmla="*/ 1076325 w 2941638"/>
              <a:gd name="connsiteY9" fmla="*/ 1213643 h 3178175"/>
              <a:gd name="connsiteX10" fmla="*/ 509588 w 2941638"/>
              <a:gd name="connsiteY10" fmla="*/ 3178175 h 3178175"/>
              <a:gd name="connsiteX0" fmla="*/ 823912 w 3255962"/>
              <a:gd name="connsiteY0" fmla="*/ 3178175 h 3178175"/>
              <a:gd name="connsiteX1" fmla="*/ 3255962 w 3255962"/>
              <a:gd name="connsiteY1" fmla="*/ 0 h 3178175"/>
              <a:gd name="connsiteX2" fmla="*/ 1981200 w 3255962"/>
              <a:gd name="connsiteY2" fmla="*/ 863600 h 3178175"/>
              <a:gd name="connsiteX3" fmla="*/ 1581149 w 3255962"/>
              <a:gd name="connsiteY3" fmla="*/ 849313 h 3178175"/>
              <a:gd name="connsiteX4" fmla="*/ 1243012 w 3255962"/>
              <a:gd name="connsiteY4" fmla="*/ 861219 h 3178175"/>
              <a:gd name="connsiteX5" fmla="*/ 778668 w 3255962"/>
              <a:gd name="connsiteY5" fmla="*/ 923132 h 3178175"/>
              <a:gd name="connsiteX6" fmla="*/ 314324 w 3255962"/>
              <a:gd name="connsiteY6" fmla="*/ 1246982 h 3178175"/>
              <a:gd name="connsiteX7" fmla="*/ 1438275 w 3255962"/>
              <a:gd name="connsiteY7" fmla="*/ 1194593 h 3178175"/>
              <a:gd name="connsiteX8" fmla="*/ 0 w 3255962"/>
              <a:gd name="connsiteY8" fmla="*/ 1604169 h 3178175"/>
              <a:gd name="connsiteX9" fmla="*/ 1390649 w 3255962"/>
              <a:gd name="connsiteY9" fmla="*/ 1213643 h 3178175"/>
              <a:gd name="connsiteX10" fmla="*/ 823912 w 3255962"/>
              <a:gd name="connsiteY10" fmla="*/ 3178175 h 3178175"/>
              <a:gd name="connsiteX0" fmla="*/ 823912 w 3255962"/>
              <a:gd name="connsiteY0" fmla="*/ 3178175 h 3178175"/>
              <a:gd name="connsiteX1" fmla="*/ 3255962 w 3255962"/>
              <a:gd name="connsiteY1" fmla="*/ 0 h 3178175"/>
              <a:gd name="connsiteX2" fmla="*/ 1981200 w 3255962"/>
              <a:gd name="connsiteY2" fmla="*/ 863600 h 3178175"/>
              <a:gd name="connsiteX3" fmla="*/ 1581149 w 3255962"/>
              <a:gd name="connsiteY3" fmla="*/ 849313 h 3178175"/>
              <a:gd name="connsiteX4" fmla="*/ 1243012 w 3255962"/>
              <a:gd name="connsiteY4" fmla="*/ 861219 h 3178175"/>
              <a:gd name="connsiteX5" fmla="*/ 778668 w 3255962"/>
              <a:gd name="connsiteY5" fmla="*/ 923132 h 3178175"/>
              <a:gd name="connsiteX6" fmla="*/ 314324 w 3255962"/>
              <a:gd name="connsiteY6" fmla="*/ 1246982 h 3178175"/>
              <a:gd name="connsiteX7" fmla="*/ 169069 w 3255962"/>
              <a:gd name="connsiteY7" fmla="*/ 1235074 h 3178175"/>
              <a:gd name="connsiteX8" fmla="*/ 0 w 3255962"/>
              <a:gd name="connsiteY8" fmla="*/ 1604169 h 3178175"/>
              <a:gd name="connsiteX9" fmla="*/ 1390649 w 3255962"/>
              <a:gd name="connsiteY9" fmla="*/ 1213643 h 3178175"/>
              <a:gd name="connsiteX10" fmla="*/ 823912 w 3255962"/>
              <a:gd name="connsiteY10" fmla="*/ 3178175 h 3178175"/>
              <a:gd name="connsiteX0" fmla="*/ 823912 w 3255962"/>
              <a:gd name="connsiteY0" fmla="*/ 3178175 h 3178175"/>
              <a:gd name="connsiteX1" fmla="*/ 3255962 w 3255962"/>
              <a:gd name="connsiteY1" fmla="*/ 0 h 3178175"/>
              <a:gd name="connsiteX2" fmla="*/ 1981200 w 3255962"/>
              <a:gd name="connsiteY2" fmla="*/ 863600 h 3178175"/>
              <a:gd name="connsiteX3" fmla="*/ 1581149 w 3255962"/>
              <a:gd name="connsiteY3" fmla="*/ 849313 h 3178175"/>
              <a:gd name="connsiteX4" fmla="*/ 1243012 w 3255962"/>
              <a:gd name="connsiteY4" fmla="*/ 861219 h 3178175"/>
              <a:gd name="connsiteX5" fmla="*/ 778668 w 3255962"/>
              <a:gd name="connsiteY5" fmla="*/ 923132 h 3178175"/>
              <a:gd name="connsiteX6" fmla="*/ 314324 w 3255962"/>
              <a:gd name="connsiteY6" fmla="*/ 1246982 h 3178175"/>
              <a:gd name="connsiteX7" fmla="*/ 440531 w 3255962"/>
              <a:gd name="connsiteY7" fmla="*/ 273049 h 3178175"/>
              <a:gd name="connsiteX8" fmla="*/ 0 w 3255962"/>
              <a:gd name="connsiteY8" fmla="*/ 1604169 h 3178175"/>
              <a:gd name="connsiteX9" fmla="*/ 1390649 w 3255962"/>
              <a:gd name="connsiteY9" fmla="*/ 1213643 h 3178175"/>
              <a:gd name="connsiteX10" fmla="*/ 823912 w 3255962"/>
              <a:gd name="connsiteY10" fmla="*/ 3178175 h 3178175"/>
              <a:gd name="connsiteX0" fmla="*/ 823912 w 3255962"/>
              <a:gd name="connsiteY0" fmla="*/ 3178175 h 3178175"/>
              <a:gd name="connsiteX1" fmla="*/ 3255962 w 3255962"/>
              <a:gd name="connsiteY1" fmla="*/ 0 h 3178175"/>
              <a:gd name="connsiteX2" fmla="*/ 1981200 w 3255962"/>
              <a:gd name="connsiteY2" fmla="*/ 863600 h 3178175"/>
              <a:gd name="connsiteX3" fmla="*/ 1581149 w 3255962"/>
              <a:gd name="connsiteY3" fmla="*/ 849313 h 3178175"/>
              <a:gd name="connsiteX4" fmla="*/ 1243012 w 3255962"/>
              <a:gd name="connsiteY4" fmla="*/ 861219 h 3178175"/>
              <a:gd name="connsiteX5" fmla="*/ 778668 w 3255962"/>
              <a:gd name="connsiteY5" fmla="*/ 923132 h 3178175"/>
              <a:gd name="connsiteX6" fmla="*/ 1112043 w 3255962"/>
              <a:gd name="connsiteY6" fmla="*/ 330201 h 3178175"/>
              <a:gd name="connsiteX7" fmla="*/ 440531 w 3255962"/>
              <a:gd name="connsiteY7" fmla="*/ 273049 h 3178175"/>
              <a:gd name="connsiteX8" fmla="*/ 0 w 3255962"/>
              <a:gd name="connsiteY8" fmla="*/ 1604169 h 3178175"/>
              <a:gd name="connsiteX9" fmla="*/ 1390649 w 3255962"/>
              <a:gd name="connsiteY9" fmla="*/ 1213643 h 3178175"/>
              <a:gd name="connsiteX10" fmla="*/ 823912 w 3255962"/>
              <a:gd name="connsiteY10" fmla="*/ 3178175 h 3178175"/>
              <a:gd name="connsiteX0" fmla="*/ 823912 w 3255962"/>
              <a:gd name="connsiteY0" fmla="*/ 3178175 h 3178175"/>
              <a:gd name="connsiteX1" fmla="*/ 3255962 w 3255962"/>
              <a:gd name="connsiteY1" fmla="*/ 0 h 3178175"/>
              <a:gd name="connsiteX2" fmla="*/ 1895475 w 3255962"/>
              <a:gd name="connsiteY2" fmla="*/ 213519 h 3178175"/>
              <a:gd name="connsiteX3" fmla="*/ 1581149 w 3255962"/>
              <a:gd name="connsiteY3" fmla="*/ 849313 h 3178175"/>
              <a:gd name="connsiteX4" fmla="*/ 1243012 w 3255962"/>
              <a:gd name="connsiteY4" fmla="*/ 861219 h 3178175"/>
              <a:gd name="connsiteX5" fmla="*/ 778668 w 3255962"/>
              <a:gd name="connsiteY5" fmla="*/ 923132 h 3178175"/>
              <a:gd name="connsiteX6" fmla="*/ 1112043 w 3255962"/>
              <a:gd name="connsiteY6" fmla="*/ 330201 h 3178175"/>
              <a:gd name="connsiteX7" fmla="*/ 440531 w 3255962"/>
              <a:gd name="connsiteY7" fmla="*/ 273049 h 3178175"/>
              <a:gd name="connsiteX8" fmla="*/ 0 w 3255962"/>
              <a:gd name="connsiteY8" fmla="*/ 1604169 h 3178175"/>
              <a:gd name="connsiteX9" fmla="*/ 1390649 w 3255962"/>
              <a:gd name="connsiteY9" fmla="*/ 1213643 h 3178175"/>
              <a:gd name="connsiteX10" fmla="*/ 823912 w 3255962"/>
              <a:gd name="connsiteY10" fmla="*/ 3178175 h 3178175"/>
              <a:gd name="connsiteX0" fmla="*/ 823912 w 3255962"/>
              <a:gd name="connsiteY0" fmla="*/ 3521868 h 3521868"/>
              <a:gd name="connsiteX1" fmla="*/ 3255962 w 3255962"/>
              <a:gd name="connsiteY1" fmla="*/ 343693 h 3521868"/>
              <a:gd name="connsiteX2" fmla="*/ 1895475 w 3255962"/>
              <a:gd name="connsiteY2" fmla="*/ 557212 h 3521868"/>
              <a:gd name="connsiteX3" fmla="*/ 2035968 w 3255962"/>
              <a:gd name="connsiteY3" fmla="*/ 0 h 3521868"/>
              <a:gd name="connsiteX4" fmla="*/ 1243012 w 3255962"/>
              <a:gd name="connsiteY4" fmla="*/ 1204912 h 3521868"/>
              <a:gd name="connsiteX5" fmla="*/ 778668 w 3255962"/>
              <a:gd name="connsiteY5" fmla="*/ 1266825 h 3521868"/>
              <a:gd name="connsiteX6" fmla="*/ 1112043 w 3255962"/>
              <a:gd name="connsiteY6" fmla="*/ 673894 h 3521868"/>
              <a:gd name="connsiteX7" fmla="*/ 440531 w 3255962"/>
              <a:gd name="connsiteY7" fmla="*/ 616742 h 3521868"/>
              <a:gd name="connsiteX8" fmla="*/ 0 w 3255962"/>
              <a:gd name="connsiteY8" fmla="*/ 1947862 h 3521868"/>
              <a:gd name="connsiteX9" fmla="*/ 1390649 w 3255962"/>
              <a:gd name="connsiteY9" fmla="*/ 1557336 h 3521868"/>
              <a:gd name="connsiteX10" fmla="*/ 823912 w 3255962"/>
              <a:gd name="connsiteY10" fmla="*/ 3521868 h 3521868"/>
              <a:gd name="connsiteX0" fmla="*/ 823912 w 3255962"/>
              <a:gd name="connsiteY0" fmla="*/ 4400549 h 4400549"/>
              <a:gd name="connsiteX1" fmla="*/ 3255962 w 3255962"/>
              <a:gd name="connsiteY1" fmla="*/ 1222374 h 4400549"/>
              <a:gd name="connsiteX2" fmla="*/ 1895475 w 3255962"/>
              <a:gd name="connsiteY2" fmla="*/ 1435893 h 4400549"/>
              <a:gd name="connsiteX3" fmla="*/ 2340768 w 3255962"/>
              <a:gd name="connsiteY3" fmla="*/ 0 h 4400549"/>
              <a:gd name="connsiteX4" fmla="*/ 1243012 w 3255962"/>
              <a:gd name="connsiteY4" fmla="*/ 2083593 h 4400549"/>
              <a:gd name="connsiteX5" fmla="*/ 778668 w 3255962"/>
              <a:gd name="connsiteY5" fmla="*/ 2145506 h 4400549"/>
              <a:gd name="connsiteX6" fmla="*/ 1112043 w 3255962"/>
              <a:gd name="connsiteY6" fmla="*/ 1552575 h 4400549"/>
              <a:gd name="connsiteX7" fmla="*/ 440531 w 3255962"/>
              <a:gd name="connsiteY7" fmla="*/ 1495423 h 4400549"/>
              <a:gd name="connsiteX8" fmla="*/ 0 w 3255962"/>
              <a:gd name="connsiteY8" fmla="*/ 2826543 h 4400549"/>
              <a:gd name="connsiteX9" fmla="*/ 1390649 w 3255962"/>
              <a:gd name="connsiteY9" fmla="*/ 2436017 h 4400549"/>
              <a:gd name="connsiteX10" fmla="*/ 823912 w 3255962"/>
              <a:gd name="connsiteY10" fmla="*/ 4400549 h 4400549"/>
              <a:gd name="connsiteX0" fmla="*/ 823912 w 3255962"/>
              <a:gd name="connsiteY0" fmla="*/ 4400549 h 4400549"/>
              <a:gd name="connsiteX1" fmla="*/ 3255962 w 3255962"/>
              <a:gd name="connsiteY1" fmla="*/ 1222374 h 4400549"/>
              <a:gd name="connsiteX2" fmla="*/ 1895475 w 3255962"/>
              <a:gd name="connsiteY2" fmla="*/ 1435893 h 4400549"/>
              <a:gd name="connsiteX3" fmla="*/ 2340768 w 3255962"/>
              <a:gd name="connsiteY3" fmla="*/ 0 h 4400549"/>
              <a:gd name="connsiteX4" fmla="*/ 778668 w 3255962"/>
              <a:gd name="connsiteY4" fmla="*/ 2145506 h 4400549"/>
              <a:gd name="connsiteX5" fmla="*/ 1112043 w 3255962"/>
              <a:gd name="connsiteY5" fmla="*/ 1552575 h 4400549"/>
              <a:gd name="connsiteX6" fmla="*/ 440531 w 3255962"/>
              <a:gd name="connsiteY6" fmla="*/ 1495423 h 4400549"/>
              <a:gd name="connsiteX7" fmla="*/ 0 w 3255962"/>
              <a:gd name="connsiteY7" fmla="*/ 2826543 h 4400549"/>
              <a:gd name="connsiteX8" fmla="*/ 1390649 w 3255962"/>
              <a:gd name="connsiteY8" fmla="*/ 2436017 h 4400549"/>
              <a:gd name="connsiteX9" fmla="*/ 823912 w 3255962"/>
              <a:gd name="connsiteY9" fmla="*/ 4400549 h 4400549"/>
              <a:gd name="connsiteX0" fmla="*/ 823912 w 3255962"/>
              <a:gd name="connsiteY0" fmla="*/ 4400549 h 4400549"/>
              <a:gd name="connsiteX1" fmla="*/ 3255962 w 3255962"/>
              <a:gd name="connsiteY1" fmla="*/ 1222374 h 4400549"/>
              <a:gd name="connsiteX2" fmla="*/ 1895475 w 3255962"/>
              <a:gd name="connsiteY2" fmla="*/ 1435893 h 4400549"/>
              <a:gd name="connsiteX3" fmla="*/ 2340768 w 3255962"/>
              <a:gd name="connsiteY3" fmla="*/ 0 h 4400549"/>
              <a:gd name="connsiteX4" fmla="*/ 1112043 w 3255962"/>
              <a:gd name="connsiteY4" fmla="*/ 1552575 h 4400549"/>
              <a:gd name="connsiteX5" fmla="*/ 440531 w 3255962"/>
              <a:gd name="connsiteY5" fmla="*/ 1495423 h 4400549"/>
              <a:gd name="connsiteX6" fmla="*/ 0 w 3255962"/>
              <a:gd name="connsiteY6" fmla="*/ 2826543 h 4400549"/>
              <a:gd name="connsiteX7" fmla="*/ 1390649 w 3255962"/>
              <a:gd name="connsiteY7" fmla="*/ 2436017 h 4400549"/>
              <a:gd name="connsiteX8" fmla="*/ 823912 w 3255962"/>
              <a:gd name="connsiteY8" fmla="*/ 4400549 h 4400549"/>
              <a:gd name="connsiteX0" fmla="*/ 823912 w 3255962"/>
              <a:gd name="connsiteY0" fmla="*/ 4400549 h 4400549"/>
              <a:gd name="connsiteX1" fmla="*/ 3255962 w 3255962"/>
              <a:gd name="connsiteY1" fmla="*/ 1222374 h 4400549"/>
              <a:gd name="connsiteX2" fmla="*/ 1895475 w 3255962"/>
              <a:gd name="connsiteY2" fmla="*/ 1435893 h 4400549"/>
              <a:gd name="connsiteX3" fmla="*/ 2340768 w 3255962"/>
              <a:gd name="connsiteY3" fmla="*/ 0 h 4400549"/>
              <a:gd name="connsiteX4" fmla="*/ 1259680 w 3255962"/>
              <a:gd name="connsiteY4" fmla="*/ 435769 h 4400549"/>
              <a:gd name="connsiteX5" fmla="*/ 440531 w 3255962"/>
              <a:gd name="connsiteY5" fmla="*/ 1495423 h 4400549"/>
              <a:gd name="connsiteX6" fmla="*/ 0 w 3255962"/>
              <a:gd name="connsiteY6" fmla="*/ 2826543 h 4400549"/>
              <a:gd name="connsiteX7" fmla="*/ 1390649 w 3255962"/>
              <a:gd name="connsiteY7" fmla="*/ 2436017 h 4400549"/>
              <a:gd name="connsiteX8" fmla="*/ 823912 w 3255962"/>
              <a:gd name="connsiteY8" fmla="*/ 4400549 h 4400549"/>
              <a:gd name="connsiteX0" fmla="*/ 823912 w 3255962"/>
              <a:gd name="connsiteY0" fmla="*/ 4400549 h 4400549"/>
              <a:gd name="connsiteX1" fmla="*/ 3255962 w 3255962"/>
              <a:gd name="connsiteY1" fmla="*/ 1222374 h 4400549"/>
              <a:gd name="connsiteX2" fmla="*/ 1895475 w 3255962"/>
              <a:gd name="connsiteY2" fmla="*/ 1435893 h 4400549"/>
              <a:gd name="connsiteX3" fmla="*/ 2340768 w 3255962"/>
              <a:gd name="connsiteY3" fmla="*/ 0 h 4400549"/>
              <a:gd name="connsiteX4" fmla="*/ 440531 w 3255962"/>
              <a:gd name="connsiteY4" fmla="*/ 1495423 h 4400549"/>
              <a:gd name="connsiteX5" fmla="*/ 0 w 3255962"/>
              <a:gd name="connsiteY5" fmla="*/ 2826543 h 4400549"/>
              <a:gd name="connsiteX6" fmla="*/ 1390649 w 3255962"/>
              <a:gd name="connsiteY6" fmla="*/ 2436017 h 4400549"/>
              <a:gd name="connsiteX7" fmla="*/ 823912 w 3255962"/>
              <a:gd name="connsiteY7" fmla="*/ 4400549 h 4400549"/>
              <a:gd name="connsiteX0" fmla="*/ 823912 w 3255962"/>
              <a:gd name="connsiteY0" fmla="*/ 4431508 h 4431508"/>
              <a:gd name="connsiteX1" fmla="*/ 3255962 w 3255962"/>
              <a:gd name="connsiteY1" fmla="*/ 1253333 h 4431508"/>
              <a:gd name="connsiteX2" fmla="*/ 1895475 w 3255962"/>
              <a:gd name="connsiteY2" fmla="*/ 1466852 h 4431508"/>
              <a:gd name="connsiteX3" fmla="*/ 2340768 w 3255962"/>
              <a:gd name="connsiteY3" fmla="*/ 30959 h 4431508"/>
              <a:gd name="connsiteX4" fmla="*/ 1057275 w 3255962"/>
              <a:gd name="connsiteY4" fmla="*/ 0 h 4431508"/>
              <a:gd name="connsiteX5" fmla="*/ 0 w 3255962"/>
              <a:gd name="connsiteY5" fmla="*/ 2857502 h 4431508"/>
              <a:gd name="connsiteX6" fmla="*/ 1390649 w 3255962"/>
              <a:gd name="connsiteY6" fmla="*/ 2466976 h 4431508"/>
              <a:gd name="connsiteX7" fmla="*/ 823912 w 3255962"/>
              <a:gd name="connsiteY7" fmla="*/ 4431508 h 4431508"/>
              <a:gd name="connsiteX0" fmla="*/ 823912 w 3255962"/>
              <a:gd name="connsiteY0" fmla="*/ 5553077 h 5553077"/>
              <a:gd name="connsiteX1" fmla="*/ 3255962 w 3255962"/>
              <a:gd name="connsiteY1" fmla="*/ 2374902 h 5553077"/>
              <a:gd name="connsiteX2" fmla="*/ 1895475 w 3255962"/>
              <a:gd name="connsiteY2" fmla="*/ 2588421 h 5553077"/>
              <a:gd name="connsiteX3" fmla="*/ 2340768 w 3255962"/>
              <a:gd name="connsiteY3" fmla="*/ 1152528 h 5553077"/>
              <a:gd name="connsiteX4" fmla="*/ 1302544 w 3255962"/>
              <a:gd name="connsiteY4" fmla="*/ 0 h 5553077"/>
              <a:gd name="connsiteX5" fmla="*/ 0 w 3255962"/>
              <a:gd name="connsiteY5" fmla="*/ 3979071 h 5553077"/>
              <a:gd name="connsiteX6" fmla="*/ 1390649 w 3255962"/>
              <a:gd name="connsiteY6" fmla="*/ 3588545 h 5553077"/>
              <a:gd name="connsiteX7" fmla="*/ 823912 w 3255962"/>
              <a:gd name="connsiteY7" fmla="*/ 5553077 h 5553077"/>
              <a:gd name="connsiteX0" fmla="*/ 823912 w 3255962"/>
              <a:gd name="connsiteY0" fmla="*/ 5564980 h 5564980"/>
              <a:gd name="connsiteX1" fmla="*/ 3255962 w 3255962"/>
              <a:gd name="connsiteY1" fmla="*/ 2386805 h 5564980"/>
              <a:gd name="connsiteX2" fmla="*/ 1895475 w 3255962"/>
              <a:gd name="connsiteY2" fmla="*/ 2600324 h 5564980"/>
              <a:gd name="connsiteX3" fmla="*/ 2712243 w 3255962"/>
              <a:gd name="connsiteY3" fmla="*/ 0 h 5564980"/>
              <a:gd name="connsiteX4" fmla="*/ 1302544 w 3255962"/>
              <a:gd name="connsiteY4" fmla="*/ 11903 h 5564980"/>
              <a:gd name="connsiteX5" fmla="*/ 0 w 3255962"/>
              <a:gd name="connsiteY5" fmla="*/ 3990974 h 5564980"/>
              <a:gd name="connsiteX6" fmla="*/ 1390649 w 3255962"/>
              <a:gd name="connsiteY6" fmla="*/ 3600448 h 5564980"/>
              <a:gd name="connsiteX7" fmla="*/ 823912 w 3255962"/>
              <a:gd name="connsiteY7" fmla="*/ 5564980 h 5564980"/>
              <a:gd name="connsiteX0" fmla="*/ 823912 w 3255962"/>
              <a:gd name="connsiteY0" fmla="*/ 5556102 h 5556102"/>
              <a:gd name="connsiteX1" fmla="*/ 3255962 w 3255962"/>
              <a:gd name="connsiteY1" fmla="*/ 2377927 h 5556102"/>
              <a:gd name="connsiteX2" fmla="*/ 1895475 w 3255962"/>
              <a:gd name="connsiteY2" fmla="*/ 2591446 h 5556102"/>
              <a:gd name="connsiteX3" fmla="*/ 2712243 w 3255962"/>
              <a:gd name="connsiteY3" fmla="*/ 0 h 5556102"/>
              <a:gd name="connsiteX4" fmla="*/ 1302544 w 3255962"/>
              <a:gd name="connsiteY4" fmla="*/ 3025 h 5556102"/>
              <a:gd name="connsiteX5" fmla="*/ 0 w 3255962"/>
              <a:gd name="connsiteY5" fmla="*/ 3982096 h 5556102"/>
              <a:gd name="connsiteX6" fmla="*/ 1390649 w 3255962"/>
              <a:gd name="connsiteY6" fmla="*/ 3591570 h 5556102"/>
              <a:gd name="connsiteX7" fmla="*/ 823912 w 3255962"/>
              <a:gd name="connsiteY7" fmla="*/ 5556102 h 5556102"/>
              <a:gd name="connsiteX0" fmla="*/ 823912 w 3255962"/>
              <a:gd name="connsiteY0" fmla="*/ 5884576 h 5884576"/>
              <a:gd name="connsiteX1" fmla="*/ 3255962 w 3255962"/>
              <a:gd name="connsiteY1" fmla="*/ 2706401 h 5884576"/>
              <a:gd name="connsiteX2" fmla="*/ 1895475 w 3255962"/>
              <a:gd name="connsiteY2" fmla="*/ 2919920 h 5884576"/>
              <a:gd name="connsiteX3" fmla="*/ 2818775 w 3255962"/>
              <a:gd name="connsiteY3" fmla="*/ 0 h 5884576"/>
              <a:gd name="connsiteX4" fmla="*/ 1302544 w 3255962"/>
              <a:gd name="connsiteY4" fmla="*/ 331499 h 5884576"/>
              <a:gd name="connsiteX5" fmla="*/ 0 w 3255962"/>
              <a:gd name="connsiteY5" fmla="*/ 4310570 h 5884576"/>
              <a:gd name="connsiteX6" fmla="*/ 1390649 w 3255962"/>
              <a:gd name="connsiteY6" fmla="*/ 3920044 h 5884576"/>
              <a:gd name="connsiteX7" fmla="*/ 823912 w 3255962"/>
              <a:gd name="connsiteY7" fmla="*/ 5884576 h 5884576"/>
              <a:gd name="connsiteX0" fmla="*/ 823912 w 3255962"/>
              <a:gd name="connsiteY0" fmla="*/ 5884576 h 5884576"/>
              <a:gd name="connsiteX1" fmla="*/ 3255962 w 3255962"/>
              <a:gd name="connsiteY1" fmla="*/ 2706401 h 5884576"/>
              <a:gd name="connsiteX2" fmla="*/ 1895475 w 3255962"/>
              <a:gd name="connsiteY2" fmla="*/ 2919920 h 5884576"/>
              <a:gd name="connsiteX3" fmla="*/ 2818775 w 3255962"/>
              <a:gd name="connsiteY3" fmla="*/ 0 h 5884576"/>
              <a:gd name="connsiteX4" fmla="*/ 1391321 w 3255962"/>
              <a:gd name="connsiteY4" fmla="*/ 20781 h 5884576"/>
              <a:gd name="connsiteX5" fmla="*/ 0 w 3255962"/>
              <a:gd name="connsiteY5" fmla="*/ 4310570 h 5884576"/>
              <a:gd name="connsiteX6" fmla="*/ 1390649 w 3255962"/>
              <a:gd name="connsiteY6" fmla="*/ 3920044 h 5884576"/>
              <a:gd name="connsiteX7" fmla="*/ 823912 w 3255962"/>
              <a:gd name="connsiteY7" fmla="*/ 5884576 h 5884576"/>
              <a:gd name="connsiteX0" fmla="*/ 823912 w 3255962"/>
              <a:gd name="connsiteY0" fmla="*/ 5875698 h 5875698"/>
              <a:gd name="connsiteX1" fmla="*/ 3255962 w 3255962"/>
              <a:gd name="connsiteY1" fmla="*/ 2697523 h 5875698"/>
              <a:gd name="connsiteX2" fmla="*/ 1895475 w 3255962"/>
              <a:gd name="connsiteY2" fmla="*/ 2911042 h 5875698"/>
              <a:gd name="connsiteX3" fmla="*/ 2818775 w 3255962"/>
              <a:gd name="connsiteY3" fmla="*/ 0 h 5875698"/>
              <a:gd name="connsiteX4" fmla="*/ 1391321 w 3255962"/>
              <a:gd name="connsiteY4" fmla="*/ 11903 h 5875698"/>
              <a:gd name="connsiteX5" fmla="*/ 0 w 3255962"/>
              <a:gd name="connsiteY5" fmla="*/ 4301692 h 5875698"/>
              <a:gd name="connsiteX6" fmla="*/ 1390649 w 3255962"/>
              <a:gd name="connsiteY6" fmla="*/ 3911166 h 5875698"/>
              <a:gd name="connsiteX7" fmla="*/ 823912 w 3255962"/>
              <a:gd name="connsiteY7" fmla="*/ 5875698 h 58756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255962" h="5875698">
                <a:moveTo>
                  <a:pt x="823912" y="5875698"/>
                </a:moveTo>
                <a:lnTo>
                  <a:pt x="3255962" y="2697523"/>
                </a:lnTo>
                <a:lnTo>
                  <a:pt x="1895475" y="2911042"/>
                </a:lnTo>
                <a:lnTo>
                  <a:pt x="2818775" y="0"/>
                </a:lnTo>
                <a:lnTo>
                  <a:pt x="1391321" y="11903"/>
                </a:lnTo>
                <a:lnTo>
                  <a:pt x="0" y="4301692"/>
                </a:lnTo>
                <a:lnTo>
                  <a:pt x="1390649" y="3911166"/>
                </a:lnTo>
                <a:lnTo>
                  <a:pt x="823912" y="5875698"/>
                </a:lnTo>
                <a:close/>
              </a:path>
            </a:pathLst>
          </a:custGeom>
          <a:solidFill>
            <a:srgbClr val="EEF0E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id="{1C063D51-F33D-77EA-AF3B-06225B004E6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209800" y="3135108"/>
            <a:ext cx="7531224" cy="1474387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None/>
              <a:defRPr sz="4000">
                <a:solidFill>
                  <a:srgbClr val="C00000"/>
                </a:solidFill>
                <a:latin typeface="Gotham" pitchFamily="50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Thank You</a:t>
            </a:r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024760593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rrow one third">
    <p:bg>
      <p:bgPr>
        <a:gradFill>
          <a:gsLst>
            <a:gs pos="0">
              <a:schemeClr val="tx2"/>
            </a:gs>
            <a:gs pos="100000">
              <a:schemeClr val="accent1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79853381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24" imgH="324" progId="TCLayout.ActiveDocument.1">
                  <p:embed/>
                </p:oleObj>
              </mc:Choice>
              <mc:Fallback>
                <p:oleObj name="think-cell Slide" r:id="rId4" imgW="324" imgH="32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/>
          <p:cNvSpPr txBox="1"/>
          <p:nvPr/>
        </p:nvSpPr>
        <p:spPr>
          <a:xfrm>
            <a:off x="11167872" y="6443508"/>
            <a:ext cx="38100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60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3" name="Pentagon 3"/>
          <p:cNvSpPr/>
          <p:nvPr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750"/>
              </a:spcAft>
            </a:pPr>
            <a:endParaRPr lang="en-US" sz="9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630001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300" b="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5" name="Picture 14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81526" y="3394394"/>
            <a:ext cx="1298575" cy="3571875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01456DC-1C04-4539-80D2-70C9A69FBAC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25268785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24" imgH="324" progId="TCLayout.ActiveDocument.1">
                  <p:embed/>
                </p:oleObj>
              </mc:Choice>
              <mc:Fallback>
                <p:oleObj name="think-cell Slide" r:id="rId4" imgW="324" imgH="324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301456DC-1C04-4539-80D2-70C9A69FBAC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Copyright">
            <a:extLst>
              <a:ext uri="{FF2B5EF4-FFF2-40B4-BE49-F238E27FC236}">
                <a16:creationId xmlns:a16="http://schemas.microsoft.com/office/drawing/2014/main" id="{8D15B0A6-30A7-4298-9131-CE11001CC8E0}"/>
              </a:ext>
            </a:extLst>
          </p:cNvPr>
          <p:cNvSpPr txBox="1"/>
          <p:nvPr/>
        </p:nvSpPr>
        <p:spPr>
          <a:xfrm rot="16200000">
            <a:off x="9486902" y="3934616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9" name="Pentagon 3">
            <a:extLst>
              <a:ext uri="{FF2B5EF4-FFF2-40B4-BE49-F238E27FC236}">
                <a16:creationId xmlns:a16="http://schemas.microsoft.com/office/drawing/2014/main" id="{C569D81C-8F7B-4C1C-8E16-0BAFAB12AE4F}"/>
              </a:ext>
            </a:extLst>
          </p:cNvPr>
          <p:cNvSpPr/>
          <p:nvPr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750"/>
              </a:spcAft>
            </a:pPr>
            <a:endParaRPr lang="en-US" sz="9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BF1B0C43-4D55-4C49-AFCF-E6B69F91596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81526" y="3394394"/>
            <a:ext cx="1298575" cy="3571875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1018543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Green arrow one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entagon 3"/>
          <p:cNvSpPr/>
          <p:nvPr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1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750"/>
              </a:spcAft>
            </a:pPr>
            <a:endParaRPr lang="en-US" sz="9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630001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300" b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11167872" y="6443508"/>
            <a:ext cx="38100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0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562" b="6867"/>
          <a:stretch/>
        </p:blipFill>
        <p:spPr>
          <a:xfrm>
            <a:off x="3578059" y="3416300"/>
            <a:ext cx="2694667" cy="3441700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  <p:sp>
        <p:nvSpPr>
          <p:cNvPr id="6" name="Pentagon 3">
            <a:extLst>
              <a:ext uri="{FF2B5EF4-FFF2-40B4-BE49-F238E27FC236}">
                <a16:creationId xmlns:a16="http://schemas.microsoft.com/office/drawing/2014/main" id="{A1A9425D-80E9-40ED-8A3C-29610A6A1C80}"/>
              </a:ext>
            </a:extLst>
          </p:cNvPr>
          <p:cNvSpPr/>
          <p:nvPr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750"/>
              </a:spcAft>
            </a:pPr>
            <a:endParaRPr lang="en-US" sz="9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BB4EF2D-7D1D-4129-BDD3-379A245C5EE0}"/>
              </a:ext>
            </a:extLst>
          </p:cNvPr>
          <p:cNvSpPr txBox="1"/>
          <p:nvPr/>
        </p:nvSpPr>
        <p:spPr>
          <a:xfrm>
            <a:off x="11167872" y="6443508"/>
            <a:ext cx="38100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0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Copyright">
            <a:extLst>
              <a:ext uri="{FF2B5EF4-FFF2-40B4-BE49-F238E27FC236}">
                <a16:creationId xmlns:a16="http://schemas.microsoft.com/office/drawing/2014/main" id="{7B2E7E0E-7ACB-4D57-940A-72FE601AFEA0}"/>
              </a:ext>
            </a:extLst>
          </p:cNvPr>
          <p:cNvSpPr txBox="1"/>
          <p:nvPr/>
        </p:nvSpPr>
        <p:spPr>
          <a:xfrm rot="16200000">
            <a:off x="9486902" y="3934616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F7E4E897-7C5F-486F-A9CB-59C5F43DE0F4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562" b="6867"/>
          <a:stretch/>
        </p:blipFill>
        <p:spPr>
          <a:xfrm>
            <a:off x="3578059" y="3416300"/>
            <a:ext cx="2694667" cy="3441700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3128087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rrow half">
    <p:bg>
      <p:bgPr>
        <a:gradFill>
          <a:gsLst>
            <a:gs pos="0">
              <a:schemeClr val="tx2"/>
            </a:gs>
            <a:gs pos="100000">
              <a:schemeClr val="accent1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76D3710D-82FE-41F9-878D-A154F8A7AE8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96502867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76D3710D-82FE-41F9-878D-A154F8A7AE8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1D7E285-D4D0-44FF-9E7F-8985EE58894A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" y="0"/>
            <a:ext cx="158751" cy="158750"/>
          </a:xfrm>
          <a:prstGeom prst="rect">
            <a:avLst/>
          </a:prstGeom>
          <a:solidFill>
            <a:srgbClr val="DB2026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550" b="0" i="0" baseline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11167872" y="6443508"/>
            <a:ext cx="38100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4" name="Pentagon 8"/>
          <p:cNvSpPr/>
          <p:nvPr/>
        </p:nvSpPr>
        <p:spPr bwMode="white">
          <a:xfrm>
            <a:off x="0" y="0"/>
            <a:ext cx="6363547" cy="6858000"/>
          </a:xfrm>
          <a:prstGeom prst="homePlate">
            <a:avLst>
              <a:gd name="adj" fmla="val 12939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750"/>
              </a:spcAft>
            </a:pPr>
            <a:endParaRPr lang="en-US" sz="9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630001" y="740524"/>
            <a:ext cx="4673647" cy="353174"/>
          </a:xfrm>
          <a:prstGeom prst="rect">
            <a:avLst/>
          </a:prstGeom>
        </p:spPr>
        <p:txBody>
          <a:bodyPr vert="horz" wrap="square" lIns="0" tIns="0" rIns="0" bIns="0" anchor="b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2550" b="0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7805" y="3589606"/>
            <a:ext cx="1365251" cy="3382962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Copyright">
            <a:extLst>
              <a:ext uri="{FF2B5EF4-FFF2-40B4-BE49-F238E27FC236}">
                <a16:creationId xmlns:a16="http://schemas.microsoft.com/office/drawing/2014/main" id="{AF267048-D347-463D-B804-0C97B5F6C86B}"/>
              </a:ext>
            </a:extLst>
          </p:cNvPr>
          <p:cNvSpPr txBox="1"/>
          <p:nvPr/>
        </p:nvSpPr>
        <p:spPr>
          <a:xfrm rot="16200000">
            <a:off x="9486902" y="3934616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21856186-F845-4D87-8D92-E7988D12EE7F}"/>
              </a:ext>
            </a:extLst>
          </p:cNvPr>
          <p:cNvSpPr txBox="1"/>
          <p:nvPr/>
        </p:nvSpPr>
        <p:spPr>
          <a:xfrm>
            <a:off x="11167872" y="6443508"/>
            <a:ext cx="38100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1" name="Pentagon 8">
            <a:extLst>
              <a:ext uri="{FF2B5EF4-FFF2-40B4-BE49-F238E27FC236}">
                <a16:creationId xmlns:a16="http://schemas.microsoft.com/office/drawing/2014/main" id="{4D61E53E-75DA-41A9-9376-926C56A0A09C}"/>
              </a:ext>
            </a:extLst>
          </p:cNvPr>
          <p:cNvSpPr/>
          <p:nvPr/>
        </p:nvSpPr>
        <p:spPr bwMode="white">
          <a:xfrm>
            <a:off x="0" y="0"/>
            <a:ext cx="6363547" cy="6858000"/>
          </a:xfrm>
          <a:prstGeom prst="homePlate">
            <a:avLst>
              <a:gd name="adj" fmla="val 12939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750"/>
              </a:spcAft>
            </a:pPr>
            <a:endParaRPr lang="en-US" sz="9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8F68AD38-E5AA-4A6D-9275-017E0A252CD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7805" y="3589606"/>
            <a:ext cx="1365251" cy="3382962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046398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Green arrow half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entagon 8"/>
          <p:cNvSpPr/>
          <p:nvPr/>
        </p:nvSpPr>
        <p:spPr bwMode="white">
          <a:xfrm>
            <a:off x="0" y="0"/>
            <a:ext cx="6363547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1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750"/>
              </a:spcAft>
            </a:pPr>
            <a:endParaRPr lang="en-US" sz="9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630001" y="622800"/>
            <a:ext cx="4673647" cy="353174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2550" b="0" i="0" u="none" kern="1200" spc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11167872" y="6443508"/>
            <a:ext cx="38100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0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4460172" y="3407805"/>
            <a:ext cx="2694667" cy="3456551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6" name="Pentagon 8">
            <a:extLst>
              <a:ext uri="{FF2B5EF4-FFF2-40B4-BE49-F238E27FC236}">
                <a16:creationId xmlns:a16="http://schemas.microsoft.com/office/drawing/2014/main" id="{4866E51E-6F73-456E-8FB2-7B2DB359C24D}"/>
              </a:ext>
            </a:extLst>
          </p:cNvPr>
          <p:cNvSpPr/>
          <p:nvPr/>
        </p:nvSpPr>
        <p:spPr bwMode="white">
          <a:xfrm>
            <a:off x="0" y="0"/>
            <a:ext cx="6363547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750"/>
              </a:spcAft>
            </a:pPr>
            <a:endParaRPr lang="en-US" sz="9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8BB76E93-DA98-42AF-B114-027D7B727654}"/>
              </a:ext>
            </a:extLst>
          </p:cNvPr>
          <p:cNvSpPr txBox="1"/>
          <p:nvPr/>
        </p:nvSpPr>
        <p:spPr>
          <a:xfrm>
            <a:off x="11167872" y="6443508"/>
            <a:ext cx="38100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0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Copyright">
            <a:extLst>
              <a:ext uri="{FF2B5EF4-FFF2-40B4-BE49-F238E27FC236}">
                <a16:creationId xmlns:a16="http://schemas.microsoft.com/office/drawing/2014/main" id="{523CCF8A-4CBB-4F86-8F46-176463413855}"/>
              </a:ext>
            </a:extLst>
          </p:cNvPr>
          <p:cNvSpPr txBox="1"/>
          <p:nvPr/>
        </p:nvSpPr>
        <p:spPr>
          <a:xfrm rot="16200000">
            <a:off x="9486902" y="3934616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190D094A-8644-46D1-8682-FBC5FE7CA68B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4460172" y="3407805"/>
            <a:ext cx="2694667" cy="3456551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23727946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rrow two third">
    <p:bg>
      <p:bgPr>
        <a:gradFill>
          <a:gsLst>
            <a:gs pos="0">
              <a:schemeClr val="tx2"/>
            </a:gs>
            <a:gs pos="100000">
              <a:schemeClr val="accent1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82173B7E-5DD1-4205-A7B5-4CB3804F42B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63700261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82173B7E-5DD1-4205-A7B5-4CB3804F42B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A9CE3C3-9B09-465C-B77E-0E75D092C35F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" y="0"/>
            <a:ext cx="158751" cy="158750"/>
          </a:xfrm>
          <a:prstGeom prst="rect">
            <a:avLst/>
          </a:prstGeom>
          <a:solidFill>
            <a:srgbClr val="DB2026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550" b="0" i="0" baseline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12" name="Freeform 18"/>
          <p:cNvSpPr/>
          <p:nvPr/>
        </p:nvSpPr>
        <p:spPr bwMode="white">
          <a:xfrm>
            <a:off x="1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750"/>
              </a:spcAft>
            </a:pPr>
            <a:endParaRPr lang="en-US" sz="9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11167872" y="6443508"/>
            <a:ext cx="38100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740524"/>
            <a:ext cx="6256800" cy="353174"/>
          </a:xfrm>
          <a:prstGeom prst="rect">
            <a:avLst/>
          </a:prstGeom>
        </p:spPr>
        <p:txBody>
          <a:bodyPr vert="horz" wrap="square" lIns="0" tIns="0" rIns="0" bIns="0" anchor="b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2550" b="0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pic>
        <p:nvPicPr>
          <p:cNvPr id="16" name="Picture 15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90339" y="3589606"/>
            <a:ext cx="1365251" cy="3382962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Freeform 18">
            <a:extLst>
              <a:ext uri="{FF2B5EF4-FFF2-40B4-BE49-F238E27FC236}">
                <a16:creationId xmlns:a16="http://schemas.microsoft.com/office/drawing/2014/main" id="{E069ABF2-32D1-4CF4-A03E-B3923CD6663F}"/>
              </a:ext>
            </a:extLst>
          </p:cNvPr>
          <p:cNvSpPr/>
          <p:nvPr/>
        </p:nvSpPr>
        <p:spPr bwMode="white">
          <a:xfrm>
            <a:off x="1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750"/>
              </a:spcAft>
            </a:pPr>
            <a:endParaRPr lang="en-US" sz="9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9" name="Copyright">
            <a:extLst>
              <a:ext uri="{FF2B5EF4-FFF2-40B4-BE49-F238E27FC236}">
                <a16:creationId xmlns:a16="http://schemas.microsoft.com/office/drawing/2014/main" id="{CD409207-2BB1-4554-86F4-8877642E5176}"/>
              </a:ext>
            </a:extLst>
          </p:cNvPr>
          <p:cNvSpPr txBox="1"/>
          <p:nvPr/>
        </p:nvSpPr>
        <p:spPr>
          <a:xfrm rot="16200000">
            <a:off x="9486902" y="3934616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A781CA5-939D-4205-BD21-CC57A1AA1F86}"/>
              </a:ext>
            </a:extLst>
          </p:cNvPr>
          <p:cNvSpPr txBox="1"/>
          <p:nvPr/>
        </p:nvSpPr>
        <p:spPr>
          <a:xfrm>
            <a:off x="11167872" y="6443508"/>
            <a:ext cx="38100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9CEAC0DF-008E-4FAC-B751-01376DE07CF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90339" y="3589606"/>
            <a:ext cx="1365251" cy="3382962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3542652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Green arrow two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6344604-1FE6-4409-8073-11224709723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17933506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6344604-1FE6-4409-8073-11224709723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A435E27-017C-4779-9F23-CB7EC9FB5AC5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" y="0"/>
            <a:ext cx="158751" cy="158750"/>
          </a:xfrm>
          <a:prstGeom prst="rect">
            <a:avLst/>
          </a:prstGeom>
          <a:solidFill>
            <a:srgbClr val="DB2026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550" b="0" i="0" baseline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12" name="Freeform 18"/>
          <p:cNvSpPr/>
          <p:nvPr/>
        </p:nvSpPr>
        <p:spPr bwMode="white">
          <a:xfrm>
            <a:off x="1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1"/>
              </a:gs>
            </a:gsLst>
            <a:lin ang="8100000" scaled="1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750"/>
              </a:spcAft>
            </a:pPr>
            <a:endParaRPr lang="en-US" sz="9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740524"/>
            <a:ext cx="6256800" cy="353174"/>
          </a:xfrm>
          <a:prstGeom prst="rect">
            <a:avLst/>
          </a:prstGeom>
        </p:spPr>
        <p:txBody>
          <a:bodyPr vert="horz" wrap="square" lIns="0" tIns="0" rIns="0" bIns="0" anchor="b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2550" b="0" i="0" u="none" kern="1200" spc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11167872" y="6443508"/>
            <a:ext cx="38100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0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6567628" y="3407805"/>
            <a:ext cx="2694667" cy="3456551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8" name="Freeform 18">
            <a:extLst>
              <a:ext uri="{FF2B5EF4-FFF2-40B4-BE49-F238E27FC236}">
                <a16:creationId xmlns:a16="http://schemas.microsoft.com/office/drawing/2014/main" id="{E8FCE11F-3F7F-451C-A983-BD5EA51C7427}"/>
              </a:ext>
            </a:extLst>
          </p:cNvPr>
          <p:cNvSpPr/>
          <p:nvPr/>
        </p:nvSpPr>
        <p:spPr bwMode="white">
          <a:xfrm>
            <a:off x="1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750"/>
              </a:spcAft>
            </a:pPr>
            <a:endParaRPr lang="en-US" sz="9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C4A78C91-A51A-4DEC-8EF5-A980D0265B0E}"/>
              </a:ext>
            </a:extLst>
          </p:cNvPr>
          <p:cNvSpPr txBox="1"/>
          <p:nvPr/>
        </p:nvSpPr>
        <p:spPr>
          <a:xfrm>
            <a:off x="11167872" y="6443508"/>
            <a:ext cx="38100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0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3" name="Copyright">
            <a:extLst>
              <a:ext uri="{FF2B5EF4-FFF2-40B4-BE49-F238E27FC236}">
                <a16:creationId xmlns:a16="http://schemas.microsoft.com/office/drawing/2014/main" id="{024A5289-16D8-4240-88E5-F31345806AC1}"/>
              </a:ext>
            </a:extLst>
          </p:cNvPr>
          <p:cNvSpPr txBox="1"/>
          <p:nvPr/>
        </p:nvSpPr>
        <p:spPr>
          <a:xfrm rot="16200000">
            <a:off x="9486902" y="3934616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ABA9BF5F-5039-4419-95A4-26DB17982C4F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6567628" y="3407805"/>
            <a:ext cx="2694667" cy="3456551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6846205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ig statement green">
    <p:bg>
      <p:bgPr>
        <a:gradFill>
          <a:gsLst>
            <a:gs pos="0">
              <a:schemeClr val="tx2"/>
            </a:gs>
            <a:gs pos="100000">
              <a:schemeClr val="accent1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11167872" y="6443508"/>
            <a:ext cx="38100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</p:spPr>
        <p:txBody>
          <a:bodyPr anchor="b">
            <a:noAutofit/>
          </a:bodyPr>
          <a:lstStyle>
            <a:lvl1pPr marL="0" algn="l" defTabSz="685800" rtl="0" eaLnBrk="1" fontAlgn="auto" latinLnBrk="0" hangingPunct="1">
              <a:lnSpc>
                <a:spcPts val="4500"/>
              </a:lnSpc>
              <a:spcBef>
                <a:spcPts val="0"/>
              </a:spcBef>
              <a:spcAft>
                <a:spcPts val="0"/>
              </a:spcAft>
              <a:defRPr lang="en-US" sz="4050" kern="1200" baseline="0" dirty="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sp>
        <p:nvSpPr>
          <p:cNvPr id="4" name="Copyright">
            <a:extLst>
              <a:ext uri="{FF2B5EF4-FFF2-40B4-BE49-F238E27FC236}">
                <a16:creationId xmlns:a16="http://schemas.microsoft.com/office/drawing/2014/main" id="{4B0F6FF8-AD73-4570-8883-3786B36E1DEF}"/>
              </a:ext>
            </a:extLst>
          </p:cNvPr>
          <p:cNvSpPr txBox="1"/>
          <p:nvPr/>
        </p:nvSpPr>
        <p:spPr>
          <a:xfrm rot="16200000">
            <a:off x="9486902" y="3934616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8948586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g statement icon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/>
        </p:nvSpPr>
        <p:spPr bwMode="white">
          <a:xfrm>
            <a:off x="630000" y="625475"/>
            <a:ext cx="932688" cy="932688"/>
          </a:xfrm>
          <a:prstGeom prst="rect">
            <a:avLst/>
          </a:prstGeom>
          <a:noFill/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9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algn="l" defTabSz="685800" rtl="0" eaLnBrk="1" fontAlgn="auto" latinLnBrk="0" hangingPunct="1">
              <a:lnSpc>
                <a:spcPts val="4500"/>
              </a:lnSpc>
              <a:spcBef>
                <a:spcPts val="0"/>
              </a:spcBef>
              <a:spcAft>
                <a:spcPts val="0"/>
              </a:spcAft>
              <a:defRPr lang="en-US" sz="4050" kern="1200" baseline="0" dirty="0">
                <a:solidFill>
                  <a:schemeClr val="accent4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sp>
        <p:nvSpPr>
          <p:cNvPr id="4" name="Copyright">
            <a:extLst>
              <a:ext uri="{FF2B5EF4-FFF2-40B4-BE49-F238E27FC236}">
                <a16:creationId xmlns:a16="http://schemas.microsoft.com/office/drawing/2014/main" id="{8D01B9EA-5F65-40DB-B8F9-B448F0B3BA13}"/>
              </a:ext>
            </a:extLst>
          </p:cNvPr>
          <p:cNvSpPr txBox="1"/>
          <p:nvPr/>
        </p:nvSpPr>
        <p:spPr>
          <a:xfrm rot="16200000">
            <a:off x="9486902" y="3934616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537545B7-AB6E-40EB-91EA-6A4AA50F2649}"/>
              </a:ext>
            </a:extLst>
          </p:cNvPr>
          <p:cNvSpPr/>
          <p:nvPr/>
        </p:nvSpPr>
        <p:spPr bwMode="white">
          <a:xfrm>
            <a:off x="630000" y="625475"/>
            <a:ext cx="932688" cy="932688"/>
          </a:xfrm>
          <a:prstGeom prst="rect">
            <a:avLst/>
          </a:prstGeom>
          <a:noFill/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9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419195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Quot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42195074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24" imgH="324" progId="TCLayout.ActiveDocument.1">
                  <p:embed/>
                </p:oleObj>
              </mc:Choice>
              <mc:Fallback>
                <p:oleObj name="think-cell Slide" r:id="rId4" imgW="324" imgH="32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Box 5"/>
          <p:cNvSpPr txBox="1"/>
          <p:nvPr/>
        </p:nvSpPr>
        <p:spPr>
          <a:xfrm>
            <a:off x="11167872" y="6443508"/>
            <a:ext cx="38100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34" b="1258"/>
          <a:stretch/>
        </p:blipFill>
        <p:spPr>
          <a:xfrm rot="16200000" flipH="1">
            <a:off x="6797462" y="101444"/>
            <a:ext cx="769257" cy="10019821"/>
          </a:xfrm>
          <a:custGeom>
            <a:avLst/>
            <a:gdLst>
              <a:gd name="connsiteX0" fmla="*/ 0 w 769257"/>
              <a:gd name="connsiteY0" fmla="*/ 0 h 10019821"/>
              <a:gd name="connsiteX1" fmla="*/ 0 w 769257"/>
              <a:gd name="connsiteY1" fmla="*/ 4631160 h 10019821"/>
              <a:gd name="connsiteX2" fmla="*/ 216750 w 769257"/>
              <a:gd name="connsiteY2" fmla="*/ 999646 h 10019821"/>
              <a:gd name="connsiteX3" fmla="*/ 197800 w 769257"/>
              <a:gd name="connsiteY3" fmla="*/ 10019821 h 10019821"/>
              <a:gd name="connsiteX4" fmla="*/ 769257 w 769257"/>
              <a:gd name="connsiteY4" fmla="*/ 10019821 h 10019821"/>
              <a:gd name="connsiteX5" fmla="*/ 769257 w 769257"/>
              <a:gd name="connsiteY5" fmla="*/ 0 h 10019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69257" h="10019821">
                <a:moveTo>
                  <a:pt x="0" y="0"/>
                </a:moveTo>
                <a:lnTo>
                  <a:pt x="0" y="4631160"/>
                </a:lnTo>
                <a:lnTo>
                  <a:pt x="216750" y="999646"/>
                </a:lnTo>
                <a:lnTo>
                  <a:pt x="197800" y="10019821"/>
                </a:lnTo>
                <a:lnTo>
                  <a:pt x="769257" y="10019821"/>
                </a:lnTo>
                <a:lnTo>
                  <a:pt x="769257" y="0"/>
                </a:lnTo>
                <a:close/>
              </a:path>
            </a:pathLst>
          </a:cu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2"/>
            <a:ext cx="12192000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sz="1350">
              <a:latin typeface="+mn-lt"/>
              <a:sym typeface="Trebuchet MS" panose="020B0603020202020204" pitchFamily="34" charset="0"/>
            </a:endParaRPr>
          </a:p>
        </p:txBody>
      </p:sp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A4A1D301-45CE-4FB9-9643-5BBE5ECEBDF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42619711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24" imgH="324" progId="TCLayout.ActiveDocument.1">
                  <p:embed/>
                </p:oleObj>
              </mc:Choice>
              <mc:Fallback>
                <p:oleObj name="think-cell Slide" r:id="rId4" imgW="324" imgH="324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A4A1D301-45CE-4FB9-9643-5BBE5ECEBDF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Box 8">
            <a:extLst>
              <a:ext uri="{FF2B5EF4-FFF2-40B4-BE49-F238E27FC236}">
                <a16:creationId xmlns:a16="http://schemas.microsoft.com/office/drawing/2014/main" id="{4EBD1FB7-A2FA-45D8-92C1-E97FEC9DFFF3}"/>
              </a:ext>
            </a:extLst>
          </p:cNvPr>
          <p:cNvSpPr txBox="1"/>
          <p:nvPr/>
        </p:nvSpPr>
        <p:spPr>
          <a:xfrm>
            <a:off x="11167872" y="6443508"/>
            <a:ext cx="38100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01DAC52E-E1BF-47A3-B1AD-F5E748FFA069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34" b="1258"/>
          <a:stretch/>
        </p:blipFill>
        <p:spPr>
          <a:xfrm rot="16200000" flipH="1">
            <a:off x="6797462" y="101444"/>
            <a:ext cx="769257" cy="10019821"/>
          </a:xfrm>
          <a:custGeom>
            <a:avLst/>
            <a:gdLst>
              <a:gd name="connsiteX0" fmla="*/ 0 w 769257"/>
              <a:gd name="connsiteY0" fmla="*/ 0 h 10019821"/>
              <a:gd name="connsiteX1" fmla="*/ 0 w 769257"/>
              <a:gd name="connsiteY1" fmla="*/ 4631160 h 10019821"/>
              <a:gd name="connsiteX2" fmla="*/ 216750 w 769257"/>
              <a:gd name="connsiteY2" fmla="*/ 999646 h 10019821"/>
              <a:gd name="connsiteX3" fmla="*/ 197800 w 769257"/>
              <a:gd name="connsiteY3" fmla="*/ 10019821 h 10019821"/>
              <a:gd name="connsiteX4" fmla="*/ 769257 w 769257"/>
              <a:gd name="connsiteY4" fmla="*/ 10019821 h 10019821"/>
              <a:gd name="connsiteX5" fmla="*/ 769257 w 769257"/>
              <a:gd name="connsiteY5" fmla="*/ 0 h 10019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69257" h="10019821">
                <a:moveTo>
                  <a:pt x="0" y="0"/>
                </a:moveTo>
                <a:lnTo>
                  <a:pt x="0" y="4631160"/>
                </a:lnTo>
                <a:lnTo>
                  <a:pt x="216750" y="999646"/>
                </a:lnTo>
                <a:lnTo>
                  <a:pt x="197800" y="10019821"/>
                </a:lnTo>
                <a:lnTo>
                  <a:pt x="769257" y="10019821"/>
                </a:lnTo>
                <a:lnTo>
                  <a:pt x="769257" y="0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22441655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pecial gray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 bwMode="white">
          <a:xfrm>
            <a:off x="11167872" y="6442872"/>
            <a:ext cx="38100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740524"/>
            <a:ext cx="10933200" cy="353174"/>
          </a:xfrm>
        </p:spPr>
        <p:txBody>
          <a:bodyPr/>
          <a:lstStyle>
            <a:lvl1pPr>
              <a:defRPr sz="255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EF0C8804-B6BF-46E6-9281-1EA7BF03F058}"/>
              </a:ext>
            </a:extLst>
          </p:cNvPr>
          <p:cNvSpPr txBox="1"/>
          <p:nvPr/>
        </p:nvSpPr>
        <p:spPr bwMode="white">
          <a:xfrm>
            <a:off x="11167872" y="6442872"/>
            <a:ext cx="38100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7" name="Copyright">
            <a:extLst>
              <a:ext uri="{FF2B5EF4-FFF2-40B4-BE49-F238E27FC236}">
                <a16:creationId xmlns:a16="http://schemas.microsoft.com/office/drawing/2014/main" id="{34F21389-FDA1-45A2-9B36-8A914BDC7EB0}"/>
              </a:ext>
            </a:extLst>
          </p:cNvPr>
          <p:cNvSpPr txBox="1"/>
          <p:nvPr/>
        </p:nvSpPr>
        <p:spPr>
          <a:xfrm rot="16200000">
            <a:off x="9486902" y="3934616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9162143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5C4497F-859C-43D2-8939-02332A9DD6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603682"/>
            <a:ext cx="3932237" cy="1453718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D282285-2A41-400A-9A69-7114683C8E1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E2C4F69-3995-4225-A923-6D8D6832B10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6FB8EAA-43BD-4964-A816-97594F095FA5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845320AC-DD4B-443B-9124-A76A02BBF0F0}" type="datetimeFigureOut">
              <a:rPr lang="en-IN" smtClean="0"/>
              <a:t>28-05-2025</a:t>
            </a:fld>
            <a:endParaRPr lang="en-IN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10EECD0-EDFF-4AD8-B07C-355B98C2AEB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IN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04465EC-B194-443B-A43D-543FB6DF535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E7FF1D80-0C43-4B56-BCBD-119C695EDC96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778435671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pyright">
            <a:extLst>
              <a:ext uri="{FF2B5EF4-FFF2-40B4-BE49-F238E27FC236}">
                <a16:creationId xmlns:a16="http://schemas.microsoft.com/office/drawing/2014/main" id="{C4BEFD99-B644-4ACE-B678-F4F5F65428E6}"/>
              </a:ext>
            </a:extLst>
          </p:cNvPr>
          <p:cNvSpPr txBox="1"/>
          <p:nvPr/>
        </p:nvSpPr>
        <p:spPr>
          <a:xfrm rot="16200000">
            <a:off x="9486902" y="3934616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6313757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lank green">
    <p:bg>
      <p:bgPr>
        <a:gradFill>
          <a:gsLst>
            <a:gs pos="0">
              <a:schemeClr val="tx2"/>
            </a:gs>
            <a:gs pos="100000">
              <a:schemeClr val="accent1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/>
          <p:cNvSpPr txBox="1"/>
          <p:nvPr/>
        </p:nvSpPr>
        <p:spPr bwMode="white">
          <a:xfrm>
            <a:off x="11167872" y="6442872"/>
            <a:ext cx="38100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F20257D-86AC-4F57-B3EC-E38DFB49E8FF}"/>
              </a:ext>
            </a:extLst>
          </p:cNvPr>
          <p:cNvSpPr txBox="1"/>
          <p:nvPr/>
        </p:nvSpPr>
        <p:spPr bwMode="white">
          <a:xfrm>
            <a:off x="11167872" y="6442872"/>
            <a:ext cx="38100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4" name="Copyright">
            <a:extLst>
              <a:ext uri="{FF2B5EF4-FFF2-40B4-BE49-F238E27FC236}">
                <a16:creationId xmlns:a16="http://schemas.microsoft.com/office/drawing/2014/main" id="{D8DC4140-137D-4A00-A1DD-3E9B5A6F3106}"/>
              </a:ext>
            </a:extLst>
          </p:cNvPr>
          <p:cNvSpPr txBox="1"/>
          <p:nvPr/>
        </p:nvSpPr>
        <p:spPr>
          <a:xfrm rot="16200000">
            <a:off x="9486902" y="3934616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629061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sclaim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pyright">
            <a:extLst>
              <a:ext uri="{FF2B5EF4-FFF2-40B4-BE49-F238E27FC236}">
                <a16:creationId xmlns:a16="http://schemas.microsoft.com/office/drawing/2014/main" id="{33F0A3CE-1C55-4582-A310-C5BD524E4D00}"/>
              </a:ext>
            </a:extLst>
          </p:cNvPr>
          <p:cNvSpPr txBox="1"/>
          <p:nvPr/>
        </p:nvSpPr>
        <p:spPr>
          <a:xfrm rot="16200000">
            <a:off x="9486902" y="3934616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9653357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End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85395507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84" imgH="384" progId="TCLayout.ActiveDocument.1">
                  <p:embed/>
                </p:oleObj>
              </mc:Choice>
              <mc:Fallback>
                <p:oleObj name="think-cell Slide" r:id="rId6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>
            <a:extLst>
              <a:ext uri="{FF2B5EF4-FFF2-40B4-BE49-F238E27FC236}">
                <a16:creationId xmlns:a16="http://schemas.microsoft.com/office/drawing/2014/main" id="{96B9F0F5-A54F-4FD2-AD46-EB352A6A6F63}"/>
              </a:ext>
            </a:extLst>
          </p:cNvPr>
          <p:cNvPicPr>
            <a:picLocks noChangeAspect="1"/>
          </p:cNvPicPr>
          <p:nvPr/>
        </p:nvPicPr>
        <p:blipFill rotWithShape="1">
          <a:blip r:embed="rId8">
            <a:grayscl/>
          </a:blip>
          <a:srcRect l="1079" t="8722" r="1079" b="8722"/>
          <a:stretch/>
        </p:blipFill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</p:spPr>
      </p:pic>
      <p:sp>
        <p:nvSpPr>
          <p:cNvPr id="8" name="Parallelogram 7">
            <a:extLst>
              <a:ext uri="{FF2B5EF4-FFF2-40B4-BE49-F238E27FC236}">
                <a16:creationId xmlns:a16="http://schemas.microsoft.com/office/drawing/2014/main" id="{3A4B14A3-BB44-4518-9E41-3820FE7577B1}"/>
              </a:ext>
            </a:extLst>
          </p:cNvPr>
          <p:cNvSpPr/>
          <p:nvPr/>
        </p:nvSpPr>
        <p:spPr bwMode="black">
          <a:xfrm>
            <a:off x="8545508" y="1539240"/>
            <a:ext cx="2846389" cy="5369940"/>
          </a:xfrm>
          <a:prstGeom prst="parallelogram">
            <a:avLst>
              <a:gd name="adj" fmla="val 47699"/>
            </a:avLst>
          </a:prstGeom>
          <a:solidFill>
            <a:srgbClr val="ED1D24">
              <a:alpha val="61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endParaRPr lang="en-US" sz="150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9" name="Parallelogram 8">
            <a:extLst>
              <a:ext uri="{FF2B5EF4-FFF2-40B4-BE49-F238E27FC236}">
                <a16:creationId xmlns:a16="http://schemas.microsoft.com/office/drawing/2014/main" id="{85F37F3E-8A0F-4419-80D0-585F03C4F18F}"/>
              </a:ext>
            </a:extLst>
          </p:cNvPr>
          <p:cNvSpPr/>
          <p:nvPr/>
        </p:nvSpPr>
        <p:spPr bwMode="black">
          <a:xfrm>
            <a:off x="8454068" y="0"/>
            <a:ext cx="2846389" cy="5369940"/>
          </a:xfrm>
          <a:prstGeom prst="parallelogram">
            <a:avLst>
              <a:gd name="adj" fmla="val 47699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endParaRPr lang="en-US" sz="15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1DE91DAF-A850-4E1E-8245-4BA65F340873}"/>
              </a:ext>
            </a:extLst>
          </p:cNvPr>
          <p:cNvSpPr/>
          <p:nvPr/>
        </p:nvSpPr>
        <p:spPr bwMode="black">
          <a:xfrm>
            <a:off x="-4499" y="1488060"/>
            <a:ext cx="10413417" cy="4117298"/>
          </a:xfrm>
          <a:custGeom>
            <a:avLst/>
            <a:gdLst>
              <a:gd name="connsiteX0" fmla="*/ 0 w 10413417"/>
              <a:gd name="connsiteY0" fmla="*/ 0 h 4117298"/>
              <a:gd name="connsiteX1" fmla="*/ 10413417 w 10413417"/>
              <a:gd name="connsiteY1" fmla="*/ 0 h 4117298"/>
              <a:gd name="connsiteX2" fmla="*/ 9384092 w 10413417"/>
              <a:gd name="connsiteY2" fmla="*/ 4117298 h 4117298"/>
              <a:gd name="connsiteX3" fmla="*/ 0 w 10413417"/>
              <a:gd name="connsiteY3" fmla="*/ 4117298 h 4117298"/>
              <a:gd name="connsiteX4" fmla="*/ 0 w 10413417"/>
              <a:gd name="connsiteY4" fmla="*/ 0 h 41172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413417" h="4117298">
                <a:moveTo>
                  <a:pt x="0" y="0"/>
                </a:moveTo>
                <a:lnTo>
                  <a:pt x="10413417" y="0"/>
                </a:lnTo>
                <a:lnTo>
                  <a:pt x="9384092" y="4117298"/>
                </a:lnTo>
                <a:lnTo>
                  <a:pt x="0" y="4117298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5000">
                <a:schemeClr val="accent1">
                  <a:alpha val="90000"/>
                </a:schemeClr>
              </a:gs>
              <a:gs pos="100000">
                <a:schemeClr val="tx2">
                  <a:alpha val="90000"/>
                </a:schemeClr>
              </a:gs>
            </a:gsLst>
            <a:lin ang="189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/>
          <a:p>
            <a:pPr lvl="0" algn="ctr">
              <a:lnSpc>
                <a:spcPct val="95000"/>
              </a:lnSpc>
            </a:pPr>
            <a:endParaRPr lang="en-US" sz="15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8E2CACFB-AC3A-410E-975E-04868F21E7D3}"/>
              </a:ext>
            </a:extLst>
          </p:cNvPr>
          <p:cNvSpPr/>
          <p:nvPr/>
        </p:nvSpPr>
        <p:spPr>
          <a:xfrm>
            <a:off x="630000" y="2937109"/>
            <a:ext cx="4175760" cy="1219200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r>
              <a:rPr lang="en-US" sz="4500">
                <a:solidFill>
                  <a:srgbClr val="FFFFFF"/>
                </a:solidFill>
              </a:rPr>
              <a:t>THANK YOU</a:t>
            </a:r>
          </a:p>
        </p:txBody>
      </p:sp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229AE855-1D7B-412C-BF95-6283A8FFA44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35369323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384" imgH="384" progId="TCLayout.ActiveDocument.1">
                  <p:embed/>
                </p:oleObj>
              </mc:Choice>
              <mc:Fallback>
                <p:oleObj name="think-cell Slide" r:id="rId9" imgW="384" imgH="384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229AE855-1D7B-412C-BF95-6283A8FFA44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TitleAndEndImages">
            <a:extLst>
              <a:ext uri="{FF2B5EF4-FFF2-40B4-BE49-F238E27FC236}">
                <a16:creationId xmlns:a16="http://schemas.microsoft.com/office/drawing/2014/main" id="{9A39579C-9415-4E3C-B2A2-A9B5615F5CDE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0" y="0"/>
            <a:ext cx="12192000" cy="6858000"/>
          </a:xfrm>
          <a:prstGeom prst="rect">
            <a:avLst/>
          </a:prstGeom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37B103C0-EF83-45EA-B775-04E9713DBDC9}"/>
              </a:ext>
            </a:extLst>
          </p:cNvPr>
          <p:cNvSpPr/>
          <p:nvPr/>
        </p:nvSpPr>
        <p:spPr bwMode="black">
          <a:xfrm>
            <a:off x="630936" y="626200"/>
            <a:ext cx="8125200" cy="5529600"/>
          </a:xfrm>
          <a:prstGeom prst="rect">
            <a:avLst/>
          </a:prstGeom>
          <a:gradFill flip="none" rotWithShape="1">
            <a:gsLst>
              <a:gs pos="0">
                <a:schemeClr val="accent1">
                  <a:alpha val="90000"/>
                </a:schemeClr>
              </a:gs>
              <a:gs pos="100000">
                <a:schemeClr val="tx2">
                  <a:alpha val="90000"/>
                </a:schemeClr>
              </a:gs>
            </a:gsLst>
            <a:lin ang="189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endParaRPr lang="en-US" sz="15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4" name="Freeform 6">
            <a:extLst>
              <a:ext uri="{FF2B5EF4-FFF2-40B4-BE49-F238E27FC236}">
                <a16:creationId xmlns:a16="http://schemas.microsoft.com/office/drawing/2014/main" id="{AEB4BCBC-A5A0-4C11-8293-9BBCFBE10C1E}"/>
              </a:ext>
            </a:extLst>
          </p:cNvPr>
          <p:cNvSpPr>
            <a:spLocks noChangeAspect="1"/>
          </p:cNvSpPr>
          <p:nvPr>
            <p:custDataLst>
              <p:tags r:id="rId4"/>
            </p:custDataLst>
          </p:nvPr>
        </p:nvSpPr>
        <p:spPr bwMode="auto">
          <a:xfrm>
            <a:off x="2676859" y="2969513"/>
            <a:ext cx="4033357" cy="842974"/>
          </a:xfrm>
          <a:custGeom>
            <a:avLst/>
            <a:gdLst>
              <a:gd name="connsiteX0" fmla="*/ 8982072 w 11499847"/>
              <a:gd name="connsiteY0" fmla="*/ 1919288 h 2403475"/>
              <a:gd name="connsiteX1" fmla="*/ 8982072 w 11499847"/>
              <a:gd name="connsiteY1" fmla="*/ 2105026 h 2403475"/>
              <a:gd name="connsiteX2" fmla="*/ 9098233 w 11499847"/>
              <a:gd name="connsiteY2" fmla="*/ 2105026 h 2403475"/>
              <a:gd name="connsiteX3" fmla="*/ 9164880 w 11499847"/>
              <a:gd name="connsiteY3" fmla="*/ 2080233 h 2403475"/>
              <a:gd name="connsiteX4" fmla="*/ 9191622 w 11499847"/>
              <a:gd name="connsiteY4" fmla="*/ 2011737 h 2403475"/>
              <a:gd name="connsiteX5" fmla="*/ 9164880 w 11499847"/>
              <a:gd name="connsiteY5" fmla="*/ 1944501 h 2403475"/>
              <a:gd name="connsiteX6" fmla="*/ 9098233 w 11499847"/>
              <a:gd name="connsiteY6" fmla="*/ 1919288 h 2403475"/>
              <a:gd name="connsiteX7" fmla="*/ 8982072 w 11499847"/>
              <a:gd name="connsiteY7" fmla="*/ 1919288 h 2403475"/>
              <a:gd name="connsiteX8" fmla="*/ 7280272 w 11499847"/>
              <a:gd name="connsiteY8" fmla="*/ 1919288 h 2403475"/>
              <a:gd name="connsiteX9" fmla="*/ 7280272 w 11499847"/>
              <a:gd name="connsiteY9" fmla="*/ 2097088 h 2403475"/>
              <a:gd name="connsiteX10" fmla="*/ 7404503 w 11499847"/>
              <a:gd name="connsiteY10" fmla="*/ 2097088 h 2403475"/>
              <a:gd name="connsiteX11" fmla="*/ 7469027 w 11499847"/>
              <a:gd name="connsiteY11" fmla="*/ 2073423 h 2403475"/>
              <a:gd name="connsiteX12" fmla="*/ 7494585 w 11499847"/>
              <a:gd name="connsiteY12" fmla="*/ 2008502 h 2403475"/>
              <a:gd name="connsiteX13" fmla="*/ 7469027 w 11499847"/>
              <a:gd name="connsiteY13" fmla="*/ 1943581 h 2403475"/>
              <a:gd name="connsiteX14" fmla="*/ 7404503 w 11499847"/>
              <a:gd name="connsiteY14" fmla="*/ 1919288 h 2403475"/>
              <a:gd name="connsiteX15" fmla="*/ 7280272 w 11499847"/>
              <a:gd name="connsiteY15" fmla="*/ 1919288 h 2403475"/>
              <a:gd name="connsiteX16" fmla="*/ 7945015 w 11499847"/>
              <a:gd name="connsiteY16" fmla="*/ 1909763 h 2403475"/>
              <a:gd name="connsiteX17" fmla="*/ 7813574 w 11499847"/>
              <a:gd name="connsiteY17" fmla="*/ 1965330 h 2403475"/>
              <a:gd name="connsiteX18" fmla="*/ 7759697 w 11499847"/>
              <a:gd name="connsiteY18" fmla="*/ 2100368 h 2403475"/>
              <a:gd name="connsiteX19" fmla="*/ 7813574 w 11499847"/>
              <a:gd name="connsiteY19" fmla="*/ 2235406 h 2403475"/>
              <a:gd name="connsiteX20" fmla="*/ 7945015 w 11499847"/>
              <a:gd name="connsiteY20" fmla="*/ 2290763 h 2403475"/>
              <a:gd name="connsiteX21" fmla="*/ 8077086 w 11499847"/>
              <a:gd name="connsiteY21" fmla="*/ 2235825 h 2403475"/>
              <a:gd name="connsiteX22" fmla="*/ 8131172 w 11499847"/>
              <a:gd name="connsiteY22" fmla="*/ 2100368 h 2403475"/>
              <a:gd name="connsiteX23" fmla="*/ 8076876 w 11499847"/>
              <a:gd name="connsiteY23" fmla="*/ 1965330 h 2403475"/>
              <a:gd name="connsiteX24" fmla="*/ 7945015 w 11499847"/>
              <a:gd name="connsiteY24" fmla="*/ 1909763 h 2403475"/>
              <a:gd name="connsiteX25" fmla="*/ 8899522 w 11499847"/>
              <a:gd name="connsiteY25" fmla="*/ 1844675 h 2403475"/>
              <a:gd name="connsiteX26" fmla="*/ 9098598 w 11499847"/>
              <a:gd name="connsiteY26" fmla="*/ 1844675 h 2403475"/>
              <a:gd name="connsiteX27" fmla="*/ 9228521 w 11499847"/>
              <a:gd name="connsiteY27" fmla="*/ 1892741 h 2403475"/>
              <a:gd name="connsiteX28" fmla="*/ 9277347 w 11499847"/>
              <a:gd name="connsiteY28" fmla="*/ 2011236 h 2403475"/>
              <a:gd name="connsiteX29" fmla="*/ 9228521 w 11499847"/>
              <a:gd name="connsiteY29" fmla="*/ 2129521 h 2403475"/>
              <a:gd name="connsiteX30" fmla="*/ 9098598 w 11499847"/>
              <a:gd name="connsiteY30" fmla="*/ 2177796 h 2403475"/>
              <a:gd name="connsiteX31" fmla="*/ 8982086 w 11499847"/>
              <a:gd name="connsiteY31" fmla="*/ 2177796 h 2403475"/>
              <a:gd name="connsiteX32" fmla="*/ 8982086 w 11499847"/>
              <a:gd name="connsiteY32" fmla="*/ 2355850 h 2403475"/>
              <a:gd name="connsiteX33" fmla="*/ 8899522 w 11499847"/>
              <a:gd name="connsiteY33" fmla="*/ 2355850 h 2403475"/>
              <a:gd name="connsiteX34" fmla="*/ 8899522 w 11499847"/>
              <a:gd name="connsiteY34" fmla="*/ 1844675 h 2403475"/>
              <a:gd name="connsiteX35" fmla="*/ 8324847 w 11499847"/>
              <a:gd name="connsiteY35" fmla="*/ 1844675 h 2403475"/>
              <a:gd name="connsiteX36" fmla="*/ 8407608 w 11499847"/>
              <a:gd name="connsiteY36" fmla="*/ 1844675 h 2403475"/>
              <a:gd name="connsiteX37" fmla="*/ 8407608 w 11499847"/>
              <a:gd name="connsiteY37" fmla="*/ 2158090 h 2403475"/>
              <a:gd name="connsiteX38" fmla="*/ 8443017 w 11499847"/>
              <a:gd name="connsiteY38" fmla="*/ 2252595 h 2403475"/>
              <a:gd name="connsiteX39" fmla="*/ 8537931 w 11499847"/>
              <a:gd name="connsiteY39" fmla="*/ 2291066 h 2403475"/>
              <a:gd name="connsiteX40" fmla="*/ 8631797 w 11499847"/>
              <a:gd name="connsiteY40" fmla="*/ 2252595 h 2403475"/>
              <a:gd name="connsiteX41" fmla="*/ 8667415 w 11499847"/>
              <a:gd name="connsiteY41" fmla="*/ 2158090 h 2403475"/>
              <a:gd name="connsiteX42" fmla="*/ 8667415 w 11499847"/>
              <a:gd name="connsiteY42" fmla="*/ 1844675 h 2403475"/>
              <a:gd name="connsiteX43" fmla="*/ 8748710 w 11499847"/>
              <a:gd name="connsiteY43" fmla="*/ 1844675 h 2403475"/>
              <a:gd name="connsiteX44" fmla="*/ 8748710 w 11499847"/>
              <a:gd name="connsiteY44" fmla="*/ 2158717 h 2403475"/>
              <a:gd name="connsiteX45" fmla="*/ 8688577 w 11499847"/>
              <a:gd name="connsiteY45" fmla="*/ 2307793 h 2403475"/>
              <a:gd name="connsiteX46" fmla="*/ 8537093 w 11499847"/>
              <a:gd name="connsiteY46" fmla="*/ 2366963 h 2403475"/>
              <a:gd name="connsiteX47" fmla="*/ 8385399 w 11499847"/>
              <a:gd name="connsiteY47" fmla="*/ 2307793 h 2403475"/>
              <a:gd name="connsiteX48" fmla="*/ 8324847 w 11499847"/>
              <a:gd name="connsiteY48" fmla="*/ 2158717 h 2403475"/>
              <a:gd name="connsiteX49" fmla="*/ 8324847 w 11499847"/>
              <a:gd name="connsiteY49" fmla="*/ 1844675 h 2403475"/>
              <a:gd name="connsiteX50" fmla="*/ 7197722 w 11499847"/>
              <a:gd name="connsiteY50" fmla="*/ 1844675 h 2403475"/>
              <a:gd name="connsiteX51" fmla="*/ 7404196 w 11499847"/>
              <a:gd name="connsiteY51" fmla="*/ 1844675 h 2403475"/>
              <a:gd name="connsiteX52" fmla="*/ 7531336 w 11499847"/>
              <a:gd name="connsiteY52" fmla="*/ 1891906 h 2403475"/>
              <a:gd name="connsiteX53" fmla="*/ 7578727 w 11499847"/>
              <a:gd name="connsiteY53" fmla="*/ 2008937 h 2403475"/>
              <a:gd name="connsiteX54" fmla="*/ 7548455 w 11499847"/>
              <a:gd name="connsiteY54" fmla="*/ 2106950 h 2403475"/>
              <a:gd name="connsiteX55" fmla="*/ 7464947 w 11499847"/>
              <a:gd name="connsiteY55" fmla="*/ 2161495 h 2403475"/>
              <a:gd name="connsiteX56" fmla="*/ 7525699 w 11499847"/>
              <a:gd name="connsiteY56" fmla="*/ 2258673 h 2403475"/>
              <a:gd name="connsiteX57" fmla="*/ 7586660 w 11499847"/>
              <a:gd name="connsiteY57" fmla="*/ 2355850 h 2403475"/>
              <a:gd name="connsiteX58" fmla="*/ 7491044 w 11499847"/>
              <a:gd name="connsiteY58" fmla="*/ 2355850 h 2403475"/>
              <a:gd name="connsiteX59" fmla="*/ 7434676 w 11499847"/>
              <a:gd name="connsiteY59" fmla="*/ 2263479 h 2403475"/>
              <a:gd name="connsiteX60" fmla="*/ 7378099 w 11499847"/>
              <a:gd name="connsiteY60" fmla="*/ 2171108 h 2403475"/>
              <a:gd name="connsiteX61" fmla="*/ 7280395 w 11499847"/>
              <a:gd name="connsiteY61" fmla="*/ 2171108 h 2403475"/>
              <a:gd name="connsiteX62" fmla="*/ 7280395 w 11499847"/>
              <a:gd name="connsiteY62" fmla="*/ 2355850 h 2403475"/>
              <a:gd name="connsiteX63" fmla="*/ 7197722 w 11499847"/>
              <a:gd name="connsiteY63" fmla="*/ 2355850 h 2403475"/>
              <a:gd name="connsiteX64" fmla="*/ 7197722 w 11499847"/>
              <a:gd name="connsiteY64" fmla="*/ 1844675 h 2403475"/>
              <a:gd name="connsiteX65" fmla="*/ 7945016 w 11499847"/>
              <a:gd name="connsiteY65" fmla="*/ 1833563 h 2403475"/>
              <a:gd name="connsiteX66" fmla="*/ 8136527 w 11499847"/>
              <a:gd name="connsiteY66" fmla="*/ 1911974 h 2403475"/>
              <a:gd name="connsiteX67" fmla="*/ 8215310 w 11499847"/>
              <a:gd name="connsiteY67" fmla="*/ 2100368 h 2403475"/>
              <a:gd name="connsiteX68" fmla="*/ 8136527 w 11499847"/>
              <a:gd name="connsiteY68" fmla="*/ 2288762 h 2403475"/>
              <a:gd name="connsiteX69" fmla="*/ 7945016 w 11499847"/>
              <a:gd name="connsiteY69" fmla="*/ 2366963 h 2403475"/>
              <a:gd name="connsiteX70" fmla="*/ 7754134 w 11499847"/>
              <a:gd name="connsiteY70" fmla="*/ 2288762 h 2403475"/>
              <a:gd name="connsiteX71" fmla="*/ 7675560 w 11499847"/>
              <a:gd name="connsiteY71" fmla="*/ 2100368 h 2403475"/>
              <a:gd name="connsiteX72" fmla="*/ 7754134 w 11499847"/>
              <a:gd name="connsiteY72" fmla="*/ 1911974 h 2403475"/>
              <a:gd name="connsiteX73" fmla="*/ 7945016 w 11499847"/>
              <a:gd name="connsiteY73" fmla="*/ 1833563 h 2403475"/>
              <a:gd name="connsiteX74" fmla="*/ 6834872 w 11499847"/>
              <a:gd name="connsiteY74" fmla="*/ 1833563 h 2403475"/>
              <a:gd name="connsiteX75" fmla="*/ 6921875 w 11499847"/>
              <a:gd name="connsiteY75" fmla="*/ 1845482 h 2403475"/>
              <a:gd name="connsiteX76" fmla="*/ 6996090 w 11499847"/>
              <a:gd name="connsiteY76" fmla="*/ 1881028 h 2403475"/>
              <a:gd name="connsiteX77" fmla="*/ 6974496 w 11499847"/>
              <a:gd name="connsiteY77" fmla="*/ 1914692 h 2403475"/>
              <a:gd name="connsiteX78" fmla="*/ 6952903 w 11499847"/>
              <a:gd name="connsiteY78" fmla="*/ 1948356 h 2403475"/>
              <a:gd name="connsiteX79" fmla="*/ 6897556 w 11499847"/>
              <a:gd name="connsiteY79" fmla="*/ 1919501 h 2403475"/>
              <a:gd name="connsiteX80" fmla="*/ 6834243 w 11499847"/>
              <a:gd name="connsiteY80" fmla="*/ 1910301 h 2403475"/>
              <a:gd name="connsiteX81" fmla="*/ 6703424 w 11499847"/>
              <a:gd name="connsiteY81" fmla="*/ 1965084 h 2403475"/>
              <a:gd name="connsiteX82" fmla="*/ 6650384 w 11499847"/>
              <a:gd name="connsiteY82" fmla="*/ 2100368 h 2403475"/>
              <a:gd name="connsiteX83" fmla="*/ 6701957 w 11499847"/>
              <a:gd name="connsiteY83" fmla="*/ 2236070 h 2403475"/>
              <a:gd name="connsiteX84" fmla="*/ 6831308 w 11499847"/>
              <a:gd name="connsiteY84" fmla="*/ 2291062 h 2403475"/>
              <a:gd name="connsiteX85" fmla="*/ 6945984 w 11499847"/>
              <a:gd name="connsiteY85" fmla="*/ 2250498 h 2403475"/>
              <a:gd name="connsiteX86" fmla="*/ 6999863 w 11499847"/>
              <a:gd name="connsiteY86" fmla="*/ 2148460 h 2403475"/>
              <a:gd name="connsiteX87" fmla="*/ 6825438 w 11499847"/>
              <a:gd name="connsiteY87" fmla="*/ 2148460 h 2403475"/>
              <a:gd name="connsiteX88" fmla="*/ 6849128 w 11499847"/>
              <a:gd name="connsiteY88" fmla="*/ 2111241 h 2403475"/>
              <a:gd name="connsiteX89" fmla="*/ 6873028 w 11499847"/>
              <a:gd name="connsiteY89" fmla="*/ 2074022 h 2403475"/>
              <a:gd name="connsiteX90" fmla="*/ 7078061 w 11499847"/>
              <a:gd name="connsiteY90" fmla="*/ 2074022 h 2403475"/>
              <a:gd name="connsiteX91" fmla="*/ 7080787 w 11499847"/>
              <a:gd name="connsiteY91" fmla="*/ 2090540 h 2403475"/>
              <a:gd name="connsiteX92" fmla="*/ 7081835 w 11499847"/>
              <a:gd name="connsiteY92" fmla="*/ 2110613 h 2403475"/>
              <a:gd name="connsiteX93" fmla="*/ 7011813 w 11499847"/>
              <a:gd name="connsiteY93" fmla="*/ 2293362 h 2403475"/>
              <a:gd name="connsiteX94" fmla="*/ 6830470 w 11499847"/>
              <a:gd name="connsiteY94" fmla="*/ 2366963 h 2403475"/>
              <a:gd name="connsiteX95" fmla="*/ 6642417 w 11499847"/>
              <a:gd name="connsiteY95" fmla="*/ 2289389 h 2403475"/>
              <a:gd name="connsiteX96" fmla="*/ 6565897 w 11499847"/>
              <a:gd name="connsiteY96" fmla="*/ 2100368 h 2403475"/>
              <a:gd name="connsiteX97" fmla="*/ 6644514 w 11499847"/>
              <a:gd name="connsiteY97" fmla="*/ 1911346 h 2403475"/>
              <a:gd name="connsiteX98" fmla="*/ 6834872 w 11499847"/>
              <a:gd name="connsiteY98" fmla="*/ 1833563 h 2403475"/>
              <a:gd name="connsiteX99" fmla="*/ 501650 w 11499847"/>
              <a:gd name="connsiteY99" fmla="*/ 1403350 h 2403475"/>
              <a:gd name="connsiteX100" fmla="*/ 501650 w 11499847"/>
              <a:gd name="connsiteY100" fmla="*/ 1925638 h 2403475"/>
              <a:gd name="connsiteX101" fmla="*/ 842112 w 11499847"/>
              <a:gd name="connsiteY101" fmla="*/ 1925638 h 2403475"/>
              <a:gd name="connsiteX102" fmla="*/ 1182574 w 11499847"/>
              <a:gd name="connsiteY102" fmla="*/ 1925638 h 2403475"/>
              <a:gd name="connsiteX103" fmla="*/ 1375900 w 11499847"/>
              <a:gd name="connsiteY103" fmla="*/ 1849684 h 2403475"/>
              <a:gd name="connsiteX104" fmla="*/ 1455738 w 11499847"/>
              <a:gd name="connsiteY104" fmla="*/ 1662720 h 2403475"/>
              <a:gd name="connsiteX105" fmla="*/ 1375900 w 11499847"/>
              <a:gd name="connsiteY105" fmla="*/ 1477635 h 2403475"/>
              <a:gd name="connsiteX106" fmla="*/ 1182574 w 11499847"/>
              <a:gd name="connsiteY106" fmla="*/ 1403350 h 2403475"/>
              <a:gd name="connsiteX107" fmla="*/ 501650 w 11499847"/>
              <a:gd name="connsiteY107" fmla="*/ 1403350 h 2403475"/>
              <a:gd name="connsiteX108" fmla="*/ 7349808 w 11499847"/>
              <a:gd name="connsiteY108" fmla="*/ 1012825 h 2403475"/>
              <a:gd name="connsiteX109" fmla="*/ 7218292 w 11499847"/>
              <a:gd name="connsiteY109" fmla="*/ 1067952 h 2403475"/>
              <a:gd name="connsiteX110" fmla="*/ 7164385 w 11499847"/>
              <a:gd name="connsiteY110" fmla="*/ 1202427 h 2403475"/>
              <a:gd name="connsiteX111" fmla="*/ 7218292 w 11499847"/>
              <a:gd name="connsiteY111" fmla="*/ 1336903 h 2403475"/>
              <a:gd name="connsiteX112" fmla="*/ 7349808 w 11499847"/>
              <a:gd name="connsiteY112" fmla="*/ 1392238 h 2403475"/>
              <a:gd name="connsiteX113" fmla="*/ 7481953 w 11499847"/>
              <a:gd name="connsiteY113" fmla="*/ 1337320 h 2403475"/>
              <a:gd name="connsiteX114" fmla="*/ 7535860 w 11499847"/>
              <a:gd name="connsiteY114" fmla="*/ 1202427 h 2403475"/>
              <a:gd name="connsiteX115" fmla="*/ 7481534 w 11499847"/>
              <a:gd name="connsiteY115" fmla="*/ 1067952 h 2403475"/>
              <a:gd name="connsiteX116" fmla="*/ 7349808 w 11499847"/>
              <a:gd name="connsiteY116" fmla="*/ 1012825 h 2403475"/>
              <a:gd name="connsiteX117" fmla="*/ 10448922 w 11499847"/>
              <a:gd name="connsiteY117" fmla="*/ 946150 h 2403475"/>
              <a:gd name="connsiteX118" fmla="*/ 10552110 w 11499847"/>
              <a:gd name="connsiteY118" fmla="*/ 946150 h 2403475"/>
              <a:gd name="connsiteX119" fmla="*/ 10671172 w 11499847"/>
              <a:gd name="connsiteY119" fmla="*/ 1139825 h 2403475"/>
              <a:gd name="connsiteX120" fmla="*/ 10790235 w 11499847"/>
              <a:gd name="connsiteY120" fmla="*/ 1333501 h 2403475"/>
              <a:gd name="connsiteX121" fmla="*/ 10790235 w 11499847"/>
              <a:gd name="connsiteY121" fmla="*/ 946150 h 2403475"/>
              <a:gd name="connsiteX122" fmla="*/ 10869610 w 11499847"/>
              <a:gd name="connsiteY122" fmla="*/ 946150 h 2403475"/>
              <a:gd name="connsiteX123" fmla="*/ 10869610 w 11499847"/>
              <a:gd name="connsiteY123" fmla="*/ 1458913 h 2403475"/>
              <a:gd name="connsiteX124" fmla="*/ 10772772 w 11499847"/>
              <a:gd name="connsiteY124" fmla="*/ 1458913 h 2403475"/>
              <a:gd name="connsiteX125" fmla="*/ 10650535 w 11499847"/>
              <a:gd name="connsiteY125" fmla="*/ 1260475 h 2403475"/>
              <a:gd name="connsiteX126" fmla="*/ 10528297 w 11499847"/>
              <a:gd name="connsiteY126" fmla="*/ 1062038 h 2403475"/>
              <a:gd name="connsiteX127" fmla="*/ 10528297 w 11499847"/>
              <a:gd name="connsiteY127" fmla="*/ 1458913 h 2403475"/>
              <a:gd name="connsiteX128" fmla="*/ 10448922 w 11499847"/>
              <a:gd name="connsiteY128" fmla="*/ 1458913 h 2403475"/>
              <a:gd name="connsiteX129" fmla="*/ 10185397 w 11499847"/>
              <a:gd name="connsiteY129" fmla="*/ 946150 h 2403475"/>
              <a:gd name="connsiteX130" fmla="*/ 10267947 w 11499847"/>
              <a:gd name="connsiteY130" fmla="*/ 946150 h 2403475"/>
              <a:gd name="connsiteX131" fmla="*/ 10267947 w 11499847"/>
              <a:gd name="connsiteY131" fmla="*/ 1458913 h 2403475"/>
              <a:gd name="connsiteX132" fmla="*/ 10185397 w 11499847"/>
              <a:gd name="connsiteY132" fmla="*/ 1458913 h 2403475"/>
              <a:gd name="connsiteX133" fmla="*/ 9656760 w 11499847"/>
              <a:gd name="connsiteY133" fmla="*/ 946150 h 2403475"/>
              <a:gd name="connsiteX134" fmla="*/ 10059985 w 11499847"/>
              <a:gd name="connsiteY134" fmla="*/ 946150 h 2403475"/>
              <a:gd name="connsiteX135" fmla="*/ 10059985 w 11499847"/>
              <a:gd name="connsiteY135" fmla="*/ 1022350 h 2403475"/>
              <a:gd name="connsiteX136" fmla="*/ 9899648 w 11499847"/>
              <a:gd name="connsiteY136" fmla="*/ 1022350 h 2403475"/>
              <a:gd name="connsiteX137" fmla="*/ 9899648 w 11499847"/>
              <a:gd name="connsiteY137" fmla="*/ 1458913 h 2403475"/>
              <a:gd name="connsiteX138" fmla="*/ 9817098 w 11499847"/>
              <a:gd name="connsiteY138" fmla="*/ 1458913 h 2403475"/>
              <a:gd name="connsiteX139" fmla="*/ 9817098 w 11499847"/>
              <a:gd name="connsiteY139" fmla="*/ 1022350 h 2403475"/>
              <a:gd name="connsiteX140" fmla="*/ 9656760 w 11499847"/>
              <a:gd name="connsiteY140" fmla="*/ 1022350 h 2403475"/>
              <a:gd name="connsiteX141" fmla="*/ 9336085 w 11499847"/>
              <a:gd name="connsiteY141" fmla="*/ 946150 h 2403475"/>
              <a:gd name="connsiteX142" fmla="*/ 9418635 w 11499847"/>
              <a:gd name="connsiteY142" fmla="*/ 946150 h 2403475"/>
              <a:gd name="connsiteX143" fmla="*/ 9418635 w 11499847"/>
              <a:gd name="connsiteY143" fmla="*/ 1382713 h 2403475"/>
              <a:gd name="connsiteX144" fmla="*/ 9671048 w 11499847"/>
              <a:gd name="connsiteY144" fmla="*/ 1382713 h 2403475"/>
              <a:gd name="connsiteX145" fmla="*/ 9671048 w 11499847"/>
              <a:gd name="connsiteY145" fmla="*/ 1458913 h 2403475"/>
              <a:gd name="connsiteX146" fmla="*/ 9336085 w 11499847"/>
              <a:gd name="connsiteY146" fmla="*/ 1458913 h 2403475"/>
              <a:gd name="connsiteX147" fmla="*/ 8766172 w 11499847"/>
              <a:gd name="connsiteY147" fmla="*/ 946150 h 2403475"/>
              <a:gd name="connsiteX148" fmla="*/ 8848414 w 11499847"/>
              <a:gd name="connsiteY148" fmla="*/ 946150 h 2403475"/>
              <a:gd name="connsiteX149" fmla="*/ 8848414 w 11499847"/>
              <a:gd name="connsiteY149" fmla="*/ 1260391 h 2403475"/>
              <a:gd name="connsiteX150" fmla="*/ 8883900 w 11499847"/>
              <a:gd name="connsiteY150" fmla="*/ 1355146 h 2403475"/>
              <a:gd name="connsiteX151" fmla="*/ 8978249 w 11499847"/>
              <a:gd name="connsiteY151" fmla="*/ 1393718 h 2403475"/>
              <a:gd name="connsiteX152" fmla="*/ 9071972 w 11499847"/>
              <a:gd name="connsiteY152" fmla="*/ 1355146 h 2403475"/>
              <a:gd name="connsiteX153" fmla="*/ 9107457 w 11499847"/>
              <a:gd name="connsiteY153" fmla="*/ 1260391 h 2403475"/>
              <a:gd name="connsiteX154" fmla="*/ 9107457 w 11499847"/>
              <a:gd name="connsiteY154" fmla="*/ 946150 h 2403475"/>
              <a:gd name="connsiteX155" fmla="*/ 9188447 w 11499847"/>
              <a:gd name="connsiteY155" fmla="*/ 946150 h 2403475"/>
              <a:gd name="connsiteX156" fmla="*/ 9188447 w 11499847"/>
              <a:gd name="connsiteY156" fmla="*/ 1261230 h 2403475"/>
              <a:gd name="connsiteX157" fmla="*/ 9128539 w 11499847"/>
              <a:gd name="connsiteY157" fmla="*/ 1410489 h 2403475"/>
              <a:gd name="connsiteX158" fmla="*/ 8977623 w 11499847"/>
              <a:gd name="connsiteY158" fmla="*/ 1470025 h 2403475"/>
              <a:gd name="connsiteX159" fmla="*/ 8826497 w 11499847"/>
              <a:gd name="connsiteY159" fmla="*/ 1410489 h 2403475"/>
              <a:gd name="connsiteX160" fmla="*/ 8766172 w 11499847"/>
              <a:gd name="connsiteY160" fmla="*/ 1261230 h 2403475"/>
              <a:gd name="connsiteX161" fmla="*/ 8766172 w 11499847"/>
              <a:gd name="connsiteY161" fmla="*/ 946150 h 2403475"/>
              <a:gd name="connsiteX162" fmla="*/ 7737472 w 11499847"/>
              <a:gd name="connsiteY162" fmla="*/ 946150 h 2403475"/>
              <a:gd name="connsiteX163" fmla="*/ 7839072 w 11499847"/>
              <a:gd name="connsiteY163" fmla="*/ 946150 h 2403475"/>
              <a:gd name="connsiteX164" fmla="*/ 7958134 w 11499847"/>
              <a:gd name="connsiteY164" fmla="*/ 1139825 h 2403475"/>
              <a:gd name="connsiteX165" fmla="*/ 8077197 w 11499847"/>
              <a:gd name="connsiteY165" fmla="*/ 1333501 h 2403475"/>
              <a:gd name="connsiteX166" fmla="*/ 8077197 w 11499847"/>
              <a:gd name="connsiteY166" fmla="*/ 946150 h 2403475"/>
              <a:gd name="connsiteX167" fmla="*/ 8156572 w 11499847"/>
              <a:gd name="connsiteY167" fmla="*/ 946150 h 2403475"/>
              <a:gd name="connsiteX168" fmla="*/ 8156572 w 11499847"/>
              <a:gd name="connsiteY168" fmla="*/ 1458913 h 2403475"/>
              <a:gd name="connsiteX169" fmla="*/ 8061322 w 11499847"/>
              <a:gd name="connsiteY169" fmla="*/ 1458913 h 2403475"/>
              <a:gd name="connsiteX170" fmla="*/ 7939084 w 11499847"/>
              <a:gd name="connsiteY170" fmla="*/ 1260475 h 2403475"/>
              <a:gd name="connsiteX171" fmla="*/ 7815259 w 11499847"/>
              <a:gd name="connsiteY171" fmla="*/ 1062038 h 2403475"/>
              <a:gd name="connsiteX172" fmla="*/ 7815259 w 11499847"/>
              <a:gd name="connsiteY172" fmla="*/ 1458913 h 2403475"/>
              <a:gd name="connsiteX173" fmla="*/ 7737472 w 11499847"/>
              <a:gd name="connsiteY173" fmla="*/ 1458913 h 2403475"/>
              <a:gd name="connsiteX174" fmla="*/ 11253544 w 11499847"/>
              <a:gd name="connsiteY174" fmla="*/ 936625 h 2403475"/>
              <a:gd name="connsiteX175" fmla="*/ 11340315 w 11499847"/>
              <a:gd name="connsiteY175" fmla="*/ 948334 h 2403475"/>
              <a:gd name="connsiteX176" fmla="*/ 11414331 w 11499847"/>
              <a:gd name="connsiteY176" fmla="*/ 984090 h 2403475"/>
              <a:gd name="connsiteX177" fmla="*/ 11392795 w 11499847"/>
              <a:gd name="connsiteY177" fmla="*/ 1017545 h 2403475"/>
              <a:gd name="connsiteX178" fmla="*/ 11371260 w 11499847"/>
              <a:gd name="connsiteY178" fmla="*/ 1051209 h 2403475"/>
              <a:gd name="connsiteX179" fmla="*/ 11316270 w 11499847"/>
              <a:gd name="connsiteY179" fmla="*/ 1022354 h 2403475"/>
              <a:gd name="connsiteX180" fmla="*/ 11252917 w 11499847"/>
              <a:gd name="connsiteY180" fmla="*/ 1013363 h 2403475"/>
              <a:gd name="connsiteX181" fmla="*/ 11122657 w 11499847"/>
              <a:gd name="connsiteY181" fmla="*/ 1067936 h 2403475"/>
              <a:gd name="connsiteX182" fmla="*/ 11069549 w 11499847"/>
              <a:gd name="connsiteY182" fmla="*/ 1203221 h 2403475"/>
              <a:gd name="connsiteX183" fmla="*/ 11120984 w 11499847"/>
              <a:gd name="connsiteY183" fmla="*/ 1338923 h 2403475"/>
              <a:gd name="connsiteX184" fmla="*/ 11249990 w 11499847"/>
              <a:gd name="connsiteY184" fmla="*/ 1394124 h 2403475"/>
              <a:gd name="connsiteX185" fmla="*/ 11364360 w 11499847"/>
              <a:gd name="connsiteY185" fmla="*/ 1353350 h 2403475"/>
              <a:gd name="connsiteX186" fmla="*/ 11418095 w 11499847"/>
              <a:gd name="connsiteY186" fmla="*/ 1251521 h 2403475"/>
              <a:gd name="connsiteX187" fmla="*/ 11244136 w 11499847"/>
              <a:gd name="connsiteY187" fmla="*/ 1251521 h 2403475"/>
              <a:gd name="connsiteX188" fmla="*/ 11267971 w 11499847"/>
              <a:gd name="connsiteY188" fmla="*/ 1214303 h 2403475"/>
              <a:gd name="connsiteX189" fmla="*/ 11291598 w 11499847"/>
              <a:gd name="connsiteY189" fmla="*/ 1177084 h 2403475"/>
              <a:gd name="connsiteX190" fmla="*/ 11496083 w 11499847"/>
              <a:gd name="connsiteY190" fmla="*/ 1177084 h 2403475"/>
              <a:gd name="connsiteX191" fmla="*/ 11498802 w 11499847"/>
              <a:gd name="connsiteY191" fmla="*/ 1193393 h 2403475"/>
              <a:gd name="connsiteX192" fmla="*/ 11499847 w 11499847"/>
              <a:gd name="connsiteY192" fmla="*/ 1213466 h 2403475"/>
              <a:gd name="connsiteX193" fmla="*/ 11430222 w 11499847"/>
              <a:gd name="connsiteY193" fmla="*/ 1396215 h 2403475"/>
              <a:gd name="connsiteX194" fmla="*/ 11249154 w 11499847"/>
              <a:gd name="connsiteY194" fmla="*/ 1470025 h 2403475"/>
              <a:gd name="connsiteX195" fmla="*/ 11061813 w 11499847"/>
              <a:gd name="connsiteY195" fmla="*/ 1392242 h 2403475"/>
              <a:gd name="connsiteX196" fmla="*/ 10985497 w 11499847"/>
              <a:gd name="connsiteY196" fmla="*/ 1203221 h 2403475"/>
              <a:gd name="connsiteX197" fmla="*/ 11063695 w 11499847"/>
              <a:gd name="connsiteY197" fmla="*/ 1014408 h 2403475"/>
              <a:gd name="connsiteX198" fmla="*/ 11253544 w 11499847"/>
              <a:gd name="connsiteY198" fmla="*/ 936625 h 2403475"/>
              <a:gd name="connsiteX199" fmla="*/ 8471697 w 11499847"/>
              <a:gd name="connsiteY199" fmla="*/ 936625 h 2403475"/>
              <a:gd name="connsiteX200" fmla="*/ 8556850 w 11499847"/>
              <a:gd name="connsiteY200" fmla="*/ 949798 h 2403475"/>
              <a:gd name="connsiteX201" fmla="*/ 8626729 w 11499847"/>
              <a:gd name="connsiteY201" fmla="*/ 984717 h 2403475"/>
              <a:gd name="connsiteX202" fmla="*/ 8606225 w 11499847"/>
              <a:gd name="connsiteY202" fmla="*/ 1017336 h 2403475"/>
              <a:gd name="connsiteX203" fmla="*/ 8585722 w 11499847"/>
              <a:gd name="connsiteY203" fmla="*/ 1049745 h 2403475"/>
              <a:gd name="connsiteX204" fmla="*/ 8528605 w 11499847"/>
              <a:gd name="connsiteY204" fmla="*/ 1021099 h 2403475"/>
              <a:gd name="connsiteX205" fmla="*/ 8471070 w 11499847"/>
              <a:gd name="connsiteY205" fmla="*/ 1011063 h 2403475"/>
              <a:gd name="connsiteX206" fmla="*/ 8404328 w 11499847"/>
              <a:gd name="connsiteY206" fmla="*/ 1032181 h 2403475"/>
              <a:gd name="connsiteX207" fmla="*/ 8382570 w 11499847"/>
              <a:gd name="connsiteY207" fmla="*/ 1084246 h 2403475"/>
              <a:gd name="connsiteX208" fmla="*/ 8412697 w 11499847"/>
              <a:gd name="connsiteY208" fmla="*/ 1135474 h 2403475"/>
              <a:gd name="connsiteX209" fmla="*/ 8493038 w 11499847"/>
              <a:gd name="connsiteY209" fmla="*/ 1165165 h 2403475"/>
              <a:gd name="connsiteX210" fmla="*/ 8600786 w 11499847"/>
              <a:gd name="connsiteY210" fmla="*/ 1212421 h 2403475"/>
              <a:gd name="connsiteX211" fmla="*/ 8648697 w 11499847"/>
              <a:gd name="connsiteY211" fmla="*/ 1314250 h 2403475"/>
              <a:gd name="connsiteX212" fmla="*/ 8601413 w 11499847"/>
              <a:gd name="connsiteY212" fmla="*/ 1425906 h 2403475"/>
              <a:gd name="connsiteX213" fmla="*/ 8468140 w 11499847"/>
              <a:gd name="connsiteY213" fmla="*/ 1470025 h 2403475"/>
              <a:gd name="connsiteX214" fmla="*/ 8363531 w 11499847"/>
              <a:gd name="connsiteY214" fmla="*/ 1452461 h 2403475"/>
              <a:gd name="connsiteX215" fmla="*/ 8286747 w 11499847"/>
              <a:gd name="connsiteY215" fmla="*/ 1411479 h 2403475"/>
              <a:gd name="connsiteX216" fmla="*/ 8307251 w 11499847"/>
              <a:gd name="connsiteY216" fmla="*/ 1379069 h 2403475"/>
              <a:gd name="connsiteX217" fmla="*/ 8327754 w 11499847"/>
              <a:gd name="connsiteY217" fmla="*/ 1346450 h 2403475"/>
              <a:gd name="connsiteX218" fmla="*/ 8395541 w 11499847"/>
              <a:gd name="connsiteY218" fmla="*/ 1381578 h 2403475"/>
              <a:gd name="connsiteX219" fmla="*/ 8468768 w 11499847"/>
              <a:gd name="connsiteY219" fmla="*/ 1395378 h 2403475"/>
              <a:gd name="connsiteX220" fmla="*/ 8541367 w 11499847"/>
              <a:gd name="connsiteY220" fmla="*/ 1373633 h 2403475"/>
              <a:gd name="connsiteX221" fmla="*/ 8566055 w 11499847"/>
              <a:gd name="connsiteY221" fmla="*/ 1319477 h 2403475"/>
              <a:gd name="connsiteX222" fmla="*/ 8535509 w 11499847"/>
              <a:gd name="connsiteY222" fmla="*/ 1268458 h 2403475"/>
              <a:gd name="connsiteX223" fmla="*/ 8455587 w 11499847"/>
              <a:gd name="connsiteY223" fmla="*/ 1238348 h 2403475"/>
              <a:gd name="connsiteX224" fmla="*/ 8347630 w 11499847"/>
              <a:gd name="connsiteY224" fmla="*/ 1191511 h 2403475"/>
              <a:gd name="connsiteX225" fmla="*/ 8299928 w 11499847"/>
              <a:gd name="connsiteY225" fmla="*/ 1089264 h 2403475"/>
              <a:gd name="connsiteX226" fmla="*/ 8345329 w 11499847"/>
              <a:gd name="connsiteY226" fmla="*/ 979489 h 2403475"/>
              <a:gd name="connsiteX227" fmla="*/ 8471697 w 11499847"/>
              <a:gd name="connsiteY227" fmla="*/ 936625 h 2403475"/>
              <a:gd name="connsiteX228" fmla="*/ 7349808 w 11499847"/>
              <a:gd name="connsiteY228" fmla="*/ 936625 h 2403475"/>
              <a:gd name="connsiteX229" fmla="*/ 7541183 w 11499847"/>
              <a:gd name="connsiteY229" fmla="*/ 1014826 h 2403475"/>
              <a:gd name="connsiteX230" fmla="*/ 7619997 w 11499847"/>
              <a:gd name="connsiteY230" fmla="*/ 1203221 h 2403475"/>
              <a:gd name="connsiteX231" fmla="*/ 7541183 w 11499847"/>
              <a:gd name="connsiteY231" fmla="*/ 1391615 h 2403475"/>
              <a:gd name="connsiteX232" fmla="*/ 7349808 w 11499847"/>
              <a:gd name="connsiteY232" fmla="*/ 1470025 h 2403475"/>
              <a:gd name="connsiteX233" fmla="*/ 7158642 w 11499847"/>
              <a:gd name="connsiteY233" fmla="*/ 1391615 h 2403475"/>
              <a:gd name="connsiteX234" fmla="*/ 7080247 w 11499847"/>
              <a:gd name="connsiteY234" fmla="*/ 1203221 h 2403475"/>
              <a:gd name="connsiteX235" fmla="*/ 7158642 w 11499847"/>
              <a:gd name="connsiteY235" fmla="*/ 1014826 h 2403475"/>
              <a:gd name="connsiteX236" fmla="*/ 7349808 w 11499847"/>
              <a:gd name="connsiteY236" fmla="*/ 936625 h 2403475"/>
              <a:gd name="connsiteX237" fmla="*/ 6837427 w 11499847"/>
              <a:gd name="connsiteY237" fmla="*/ 936625 h 2403475"/>
              <a:gd name="connsiteX238" fmla="*/ 6932756 w 11499847"/>
              <a:gd name="connsiteY238" fmla="*/ 951680 h 2403475"/>
              <a:gd name="connsiteX239" fmla="*/ 7008810 w 11499847"/>
              <a:gd name="connsiteY239" fmla="*/ 993499 h 2403475"/>
              <a:gd name="connsiteX240" fmla="*/ 6987439 w 11499847"/>
              <a:gd name="connsiteY240" fmla="*/ 1026745 h 2403475"/>
              <a:gd name="connsiteX241" fmla="*/ 6966278 w 11499847"/>
              <a:gd name="connsiteY241" fmla="*/ 1059991 h 2403475"/>
              <a:gd name="connsiteX242" fmla="*/ 6904891 w 11499847"/>
              <a:gd name="connsiteY242" fmla="*/ 1024863 h 2403475"/>
              <a:gd name="connsiteX243" fmla="*/ 6833027 w 11499847"/>
              <a:gd name="connsiteY243" fmla="*/ 1012526 h 2403475"/>
              <a:gd name="connsiteX244" fmla="*/ 6703338 w 11499847"/>
              <a:gd name="connsiteY244" fmla="*/ 1067727 h 2403475"/>
              <a:gd name="connsiteX245" fmla="*/ 6649912 w 11499847"/>
              <a:gd name="connsiteY245" fmla="*/ 1203221 h 2403475"/>
              <a:gd name="connsiteX246" fmla="*/ 6703338 w 11499847"/>
              <a:gd name="connsiteY246" fmla="*/ 1338923 h 2403475"/>
              <a:gd name="connsiteX247" fmla="*/ 6833027 w 11499847"/>
              <a:gd name="connsiteY247" fmla="*/ 1393915 h 2403475"/>
              <a:gd name="connsiteX248" fmla="*/ 6904891 w 11499847"/>
              <a:gd name="connsiteY248" fmla="*/ 1381787 h 2403475"/>
              <a:gd name="connsiteX249" fmla="*/ 6966278 w 11499847"/>
              <a:gd name="connsiteY249" fmla="*/ 1346450 h 2403475"/>
              <a:gd name="connsiteX250" fmla="*/ 6987439 w 11499847"/>
              <a:gd name="connsiteY250" fmla="*/ 1379696 h 2403475"/>
              <a:gd name="connsiteX251" fmla="*/ 7008810 w 11499847"/>
              <a:gd name="connsiteY251" fmla="*/ 1412942 h 2403475"/>
              <a:gd name="connsiteX252" fmla="*/ 6932756 w 11499847"/>
              <a:gd name="connsiteY252" fmla="*/ 1454970 h 2403475"/>
              <a:gd name="connsiteX253" fmla="*/ 6837427 w 11499847"/>
              <a:gd name="connsiteY253" fmla="*/ 1470025 h 2403475"/>
              <a:gd name="connsiteX254" fmla="*/ 6644674 w 11499847"/>
              <a:gd name="connsiteY254" fmla="*/ 1392242 h 2403475"/>
              <a:gd name="connsiteX255" fmla="*/ 6565897 w 11499847"/>
              <a:gd name="connsiteY255" fmla="*/ 1203221 h 2403475"/>
              <a:gd name="connsiteX256" fmla="*/ 6644674 w 11499847"/>
              <a:gd name="connsiteY256" fmla="*/ 1014408 h 2403475"/>
              <a:gd name="connsiteX257" fmla="*/ 6837427 w 11499847"/>
              <a:gd name="connsiteY257" fmla="*/ 936625 h 2403475"/>
              <a:gd name="connsiteX258" fmla="*/ 501650 w 11499847"/>
              <a:gd name="connsiteY258" fmla="*/ 477838 h 2403475"/>
              <a:gd name="connsiteX259" fmla="*/ 501650 w 11499847"/>
              <a:gd name="connsiteY259" fmla="*/ 981076 h 2403475"/>
              <a:gd name="connsiteX260" fmla="*/ 786010 w 11499847"/>
              <a:gd name="connsiteY260" fmla="*/ 981076 h 2403475"/>
              <a:gd name="connsiteX261" fmla="*/ 1070579 w 11499847"/>
              <a:gd name="connsiteY261" fmla="*/ 981076 h 2403475"/>
              <a:gd name="connsiteX262" fmla="*/ 1253188 w 11499847"/>
              <a:gd name="connsiteY262" fmla="*/ 908588 h 2403475"/>
              <a:gd name="connsiteX263" fmla="*/ 1327150 w 11499847"/>
              <a:gd name="connsiteY263" fmla="*/ 727681 h 2403475"/>
              <a:gd name="connsiteX264" fmla="*/ 1253188 w 11499847"/>
              <a:gd name="connsiteY264" fmla="*/ 548446 h 2403475"/>
              <a:gd name="connsiteX265" fmla="*/ 1070579 w 11499847"/>
              <a:gd name="connsiteY265" fmla="*/ 477838 h 2403475"/>
              <a:gd name="connsiteX266" fmla="*/ 501650 w 11499847"/>
              <a:gd name="connsiteY266" fmla="*/ 477838 h 2403475"/>
              <a:gd name="connsiteX267" fmla="*/ 6675435 w 11499847"/>
              <a:gd name="connsiteY267" fmla="*/ 336550 h 2403475"/>
              <a:gd name="connsiteX268" fmla="*/ 6675435 w 11499847"/>
              <a:gd name="connsiteY268" fmla="*/ 487363 h 2403475"/>
              <a:gd name="connsiteX269" fmla="*/ 6808467 w 11499847"/>
              <a:gd name="connsiteY269" fmla="*/ 487363 h 2403475"/>
              <a:gd name="connsiteX270" fmla="*/ 6865570 w 11499847"/>
              <a:gd name="connsiteY270" fmla="*/ 465370 h 2403475"/>
              <a:gd name="connsiteX271" fmla="*/ 6888160 w 11499847"/>
              <a:gd name="connsiteY271" fmla="*/ 411957 h 2403475"/>
              <a:gd name="connsiteX272" fmla="*/ 6865570 w 11499847"/>
              <a:gd name="connsiteY272" fmla="*/ 358334 h 2403475"/>
              <a:gd name="connsiteX273" fmla="*/ 6808467 w 11499847"/>
              <a:gd name="connsiteY273" fmla="*/ 336550 h 2403475"/>
              <a:gd name="connsiteX274" fmla="*/ 6675435 w 11499847"/>
              <a:gd name="connsiteY274" fmla="*/ 336550 h 2403475"/>
              <a:gd name="connsiteX275" fmla="*/ 6675435 w 11499847"/>
              <a:gd name="connsiteY275" fmla="*/ 122238 h 2403475"/>
              <a:gd name="connsiteX276" fmla="*/ 6675435 w 11499847"/>
              <a:gd name="connsiteY276" fmla="*/ 265113 h 2403475"/>
              <a:gd name="connsiteX277" fmla="*/ 6795279 w 11499847"/>
              <a:gd name="connsiteY277" fmla="*/ 265113 h 2403475"/>
              <a:gd name="connsiteX278" fmla="*/ 6848404 w 11499847"/>
              <a:gd name="connsiteY278" fmla="*/ 244673 h 2403475"/>
              <a:gd name="connsiteX279" fmla="*/ 6869110 w 11499847"/>
              <a:gd name="connsiteY279" fmla="*/ 193571 h 2403475"/>
              <a:gd name="connsiteX280" fmla="*/ 6848404 w 11499847"/>
              <a:gd name="connsiteY280" fmla="*/ 142679 h 2403475"/>
              <a:gd name="connsiteX281" fmla="*/ 6795279 w 11499847"/>
              <a:gd name="connsiteY281" fmla="*/ 122238 h 2403475"/>
              <a:gd name="connsiteX282" fmla="*/ 6675435 w 11499847"/>
              <a:gd name="connsiteY282" fmla="*/ 122238 h 2403475"/>
              <a:gd name="connsiteX283" fmla="*/ 8850791 w 11499847"/>
              <a:gd name="connsiteY283" fmla="*/ 114300 h 2403475"/>
              <a:gd name="connsiteX284" fmla="*/ 8719837 w 11499847"/>
              <a:gd name="connsiteY284" fmla="*/ 169657 h 2403475"/>
              <a:gd name="connsiteX285" fmla="*/ 8666160 w 11499847"/>
              <a:gd name="connsiteY285" fmla="*/ 304905 h 2403475"/>
              <a:gd name="connsiteX286" fmla="*/ 8719837 w 11499847"/>
              <a:gd name="connsiteY286" fmla="*/ 439943 h 2403475"/>
              <a:gd name="connsiteX287" fmla="*/ 8850791 w 11499847"/>
              <a:gd name="connsiteY287" fmla="*/ 495300 h 2403475"/>
              <a:gd name="connsiteX288" fmla="*/ 8982163 w 11499847"/>
              <a:gd name="connsiteY288" fmla="*/ 440153 h 2403475"/>
              <a:gd name="connsiteX289" fmla="*/ 9036048 w 11499847"/>
              <a:gd name="connsiteY289" fmla="*/ 304905 h 2403475"/>
              <a:gd name="connsiteX290" fmla="*/ 8981954 w 11499847"/>
              <a:gd name="connsiteY290" fmla="*/ 169657 h 2403475"/>
              <a:gd name="connsiteX291" fmla="*/ 8850791 w 11499847"/>
              <a:gd name="connsiteY291" fmla="*/ 114300 h 2403475"/>
              <a:gd name="connsiteX292" fmla="*/ 7335415 w 11499847"/>
              <a:gd name="connsiteY292" fmla="*/ 114300 h 2403475"/>
              <a:gd name="connsiteX293" fmla="*/ 7203974 w 11499847"/>
              <a:gd name="connsiteY293" fmla="*/ 169657 h 2403475"/>
              <a:gd name="connsiteX294" fmla="*/ 7150097 w 11499847"/>
              <a:gd name="connsiteY294" fmla="*/ 304905 h 2403475"/>
              <a:gd name="connsiteX295" fmla="*/ 7203974 w 11499847"/>
              <a:gd name="connsiteY295" fmla="*/ 439943 h 2403475"/>
              <a:gd name="connsiteX296" fmla="*/ 7335415 w 11499847"/>
              <a:gd name="connsiteY296" fmla="*/ 495300 h 2403475"/>
              <a:gd name="connsiteX297" fmla="*/ 7467486 w 11499847"/>
              <a:gd name="connsiteY297" fmla="*/ 440153 h 2403475"/>
              <a:gd name="connsiteX298" fmla="*/ 7521572 w 11499847"/>
              <a:gd name="connsiteY298" fmla="*/ 304905 h 2403475"/>
              <a:gd name="connsiteX299" fmla="*/ 7467067 w 11499847"/>
              <a:gd name="connsiteY299" fmla="*/ 169657 h 2403475"/>
              <a:gd name="connsiteX300" fmla="*/ 7335415 w 11499847"/>
              <a:gd name="connsiteY300" fmla="*/ 114300 h 2403475"/>
              <a:gd name="connsiteX301" fmla="*/ 9237660 w 11499847"/>
              <a:gd name="connsiteY301" fmla="*/ 49213 h 2403475"/>
              <a:gd name="connsiteX302" fmla="*/ 9339260 w 11499847"/>
              <a:gd name="connsiteY302" fmla="*/ 49213 h 2403475"/>
              <a:gd name="connsiteX303" fmla="*/ 9458322 w 11499847"/>
              <a:gd name="connsiteY303" fmla="*/ 242888 h 2403475"/>
              <a:gd name="connsiteX304" fmla="*/ 9578972 w 11499847"/>
              <a:gd name="connsiteY304" fmla="*/ 436563 h 2403475"/>
              <a:gd name="connsiteX305" fmla="*/ 9578972 w 11499847"/>
              <a:gd name="connsiteY305" fmla="*/ 49213 h 2403475"/>
              <a:gd name="connsiteX306" fmla="*/ 9656760 w 11499847"/>
              <a:gd name="connsiteY306" fmla="*/ 49213 h 2403475"/>
              <a:gd name="connsiteX307" fmla="*/ 9656760 w 11499847"/>
              <a:gd name="connsiteY307" fmla="*/ 560388 h 2403475"/>
              <a:gd name="connsiteX308" fmla="*/ 9561510 w 11499847"/>
              <a:gd name="connsiteY308" fmla="*/ 560388 h 2403475"/>
              <a:gd name="connsiteX309" fmla="*/ 9439272 w 11499847"/>
              <a:gd name="connsiteY309" fmla="*/ 363538 h 2403475"/>
              <a:gd name="connsiteX310" fmla="*/ 9317035 w 11499847"/>
              <a:gd name="connsiteY310" fmla="*/ 165101 h 2403475"/>
              <a:gd name="connsiteX311" fmla="*/ 9317035 w 11499847"/>
              <a:gd name="connsiteY311" fmla="*/ 560388 h 2403475"/>
              <a:gd name="connsiteX312" fmla="*/ 9237660 w 11499847"/>
              <a:gd name="connsiteY312" fmla="*/ 560388 h 2403475"/>
              <a:gd name="connsiteX313" fmla="*/ 8126410 w 11499847"/>
              <a:gd name="connsiteY313" fmla="*/ 49213 h 2403475"/>
              <a:gd name="connsiteX314" fmla="*/ 8529635 w 11499847"/>
              <a:gd name="connsiteY314" fmla="*/ 49213 h 2403475"/>
              <a:gd name="connsiteX315" fmla="*/ 8529635 w 11499847"/>
              <a:gd name="connsiteY315" fmla="*/ 125413 h 2403475"/>
              <a:gd name="connsiteX316" fmla="*/ 8369298 w 11499847"/>
              <a:gd name="connsiteY316" fmla="*/ 125413 h 2403475"/>
              <a:gd name="connsiteX317" fmla="*/ 8369298 w 11499847"/>
              <a:gd name="connsiteY317" fmla="*/ 560388 h 2403475"/>
              <a:gd name="connsiteX318" fmla="*/ 8285160 w 11499847"/>
              <a:gd name="connsiteY318" fmla="*/ 560388 h 2403475"/>
              <a:gd name="connsiteX319" fmla="*/ 8285160 w 11499847"/>
              <a:gd name="connsiteY319" fmla="*/ 125413 h 2403475"/>
              <a:gd name="connsiteX320" fmla="*/ 8126410 w 11499847"/>
              <a:gd name="connsiteY320" fmla="*/ 125413 h 2403475"/>
              <a:gd name="connsiteX321" fmla="*/ 6592885 w 11499847"/>
              <a:gd name="connsiteY321" fmla="*/ 49213 h 2403475"/>
              <a:gd name="connsiteX322" fmla="*/ 6795851 w 11499847"/>
              <a:gd name="connsiteY322" fmla="*/ 49213 h 2403475"/>
              <a:gd name="connsiteX323" fmla="*/ 6907775 w 11499847"/>
              <a:gd name="connsiteY323" fmla="*/ 87875 h 2403475"/>
              <a:gd name="connsiteX324" fmla="*/ 6952670 w 11499847"/>
              <a:gd name="connsiteY324" fmla="*/ 185680 h 2403475"/>
              <a:gd name="connsiteX325" fmla="*/ 6936382 w 11499847"/>
              <a:gd name="connsiteY325" fmla="*/ 245658 h 2403475"/>
              <a:gd name="connsiteX326" fmla="*/ 6892114 w 11499847"/>
              <a:gd name="connsiteY326" fmla="*/ 288709 h 2403475"/>
              <a:gd name="connsiteX327" fmla="*/ 6950791 w 11499847"/>
              <a:gd name="connsiteY327" fmla="*/ 339492 h 2403475"/>
              <a:gd name="connsiteX328" fmla="*/ 6972298 w 11499847"/>
              <a:gd name="connsiteY328" fmla="*/ 412845 h 2403475"/>
              <a:gd name="connsiteX329" fmla="*/ 6926359 w 11499847"/>
              <a:gd name="connsiteY329" fmla="*/ 517546 h 2403475"/>
              <a:gd name="connsiteX330" fmla="*/ 6808798 w 11499847"/>
              <a:gd name="connsiteY330" fmla="*/ 560388 h 2403475"/>
              <a:gd name="connsiteX331" fmla="*/ 6592885 w 11499847"/>
              <a:gd name="connsiteY331" fmla="*/ 560388 h 2403475"/>
              <a:gd name="connsiteX332" fmla="*/ 6592885 w 11499847"/>
              <a:gd name="connsiteY332" fmla="*/ 49213 h 2403475"/>
              <a:gd name="connsiteX333" fmla="*/ 8850790 w 11499847"/>
              <a:gd name="connsiteY333" fmla="*/ 38100 h 2403475"/>
              <a:gd name="connsiteX334" fmla="*/ 9041603 w 11499847"/>
              <a:gd name="connsiteY334" fmla="*/ 116301 h 2403475"/>
              <a:gd name="connsiteX335" fmla="*/ 9120185 w 11499847"/>
              <a:gd name="connsiteY335" fmla="*/ 304905 h 2403475"/>
              <a:gd name="connsiteX336" fmla="*/ 9041603 w 11499847"/>
              <a:gd name="connsiteY336" fmla="*/ 493090 h 2403475"/>
              <a:gd name="connsiteX337" fmla="*/ 8850790 w 11499847"/>
              <a:gd name="connsiteY337" fmla="*/ 571500 h 2403475"/>
              <a:gd name="connsiteX338" fmla="*/ 8660186 w 11499847"/>
              <a:gd name="connsiteY338" fmla="*/ 493090 h 2403475"/>
              <a:gd name="connsiteX339" fmla="*/ 8582022 w 11499847"/>
              <a:gd name="connsiteY339" fmla="*/ 304905 h 2403475"/>
              <a:gd name="connsiteX340" fmla="*/ 8660186 w 11499847"/>
              <a:gd name="connsiteY340" fmla="*/ 116301 h 2403475"/>
              <a:gd name="connsiteX341" fmla="*/ 8850790 w 11499847"/>
              <a:gd name="connsiteY341" fmla="*/ 38100 h 2403475"/>
              <a:gd name="connsiteX342" fmla="*/ 7870035 w 11499847"/>
              <a:gd name="connsiteY342" fmla="*/ 38100 h 2403475"/>
              <a:gd name="connsiteX343" fmla="*/ 7871499 w 11499847"/>
              <a:gd name="connsiteY343" fmla="*/ 38100 h 2403475"/>
              <a:gd name="connsiteX344" fmla="*/ 7955187 w 11499847"/>
              <a:gd name="connsiteY344" fmla="*/ 51273 h 2403475"/>
              <a:gd name="connsiteX345" fmla="*/ 8025067 w 11499847"/>
              <a:gd name="connsiteY345" fmla="*/ 86401 h 2403475"/>
              <a:gd name="connsiteX346" fmla="*/ 8004563 w 11499847"/>
              <a:gd name="connsiteY346" fmla="*/ 118811 h 2403475"/>
              <a:gd name="connsiteX347" fmla="*/ 7984060 w 11499847"/>
              <a:gd name="connsiteY347" fmla="*/ 151429 h 2403475"/>
              <a:gd name="connsiteX348" fmla="*/ 7926943 w 11499847"/>
              <a:gd name="connsiteY348" fmla="*/ 122574 h 2403475"/>
              <a:gd name="connsiteX349" fmla="*/ 7869198 w 11499847"/>
              <a:gd name="connsiteY349" fmla="*/ 112538 h 2403475"/>
              <a:gd name="connsiteX350" fmla="*/ 7802666 w 11499847"/>
              <a:gd name="connsiteY350" fmla="*/ 133865 h 2403475"/>
              <a:gd name="connsiteX351" fmla="*/ 7780907 w 11499847"/>
              <a:gd name="connsiteY351" fmla="*/ 185721 h 2403475"/>
              <a:gd name="connsiteX352" fmla="*/ 7811035 w 11499847"/>
              <a:gd name="connsiteY352" fmla="*/ 236949 h 2403475"/>
              <a:gd name="connsiteX353" fmla="*/ 7891166 w 11499847"/>
              <a:gd name="connsiteY353" fmla="*/ 266849 h 2403475"/>
              <a:gd name="connsiteX354" fmla="*/ 7998914 w 11499847"/>
              <a:gd name="connsiteY354" fmla="*/ 313896 h 2403475"/>
              <a:gd name="connsiteX355" fmla="*/ 8047035 w 11499847"/>
              <a:gd name="connsiteY355" fmla="*/ 415934 h 2403475"/>
              <a:gd name="connsiteX356" fmla="*/ 7999751 w 11499847"/>
              <a:gd name="connsiteY356" fmla="*/ 527381 h 2403475"/>
              <a:gd name="connsiteX357" fmla="*/ 7866478 w 11499847"/>
              <a:gd name="connsiteY357" fmla="*/ 571500 h 2403475"/>
              <a:gd name="connsiteX358" fmla="*/ 7761659 w 11499847"/>
              <a:gd name="connsiteY358" fmla="*/ 554145 h 2403475"/>
              <a:gd name="connsiteX359" fmla="*/ 7685085 w 11499847"/>
              <a:gd name="connsiteY359" fmla="*/ 512954 h 2403475"/>
              <a:gd name="connsiteX360" fmla="*/ 7725883 w 11499847"/>
              <a:gd name="connsiteY360" fmla="*/ 447925 h 2403475"/>
              <a:gd name="connsiteX361" fmla="*/ 7793879 w 11499847"/>
              <a:gd name="connsiteY361" fmla="*/ 483053 h 2403475"/>
              <a:gd name="connsiteX362" fmla="*/ 7867106 w 11499847"/>
              <a:gd name="connsiteY362" fmla="*/ 497063 h 2403475"/>
              <a:gd name="connsiteX363" fmla="*/ 7939496 w 11499847"/>
              <a:gd name="connsiteY363" fmla="*/ 475108 h 2403475"/>
              <a:gd name="connsiteX364" fmla="*/ 7964393 w 11499847"/>
              <a:gd name="connsiteY364" fmla="*/ 420952 h 2403475"/>
              <a:gd name="connsiteX365" fmla="*/ 7933847 w 11499847"/>
              <a:gd name="connsiteY365" fmla="*/ 369933 h 2403475"/>
              <a:gd name="connsiteX366" fmla="*/ 7853925 w 11499847"/>
              <a:gd name="connsiteY366" fmla="*/ 339823 h 2403475"/>
              <a:gd name="connsiteX367" fmla="*/ 7745968 w 11499847"/>
              <a:gd name="connsiteY367" fmla="*/ 292986 h 2403475"/>
              <a:gd name="connsiteX368" fmla="*/ 7698266 w 11499847"/>
              <a:gd name="connsiteY368" fmla="*/ 190739 h 2403475"/>
              <a:gd name="connsiteX369" fmla="*/ 7743666 w 11499847"/>
              <a:gd name="connsiteY369" fmla="*/ 80964 h 2403475"/>
              <a:gd name="connsiteX370" fmla="*/ 7870035 w 11499847"/>
              <a:gd name="connsiteY370" fmla="*/ 38100 h 2403475"/>
              <a:gd name="connsiteX371" fmla="*/ 7334624 w 11499847"/>
              <a:gd name="connsiteY371" fmla="*/ 38100 h 2403475"/>
              <a:gd name="connsiteX372" fmla="*/ 7525363 w 11499847"/>
              <a:gd name="connsiteY372" fmla="*/ 116301 h 2403475"/>
              <a:gd name="connsiteX373" fmla="*/ 7604123 w 11499847"/>
              <a:gd name="connsiteY373" fmla="*/ 304905 h 2403475"/>
              <a:gd name="connsiteX374" fmla="*/ 7525363 w 11499847"/>
              <a:gd name="connsiteY374" fmla="*/ 493090 h 2403475"/>
              <a:gd name="connsiteX375" fmla="*/ 7334624 w 11499847"/>
              <a:gd name="connsiteY375" fmla="*/ 571500 h 2403475"/>
              <a:gd name="connsiteX376" fmla="*/ 7144094 w 11499847"/>
              <a:gd name="connsiteY376" fmla="*/ 493090 h 2403475"/>
              <a:gd name="connsiteX377" fmla="*/ 7065960 w 11499847"/>
              <a:gd name="connsiteY377" fmla="*/ 304905 h 2403475"/>
              <a:gd name="connsiteX378" fmla="*/ 7144094 w 11499847"/>
              <a:gd name="connsiteY378" fmla="*/ 116301 h 2403475"/>
              <a:gd name="connsiteX379" fmla="*/ 7334624 w 11499847"/>
              <a:gd name="connsiteY379" fmla="*/ 38100 h 2403475"/>
              <a:gd name="connsiteX380" fmla="*/ 2766077 w 11499847"/>
              <a:gd name="connsiteY380" fmla="*/ 0 h 2403475"/>
              <a:gd name="connsiteX381" fmla="*/ 3146531 w 11499847"/>
              <a:gd name="connsiteY381" fmla="*/ 51449 h 2403475"/>
              <a:gd name="connsiteX382" fmla="*/ 3467375 w 11499847"/>
              <a:gd name="connsiteY382" fmla="*/ 204124 h 2403475"/>
              <a:gd name="connsiteX383" fmla="*/ 3340627 w 11499847"/>
              <a:gd name="connsiteY383" fmla="*/ 403228 h 2403475"/>
              <a:gd name="connsiteX384" fmla="*/ 3213880 w 11499847"/>
              <a:gd name="connsiteY384" fmla="*/ 602542 h 2403475"/>
              <a:gd name="connsiteX385" fmla="*/ 3009743 w 11499847"/>
              <a:gd name="connsiteY385" fmla="*/ 496716 h 2403475"/>
              <a:gd name="connsiteX386" fmla="*/ 2766077 w 11499847"/>
              <a:gd name="connsiteY386" fmla="*/ 457606 h 2403475"/>
              <a:gd name="connsiteX387" fmla="*/ 2232314 w 11499847"/>
              <a:gd name="connsiteY387" fmla="*/ 681180 h 2403475"/>
              <a:gd name="connsiteX388" fmla="*/ 2012073 w 11499847"/>
              <a:gd name="connsiteY388" fmla="*/ 1198391 h 2403475"/>
              <a:gd name="connsiteX389" fmla="*/ 2232314 w 11499847"/>
              <a:gd name="connsiteY389" fmla="*/ 1721250 h 2403475"/>
              <a:gd name="connsiteX390" fmla="*/ 2766077 w 11499847"/>
              <a:gd name="connsiteY390" fmla="*/ 1942732 h 2403475"/>
              <a:gd name="connsiteX391" fmla="*/ 3050111 w 11499847"/>
              <a:gd name="connsiteY391" fmla="*/ 1886682 h 2403475"/>
              <a:gd name="connsiteX392" fmla="*/ 3289594 w 11499847"/>
              <a:gd name="connsiteY392" fmla="*/ 1722086 h 2403475"/>
              <a:gd name="connsiteX393" fmla="*/ 3543925 w 11499847"/>
              <a:gd name="connsiteY393" fmla="*/ 1095493 h 2403475"/>
              <a:gd name="connsiteX394" fmla="*/ 3921866 w 11499847"/>
              <a:gd name="connsiteY394" fmla="*/ 345714 h 2403475"/>
              <a:gd name="connsiteX395" fmla="*/ 4300646 w 11499847"/>
              <a:gd name="connsiteY395" fmla="*/ 92441 h 2403475"/>
              <a:gd name="connsiteX396" fmla="*/ 4787977 w 11499847"/>
              <a:gd name="connsiteY396" fmla="*/ 0 h 2403475"/>
              <a:gd name="connsiteX397" fmla="*/ 5168221 w 11499847"/>
              <a:gd name="connsiteY397" fmla="*/ 54796 h 2403475"/>
              <a:gd name="connsiteX398" fmla="*/ 5489275 w 11499847"/>
              <a:gd name="connsiteY398" fmla="*/ 210607 h 2403475"/>
              <a:gd name="connsiteX399" fmla="*/ 5364200 w 11499847"/>
              <a:gd name="connsiteY399" fmla="*/ 409921 h 2403475"/>
              <a:gd name="connsiteX400" fmla="*/ 5239125 w 11499847"/>
              <a:gd name="connsiteY400" fmla="*/ 609025 h 2403475"/>
              <a:gd name="connsiteX401" fmla="*/ 5031643 w 11499847"/>
              <a:gd name="connsiteY401" fmla="*/ 500480 h 2403475"/>
              <a:gd name="connsiteX402" fmla="*/ 4784631 w 11499847"/>
              <a:gd name="connsiteY402" fmla="*/ 460952 h 2403475"/>
              <a:gd name="connsiteX403" fmla="*/ 4264462 w 11499847"/>
              <a:gd name="connsiteY403" fmla="*/ 679089 h 2403475"/>
              <a:gd name="connsiteX404" fmla="*/ 4050287 w 11499847"/>
              <a:gd name="connsiteY404" fmla="*/ 1198391 h 2403475"/>
              <a:gd name="connsiteX405" fmla="*/ 4262370 w 11499847"/>
              <a:gd name="connsiteY405" fmla="*/ 1725223 h 2403475"/>
              <a:gd name="connsiteX406" fmla="*/ 4778147 w 11499847"/>
              <a:gd name="connsiteY406" fmla="*/ 1945870 h 2403475"/>
              <a:gd name="connsiteX407" fmla="*/ 5191438 w 11499847"/>
              <a:gd name="connsiteY407" fmla="*/ 1804280 h 2403475"/>
              <a:gd name="connsiteX408" fmla="*/ 5426737 w 11499847"/>
              <a:gd name="connsiteY408" fmla="*/ 1445390 h 2403475"/>
              <a:gd name="connsiteX409" fmla="*/ 4708917 w 11499847"/>
              <a:gd name="connsiteY409" fmla="*/ 1445390 h 2403475"/>
              <a:gd name="connsiteX410" fmla="*/ 4850515 w 11499847"/>
              <a:gd name="connsiteY410" fmla="*/ 1223279 h 2403475"/>
              <a:gd name="connsiteX411" fmla="*/ 4992113 w 11499847"/>
              <a:gd name="connsiteY411" fmla="*/ 1000960 h 2403475"/>
              <a:gd name="connsiteX412" fmla="*/ 5457901 w 11499847"/>
              <a:gd name="connsiteY412" fmla="*/ 1000960 h 2403475"/>
              <a:gd name="connsiteX413" fmla="*/ 5924108 w 11499847"/>
              <a:gd name="connsiteY413" fmla="*/ 1000960 h 2403475"/>
              <a:gd name="connsiteX414" fmla="*/ 5936030 w 11499847"/>
              <a:gd name="connsiteY414" fmla="*/ 1100094 h 2403475"/>
              <a:gd name="connsiteX415" fmla="*/ 5940422 w 11499847"/>
              <a:gd name="connsiteY415" fmla="*/ 1201738 h 2403475"/>
              <a:gd name="connsiteX416" fmla="*/ 5600963 w 11499847"/>
              <a:gd name="connsiteY416" fmla="*/ 2050860 h 2403475"/>
              <a:gd name="connsiteX417" fmla="*/ 4764970 w 11499847"/>
              <a:gd name="connsiteY417" fmla="*/ 2403475 h 2403475"/>
              <a:gd name="connsiteX418" fmla="*/ 4178290 w 11499847"/>
              <a:gd name="connsiteY418" fmla="*/ 2262513 h 2403475"/>
              <a:gd name="connsiteX419" fmla="*/ 3757265 w 11499847"/>
              <a:gd name="connsiteY419" fmla="*/ 1886682 h 2403475"/>
              <a:gd name="connsiteX420" fmla="*/ 3332469 w 11499847"/>
              <a:gd name="connsiteY420" fmla="*/ 2263558 h 2403475"/>
              <a:gd name="connsiteX421" fmla="*/ 2749555 w 11499847"/>
              <a:gd name="connsiteY421" fmla="*/ 2403475 h 2403475"/>
              <a:gd name="connsiteX422" fmla="*/ 2242563 w 11499847"/>
              <a:gd name="connsiteY422" fmla="*/ 2295766 h 2403475"/>
              <a:gd name="connsiteX423" fmla="*/ 1844121 w 11499847"/>
              <a:gd name="connsiteY423" fmla="*/ 2005266 h 2403475"/>
              <a:gd name="connsiteX424" fmla="*/ 1583096 w 11499847"/>
              <a:gd name="connsiteY424" fmla="*/ 2257493 h 2403475"/>
              <a:gd name="connsiteX425" fmla="*/ 1188838 w 11499847"/>
              <a:gd name="connsiteY425" fmla="*/ 2354117 h 2403475"/>
              <a:gd name="connsiteX426" fmla="*/ 0 w 11499847"/>
              <a:gd name="connsiteY426" fmla="*/ 2354117 h 2403475"/>
              <a:gd name="connsiteX427" fmla="*/ 0 w 11499847"/>
              <a:gd name="connsiteY427" fmla="*/ 1201738 h 2403475"/>
              <a:gd name="connsiteX428" fmla="*/ 0 w 11499847"/>
              <a:gd name="connsiteY428" fmla="*/ 49358 h 2403475"/>
              <a:gd name="connsiteX429" fmla="*/ 538575 w 11499847"/>
              <a:gd name="connsiteY429" fmla="*/ 49358 h 2403475"/>
              <a:gd name="connsiteX430" fmla="*/ 1076940 w 11499847"/>
              <a:gd name="connsiteY430" fmla="*/ 49358 h 2403475"/>
              <a:gd name="connsiteX431" fmla="*/ 1523487 w 11499847"/>
              <a:gd name="connsiteY431" fmla="*/ 176099 h 2403475"/>
              <a:gd name="connsiteX432" fmla="*/ 1774892 w 11499847"/>
              <a:gd name="connsiteY432" fmla="*/ 500480 h 2403475"/>
              <a:gd name="connsiteX433" fmla="*/ 2196549 w 11499847"/>
              <a:gd name="connsiteY433" fmla="*/ 137826 h 2403475"/>
              <a:gd name="connsiteX434" fmla="*/ 2766077 w 11499847"/>
              <a:gd name="connsiteY434" fmla="*/ 0 h 24034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</a:cxnLst>
            <a:rect l="l" t="t" r="r" b="b"/>
            <a:pathLst>
              <a:path w="11499847" h="2403475">
                <a:moveTo>
                  <a:pt x="8982072" y="1919288"/>
                </a:moveTo>
                <a:cubicBezTo>
                  <a:pt x="8982072" y="2105026"/>
                  <a:pt x="8982072" y="2105026"/>
                  <a:pt x="8982072" y="2105026"/>
                </a:cubicBezTo>
                <a:cubicBezTo>
                  <a:pt x="9098233" y="2105026"/>
                  <a:pt x="9098233" y="2105026"/>
                  <a:pt x="9098233" y="2105026"/>
                </a:cubicBezTo>
                <a:cubicBezTo>
                  <a:pt x="9124975" y="2105026"/>
                  <a:pt x="9148166" y="2096202"/>
                  <a:pt x="9164880" y="2080233"/>
                </a:cubicBezTo>
                <a:cubicBezTo>
                  <a:pt x="9181594" y="2064055"/>
                  <a:pt x="9191622" y="2040732"/>
                  <a:pt x="9191622" y="2011737"/>
                </a:cubicBezTo>
                <a:cubicBezTo>
                  <a:pt x="9191622" y="1983792"/>
                  <a:pt x="9181594" y="1960680"/>
                  <a:pt x="9164880" y="1944501"/>
                </a:cubicBezTo>
                <a:cubicBezTo>
                  <a:pt x="9148166" y="1928323"/>
                  <a:pt x="9124975" y="1919288"/>
                  <a:pt x="9098233" y="1919288"/>
                </a:cubicBezTo>
                <a:cubicBezTo>
                  <a:pt x="8982072" y="1919288"/>
                  <a:pt x="8982072" y="1919288"/>
                  <a:pt x="8982072" y="1919288"/>
                </a:cubicBezTo>
                <a:close/>
                <a:moveTo>
                  <a:pt x="7280272" y="1919288"/>
                </a:moveTo>
                <a:cubicBezTo>
                  <a:pt x="7280272" y="2097088"/>
                  <a:pt x="7280272" y="2097088"/>
                  <a:pt x="7280272" y="2097088"/>
                </a:cubicBezTo>
                <a:cubicBezTo>
                  <a:pt x="7404503" y="2097088"/>
                  <a:pt x="7404503" y="2097088"/>
                  <a:pt x="7404503" y="2097088"/>
                </a:cubicBezTo>
                <a:cubicBezTo>
                  <a:pt x="7430689" y="2097088"/>
                  <a:pt x="7453105" y="2088711"/>
                  <a:pt x="7469027" y="2073423"/>
                </a:cubicBezTo>
                <a:cubicBezTo>
                  <a:pt x="7485158" y="2058136"/>
                  <a:pt x="7494585" y="2035937"/>
                  <a:pt x="7494585" y="2008502"/>
                </a:cubicBezTo>
                <a:cubicBezTo>
                  <a:pt x="7494585" y="1981487"/>
                  <a:pt x="7485158" y="1959078"/>
                  <a:pt x="7469027" y="1943581"/>
                </a:cubicBezTo>
                <a:cubicBezTo>
                  <a:pt x="7453105" y="1927874"/>
                  <a:pt x="7430689" y="1919288"/>
                  <a:pt x="7404503" y="1919288"/>
                </a:cubicBezTo>
                <a:cubicBezTo>
                  <a:pt x="7280272" y="1919288"/>
                  <a:pt x="7280272" y="1919288"/>
                  <a:pt x="7280272" y="1919288"/>
                </a:cubicBezTo>
                <a:close/>
                <a:moveTo>
                  <a:pt x="7945015" y="1909763"/>
                </a:moveTo>
                <a:cubicBezTo>
                  <a:pt x="7893445" y="1909763"/>
                  <a:pt x="7847115" y="1930941"/>
                  <a:pt x="7813574" y="1965330"/>
                </a:cubicBezTo>
                <a:cubicBezTo>
                  <a:pt x="7780242" y="1999719"/>
                  <a:pt x="7759697" y="2047317"/>
                  <a:pt x="7759697" y="2100368"/>
                </a:cubicBezTo>
                <a:cubicBezTo>
                  <a:pt x="7759697" y="2153419"/>
                  <a:pt x="7780242" y="2201227"/>
                  <a:pt x="7813574" y="2235406"/>
                </a:cubicBezTo>
                <a:cubicBezTo>
                  <a:pt x="7847115" y="2269795"/>
                  <a:pt x="7893445" y="2290763"/>
                  <a:pt x="7945015" y="2290763"/>
                </a:cubicBezTo>
                <a:cubicBezTo>
                  <a:pt x="7997215" y="2290763"/>
                  <a:pt x="8043544" y="2270004"/>
                  <a:pt x="8077086" y="2235825"/>
                </a:cubicBezTo>
                <a:cubicBezTo>
                  <a:pt x="8110628" y="2201437"/>
                  <a:pt x="8131172" y="2153838"/>
                  <a:pt x="8131172" y="2100368"/>
                </a:cubicBezTo>
                <a:cubicBezTo>
                  <a:pt x="8131172" y="2047317"/>
                  <a:pt x="8110418" y="1999719"/>
                  <a:pt x="8076876" y="1965330"/>
                </a:cubicBezTo>
                <a:cubicBezTo>
                  <a:pt x="8043334" y="1930941"/>
                  <a:pt x="7996796" y="1909763"/>
                  <a:pt x="7945015" y="1909763"/>
                </a:cubicBezTo>
                <a:close/>
                <a:moveTo>
                  <a:pt x="8899522" y="1844675"/>
                </a:moveTo>
                <a:cubicBezTo>
                  <a:pt x="9098598" y="1844675"/>
                  <a:pt x="9098598" y="1844675"/>
                  <a:pt x="9098598" y="1844675"/>
                </a:cubicBezTo>
                <a:cubicBezTo>
                  <a:pt x="9152872" y="1844675"/>
                  <a:pt x="9197507" y="1862857"/>
                  <a:pt x="9228521" y="1892741"/>
                </a:cubicBezTo>
                <a:cubicBezTo>
                  <a:pt x="9259744" y="1922835"/>
                  <a:pt x="9277347" y="1964423"/>
                  <a:pt x="9277347" y="2011236"/>
                </a:cubicBezTo>
                <a:cubicBezTo>
                  <a:pt x="9277347" y="2057839"/>
                  <a:pt x="9259744" y="2099427"/>
                  <a:pt x="9228521" y="2129521"/>
                </a:cubicBezTo>
                <a:cubicBezTo>
                  <a:pt x="9197507" y="2159405"/>
                  <a:pt x="9152872" y="2177796"/>
                  <a:pt x="9098598" y="2177796"/>
                </a:cubicBezTo>
                <a:cubicBezTo>
                  <a:pt x="8982086" y="2177796"/>
                  <a:pt x="8982086" y="2177796"/>
                  <a:pt x="8982086" y="2177796"/>
                </a:cubicBezTo>
                <a:cubicBezTo>
                  <a:pt x="8982086" y="2355850"/>
                  <a:pt x="8982086" y="2355850"/>
                  <a:pt x="8982086" y="2355850"/>
                </a:cubicBezTo>
                <a:cubicBezTo>
                  <a:pt x="8899522" y="2355850"/>
                  <a:pt x="8899522" y="2355850"/>
                  <a:pt x="8899522" y="2355850"/>
                </a:cubicBezTo>
                <a:cubicBezTo>
                  <a:pt x="8899522" y="1844675"/>
                  <a:pt x="8899522" y="1844675"/>
                  <a:pt x="8899522" y="1844675"/>
                </a:cubicBezTo>
                <a:close/>
                <a:moveTo>
                  <a:pt x="8324847" y="1844675"/>
                </a:moveTo>
                <a:cubicBezTo>
                  <a:pt x="8407608" y="1844675"/>
                  <a:pt x="8407608" y="1844675"/>
                  <a:pt x="8407608" y="1844675"/>
                </a:cubicBezTo>
                <a:cubicBezTo>
                  <a:pt x="8407608" y="2158090"/>
                  <a:pt x="8407608" y="2158090"/>
                  <a:pt x="8407608" y="2158090"/>
                </a:cubicBezTo>
                <a:cubicBezTo>
                  <a:pt x="8407608" y="2195307"/>
                  <a:pt x="8420389" y="2228551"/>
                  <a:pt x="8443017" y="2252595"/>
                </a:cubicBezTo>
                <a:cubicBezTo>
                  <a:pt x="8465855" y="2276431"/>
                  <a:pt x="8498331" y="2291066"/>
                  <a:pt x="8537931" y="2291066"/>
                </a:cubicBezTo>
                <a:cubicBezTo>
                  <a:pt x="8576692" y="2291066"/>
                  <a:pt x="8609168" y="2276431"/>
                  <a:pt x="8631797" y="2252595"/>
                </a:cubicBezTo>
                <a:cubicBezTo>
                  <a:pt x="8654425" y="2228551"/>
                  <a:pt x="8667415" y="2195307"/>
                  <a:pt x="8667415" y="2158090"/>
                </a:cubicBezTo>
                <a:cubicBezTo>
                  <a:pt x="8667415" y="1844675"/>
                  <a:pt x="8667415" y="1844675"/>
                  <a:pt x="8667415" y="1844675"/>
                </a:cubicBezTo>
                <a:cubicBezTo>
                  <a:pt x="8748710" y="1844675"/>
                  <a:pt x="8748710" y="1844675"/>
                  <a:pt x="8748710" y="1844675"/>
                </a:cubicBezTo>
                <a:cubicBezTo>
                  <a:pt x="8748710" y="2158717"/>
                  <a:pt x="8748710" y="2158717"/>
                  <a:pt x="8748710" y="2158717"/>
                </a:cubicBezTo>
                <a:cubicBezTo>
                  <a:pt x="8748710" y="2218724"/>
                  <a:pt x="8726291" y="2270785"/>
                  <a:pt x="8688577" y="2307793"/>
                </a:cubicBezTo>
                <a:cubicBezTo>
                  <a:pt x="8650863" y="2345010"/>
                  <a:pt x="8597854" y="2366963"/>
                  <a:pt x="8537093" y="2366963"/>
                </a:cubicBezTo>
                <a:cubicBezTo>
                  <a:pt x="8476331" y="2366963"/>
                  <a:pt x="8423322" y="2345010"/>
                  <a:pt x="8385399" y="2307793"/>
                </a:cubicBezTo>
                <a:cubicBezTo>
                  <a:pt x="8347475" y="2270785"/>
                  <a:pt x="8324847" y="2218724"/>
                  <a:pt x="8324847" y="2158717"/>
                </a:cubicBezTo>
                <a:cubicBezTo>
                  <a:pt x="8324847" y="1844675"/>
                  <a:pt x="8324847" y="1844675"/>
                  <a:pt x="8324847" y="1844675"/>
                </a:cubicBezTo>
                <a:close/>
                <a:moveTo>
                  <a:pt x="7197722" y="1844675"/>
                </a:moveTo>
                <a:cubicBezTo>
                  <a:pt x="7404196" y="1844675"/>
                  <a:pt x="7404196" y="1844675"/>
                  <a:pt x="7404196" y="1844675"/>
                </a:cubicBezTo>
                <a:cubicBezTo>
                  <a:pt x="7457641" y="1844675"/>
                  <a:pt x="7501065" y="1862439"/>
                  <a:pt x="7531336" y="1891906"/>
                </a:cubicBezTo>
                <a:cubicBezTo>
                  <a:pt x="7561608" y="1921581"/>
                  <a:pt x="7578727" y="1962542"/>
                  <a:pt x="7578727" y="2008937"/>
                </a:cubicBezTo>
                <a:cubicBezTo>
                  <a:pt x="7578727" y="2047390"/>
                  <a:pt x="7568080" y="2080827"/>
                  <a:pt x="7548455" y="2106950"/>
                </a:cubicBezTo>
                <a:cubicBezTo>
                  <a:pt x="7529040" y="2133073"/>
                  <a:pt x="7500647" y="2152091"/>
                  <a:pt x="7464947" y="2161495"/>
                </a:cubicBezTo>
                <a:cubicBezTo>
                  <a:pt x="7525699" y="2258673"/>
                  <a:pt x="7525699" y="2258673"/>
                  <a:pt x="7525699" y="2258673"/>
                </a:cubicBezTo>
                <a:cubicBezTo>
                  <a:pt x="7586660" y="2355850"/>
                  <a:pt x="7586660" y="2355850"/>
                  <a:pt x="7586660" y="2355850"/>
                </a:cubicBezTo>
                <a:cubicBezTo>
                  <a:pt x="7491044" y="2355850"/>
                  <a:pt x="7491044" y="2355850"/>
                  <a:pt x="7491044" y="2355850"/>
                </a:cubicBezTo>
                <a:cubicBezTo>
                  <a:pt x="7434676" y="2263479"/>
                  <a:pt x="7434676" y="2263479"/>
                  <a:pt x="7434676" y="2263479"/>
                </a:cubicBezTo>
                <a:cubicBezTo>
                  <a:pt x="7378099" y="2171108"/>
                  <a:pt x="7378099" y="2171108"/>
                  <a:pt x="7378099" y="2171108"/>
                </a:cubicBezTo>
                <a:cubicBezTo>
                  <a:pt x="7280395" y="2171108"/>
                  <a:pt x="7280395" y="2171108"/>
                  <a:pt x="7280395" y="2171108"/>
                </a:cubicBezTo>
                <a:cubicBezTo>
                  <a:pt x="7280395" y="2355850"/>
                  <a:pt x="7280395" y="2355850"/>
                  <a:pt x="7280395" y="2355850"/>
                </a:cubicBezTo>
                <a:cubicBezTo>
                  <a:pt x="7197722" y="2355850"/>
                  <a:pt x="7197722" y="2355850"/>
                  <a:pt x="7197722" y="2355850"/>
                </a:cubicBezTo>
                <a:cubicBezTo>
                  <a:pt x="7197722" y="1844675"/>
                  <a:pt x="7197722" y="1844675"/>
                  <a:pt x="7197722" y="1844675"/>
                </a:cubicBezTo>
                <a:close/>
                <a:moveTo>
                  <a:pt x="7945016" y="1833563"/>
                </a:moveTo>
                <a:cubicBezTo>
                  <a:pt x="8020028" y="1833563"/>
                  <a:pt x="8087706" y="1863673"/>
                  <a:pt x="8136527" y="1911974"/>
                </a:cubicBezTo>
                <a:cubicBezTo>
                  <a:pt x="8185138" y="1960274"/>
                  <a:pt x="8215310" y="2026976"/>
                  <a:pt x="8215310" y="2100368"/>
                </a:cubicBezTo>
                <a:cubicBezTo>
                  <a:pt x="8215310" y="2173760"/>
                  <a:pt x="8185138" y="2240461"/>
                  <a:pt x="8136527" y="2288762"/>
                </a:cubicBezTo>
                <a:cubicBezTo>
                  <a:pt x="8087706" y="2337063"/>
                  <a:pt x="8020028" y="2366963"/>
                  <a:pt x="7945016" y="2366963"/>
                </a:cubicBezTo>
                <a:cubicBezTo>
                  <a:pt x="7870004" y="2366963"/>
                  <a:pt x="7802745" y="2337063"/>
                  <a:pt x="7754134" y="2288762"/>
                </a:cubicBezTo>
                <a:cubicBezTo>
                  <a:pt x="7705523" y="2240461"/>
                  <a:pt x="7675560" y="2173760"/>
                  <a:pt x="7675560" y="2100368"/>
                </a:cubicBezTo>
                <a:cubicBezTo>
                  <a:pt x="7675560" y="2026976"/>
                  <a:pt x="7705523" y="1960274"/>
                  <a:pt x="7754134" y="1911974"/>
                </a:cubicBezTo>
                <a:cubicBezTo>
                  <a:pt x="7802745" y="1863673"/>
                  <a:pt x="7870004" y="1833563"/>
                  <a:pt x="7945016" y="1833563"/>
                </a:cubicBezTo>
                <a:close/>
                <a:moveTo>
                  <a:pt x="6834872" y="1833563"/>
                </a:moveTo>
                <a:cubicBezTo>
                  <a:pt x="6865690" y="1833563"/>
                  <a:pt x="6894831" y="1837536"/>
                  <a:pt x="6921875" y="1845482"/>
                </a:cubicBezTo>
                <a:cubicBezTo>
                  <a:pt x="6948919" y="1853218"/>
                  <a:pt x="6973658" y="1865136"/>
                  <a:pt x="6996090" y="1881028"/>
                </a:cubicBezTo>
                <a:cubicBezTo>
                  <a:pt x="6974496" y="1914692"/>
                  <a:pt x="6974496" y="1914692"/>
                  <a:pt x="6974496" y="1914692"/>
                </a:cubicBezTo>
                <a:cubicBezTo>
                  <a:pt x="6952903" y="1948356"/>
                  <a:pt x="6952903" y="1948356"/>
                  <a:pt x="6952903" y="1948356"/>
                </a:cubicBezTo>
                <a:cubicBezTo>
                  <a:pt x="6935712" y="1935183"/>
                  <a:pt x="6917263" y="1925774"/>
                  <a:pt x="6897556" y="1919501"/>
                </a:cubicBezTo>
                <a:cubicBezTo>
                  <a:pt x="6877850" y="1913228"/>
                  <a:pt x="6856885" y="1910301"/>
                  <a:pt x="6834243" y="1910301"/>
                </a:cubicBezTo>
                <a:cubicBezTo>
                  <a:pt x="6782461" y="1910301"/>
                  <a:pt x="6736548" y="1931001"/>
                  <a:pt x="6703424" y="1965084"/>
                </a:cubicBezTo>
                <a:cubicBezTo>
                  <a:pt x="6670510" y="1999166"/>
                  <a:pt x="6650384" y="2046631"/>
                  <a:pt x="6650384" y="2100368"/>
                </a:cubicBezTo>
                <a:cubicBezTo>
                  <a:pt x="6650384" y="2154105"/>
                  <a:pt x="6669671" y="2201779"/>
                  <a:pt x="6701957" y="2236070"/>
                </a:cubicBezTo>
                <a:cubicBezTo>
                  <a:pt x="6734242" y="2270152"/>
                  <a:pt x="6779526" y="2291062"/>
                  <a:pt x="6831308" y="2291062"/>
                </a:cubicBezTo>
                <a:cubicBezTo>
                  <a:pt x="6878898" y="2291062"/>
                  <a:pt x="6917473" y="2275798"/>
                  <a:pt x="6945984" y="2250498"/>
                </a:cubicBezTo>
                <a:cubicBezTo>
                  <a:pt x="6974496" y="2225197"/>
                  <a:pt x="6992735" y="2189442"/>
                  <a:pt x="6999863" y="2148460"/>
                </a:cubicBezTo>
                <a:cubicBezTo>
                  <a:pt x="6825438" y="2148460"/>
                  <a:pt x="6825438" y="2148460"/>
                  <a:pt x="6825438" y="2148460"/>
                </a:cubicBezTo>
                <a:cubicBezTo>
                  <a:pt x="6849128" y="2111241"/>
                  <a:pt x="6849128" y="2111241"/>
                  <a:pt x="6849128" y="2111241"/>
                </a:cubicBezTo>
                <a:cubicBezTo>
                  <a:pt x="6873028" y="2074022"/>
                  <a:pt x="6873028" y="2074022"/>
                  <a:pt x="6873028" y="2074022"/>
                </a:cubicBezTo>
                <a:cubicBezTo>
                  <a:pt x="7078061" y="2074022"/>
                  <a:pt x="7078061" y="2074022"/>
                  <a:pt x="7078061" y="2074022"/>
                </a:cubicBezTo>
                <a:cubicBezTo>
                  <a:pt x="7079319" y="2078204"/>
                  <a:pt x="7080158" y="2083849"/>
                  <a:pt x="7080787" y="2090540"/>
                </a:cubicBezTo>
                <a:cubicBezTo>
                  <a:pt x="7081415" y="2096813"/>
                  <a:pt x="7081835" y="2103922"/>
                  <a:pt x="7081835" y="2110613"/>
                </a:cubicBezTo>
                <a:cubicBezTo>
                  <a:pt x="7081835" y="2183378"/>
                  <a:pt x="7056258" y="2247361"/>
                  <a:pt x="7011813" y="2293362"/>
                </a:cubicBezTo>
                <a:cubicBezTo>
                  <a:pt x="6967788" y="2339363"/>
                  <a:pt x="6904894" y="2366963"/>
                  <a:pt x="6830470" y="2366963"/>
                </a:cubicBezTo>
                <a:cubicBezTo>
                  <a:pt x="6756255" y="2366963"/>
                  <a:pt x="6690007" y="2337481"/>
                  <a:pt x="6642417" y="2289389"/>
                </a:cubicBezTo>
                <a:cubicBezTo>
                  <a:pt x="6595037" y="2241088"/>
                  <a:pt x="6565897" y="2174387"/>
                  <a:pt x="6565897" y="2100368"/>
                </a:cubicBezTo>
                <a:cubicBezTo>
                  <a:pt x="6565897" y="2026139"/>
                  <a:pt x="6595876" y="1959438"/>
                  <a:pt x="6644514" y="1911346"/>
                </a:cubicBezTo>
                <a:cubicBezTo>
                  <a:pt x="6692942" y="1863255"/>
                  <a:pt x="6760238" y="1833563"/>
                  <a:pt x="6834872" y="1833563"/>
                </a:cubicBezTo>
                <a:close/>
                <a:moveTo>
                  <a:pt x="501650" y="1403350"/>
                </a:moveTo>
                <a:cubicBezTo>
                  <a:pt x="501650" y="1403350"/>
                  <a:pt x="501650" y="1403350"/>
                  <a:pt x="501650" y="1925638"/>
                </a:cubicBezTo>
                <a:cubicBezTo>
                  <a:pt x="501650" y="1925638"/>
                  <a:pt x="501650" y="1925638"/>
                  <a:pt x="842112" y="1925638"/>
                </a:cubicBezTo>
                <a:cubicBezTo>
                  <a:pt x="842112" y="1925638"/>
                  <a:pt x="842112" y="1925638"/>
                  <a:pt x="1182574" y="1925638"/>
                </a:cubicBezTo>
                <a:cubicBezTo>
                  <a:pt x="1258233" y="1925638"/>
                  <a:pt x="1326576" y="1896842"/>
                  <a:pt x="1375900" y="1849684"/>
                </a:cubicBezTo>
                <a:cubicBezTo>
                  <a:pt x="1425224" y="1802317"/>
                  <a:pt x="1455738" y="1736796"/>
                  <a:pt x="1455738" y="1662720"/>
                </a:cubicBezTo>
                <a:cubicBezTo>
                  <a:pt x="1455738" y="1588853"/>
                  <a:pt x="1425224" y="1523958"/>
                  <a:pt x="1375900" y="1477635"/>
                </a:cubicBezTo>
                <a:cubicBezTo>
                  <a:pt x="1326576" y="1431103"/>
                  <a:pt x="1258233" y="1403350"/>
                  <a:pt x="1182574" y="1403350"/>
                </a:cubicBezTo>
                <a:cubicBezTo>
                  <a:pt x="1182574" y="1403350"/>
                  <a:pt x="1182574" y="1403350"/>
                  <a:pt x="501650" y="1403350"/>
                </a:cubicBezTo>
                <a:close/>
                <a:moveTo>
                  <a:pt x="7349808" y="1012825"/>
                </a:moveTo>
                <a:cubicBezTo>
                  <a:pt x="7297999" y="1012825"/>
                  <a:pt x="7251643" y="1033706"/>
                  <a:pt x="7218292" y="1067952"/>
                </a:cubicBezTo>
                <a:cubicBezTo>
                  <a:pt x="7184731" y="1102197"/>
                  <a:pt x="7164385" y="1149598"/>
                  <a:pt x="7164385" y="1202427"/>
                </a:cubicBezTo>
                <a:cubicBezTo>
                  <a:pt x="7164385" y="1255466"/>
                  <a:pt x="7184731" y="1302866"/>
                  <a:pt x="7218292" y="1336903"/>
                </a:cubicBezTo>
                <a:cubicBezTo>
                  <a:pt x="7251643" y="1371148"/>
                  <a:pt x="7297999" y="1392238"/>
                  <a:pt x="7349808" y="1392238"/>
                </a:cubicBezTo>
                <a:cubicBezTo>
                  <a:pt x="7401827" y="1392238"/>
                  <a:pt x="7448393" y="1371357"/>
                  <a:pt x="7481953" y="1337320"/>
                </a:cubicBezTo>
                <a:cubicBezTo>
                  <a:pt x="7515304" y="1303075"/>
                  <a:pt x="7535860" y="1255675"/>
                  <a:pt x="7535860" y="1202427"/>
                </a:cubicBezTo>
                <a:cubicBezTo>
                  <a:pt x="7535860" y="1149598"/>
                  <a:pt x="7515304" y="1102197"/>
                  <a:pt x="7481534" y="1067952"/>
                </a:cubicBezTo>
                <a:cubicBezTo>
                  <a:pt x="7447973" y="1033706"/>
                  <a:pt x="7401408" y="1012825"/>
                  <a:pt x="7349808" y="1012825"/>
                </a:cubicBezTo>
                <a:close/>
                <a:moveTo>
                  <a:pt x="10448922" y="946150"/>
                </a:moveTo>
                <a:lnTo>
                  <a:pt x="10552110" y="946150"/>
                </a:lnTo>
                <a:lnTo>
                  <a:pt x="10671172" y="1139825"/>
                </a:lnTo>
                <a:lnTo>
                  <a:pt x="10790235" y="1333501"/>
                </a:lnTo>
                <a:lnTo>
                  <a:pt x="10790235" y="946150"/>
                </a:lnTo>
                <a:lnTo>
                  <a:pt x="10869610" y="946150"/>
                </a:lnTo>
                <a:lnTo>
                  <a:pt x="10869610" y="1458913"/>
                </a:lnTo>
                <a:lnTo>
                  <a:pt x="10772772" y="1458913"/>
                </a:lnTo>
                <a:lnTo>
                  <a:pt x="10650535" y="1260475"/>
                </a:lnTo>
                <a:lnTo>
                  <a:pt x="10528297" y="1062038"/>
                </a:lnTo>
                <a:lnTo>
                  <a:pt x="10528297" y="1458913"/>
                </a:lnTo>
                <a:lnTo>
                  <a:pt x="10448922" y="1458913"/>
                </a:lnTo>
                <a:close/>
                <a:moveTo>
                  <a:pt x="10185397" y="946150"/>
                </a:moveTo>
                <a:lnTo>
                  <a:pt x="10267947" y="946150"/>
                </a:lnTo>
                <a:lnTo>
                  <a:pt x="10267947" y="1458913"/>
                </a:lnTo>
                <a:lnTo>
                  <a:pt x="10185397" y="1458913"/>
                </a:lnTo>
                <a:close/>
                <a:moveTo>
                  <a:pt x="9656760" y="946150"/>
                </a:moveTo>
                <a:lnTo>
                  <a:pt x="10059985" y="946150"/>
                </a:lnTo>
                <a:lnTo>
                  <a:pt x="10059985" y="1022350"/>
                </a:lnTo>
                <a:lnTo>
                  <a:pt x="9899648" y="1022350"/>
                </a:lnTo>
                <a:lnTo>
                  <a:pt x="9899648" y="1458913"/>
                </a:lnTo>
                <a:lnTo>
                  <a:pt x="9817098" y="1458913"/>
                </a:lnTo>
                <a:lnTo>
                  <a:pt x="9817098" y="1022350"/>
                </a:lnTo>
                <a:lnTo>
                  <a:pt x="9656760" y="1022350"/>
                </a:lnTo>
                <a:close/>
                <a:moveTo>
                  <a:pt x="9336085" y="946150"/>
                </a:moveTo>
                <a:lnTo>
                  <a:pt x="9418635" y="946150"/>
                </a:lnTo>
                <a:lnTo>
                  <a:pt x="9418635" y="1382713"/>
                </a:lnTo>
                <a:lnTo>
                  <a:pt x="9671048" y="1382713"/>
                </a:lnTo>
                <a:lnTo>
                  <a:pt x="9671048" y="1458913"/>
                </a:lnTo>
                <a:lnTo>
                  <a:pt x="9336085" y="1458913"/>
                </a:lnTo>
                <a:close/>
                <a:moveTo>
                  <a:pt x="8766172" y="946150"/>
                </a:moveTo>
                <a:cubicBezTo>
                  <a:pt x="8848414" y="946150"/>
                  <a:pt x="8848414" y="946150"/>
                  <a:pt x="8848414" y="946150"/>
                </a:cubicBezTo>
                <a:cubicBezTo>
                  <a:pt x="8848414" y="1260391"/>
                  <a:pt x="8848414" y="1260391"/>
                  <a:pt x="8848414" y="1260391"/>
                </a:cubicBezTo>
                <a:cubicBezTo>
                  <a:pt x="8848414" y="1297706"/>
                  <a:pt x="8861356" y="1331038"/>
                  <a:pt x="8883900" y="1355146"/>
                </a:cubicBezTo>
                <a:cubicBezTo>
                  <a:pt x="8906443" y="1379044"/>
                  <a:pt x="8939006" y="1393718"/>
                  <a:pt x="8978249" y="1393718"/>
                </a:cubicBezTo>
                <a:cubicBezTo>
                  <a:pt x="9017074" y="1393718"/>
                  <a:pt x="9049219" y="1379044"/>
                  <a:pt x="9071972" y="1355146"/>
                </a:cubicBezTo>
                <a:cubicBezTo>
                  <a:pt x="9094515" y="1331038"/>
                  <a:pt x="9107457" y="1297706"/>
                  <a:pt x="9107457" y="1260391"/>
                </a:cubicBezTo>
                <a:cubicBezTo>
                  <a:pt x="9107457" y="946150"/>
                  <a:pt x="9107457" y="946150"/>
                  <a:pt x="9107457" y="946150"/>
                </a:cubicBezTo>
                <a:cubicBezTo>
                  <a:pt x="9188447" y="946150"/>
                  <a:pt x="9188447" y="946150"/>
                  <a:pt x="9188447" y="946150"/>
                </a:cubicBezTo>
                <a:cubicBezTo>
                  <a:pt x="9188447" y="1261230"/>
                  <a:pt x="9188447" y="1261230"/>
                  <a:pt x="9188447" y="1261230"/>
                </a:cubicBezTo>
                <a:cubicBezTo>
                  <a:pt x="9188447" y="1321185"/>
                  <a:pt x="9166112" y="1373384"/>
                  <a:pt x="9128539" y="1410489"/>
                </a:cubicBezTo>
                <a:cubicBezTo>
                  <a:pt x="9090758" y="1447804"/>
                  <a:pt x="9038156" y="1470025"/>
                  <a:pt x="8977623" y="1470025"/>
                </a:cubicBezTo>
                <a:cubicBezTo>
                  <a:pt x="8917089" y="1470025"/>
                  <a:pt x="8864278" y="1447804"/>
                  <a:pt x="8826497" y="1410489"/>
                </a:cubicBezTo>
                <a:cubicBezTo>
                  <a:pt x="8788716" y="1373384"/>
                  <a:pt x="8766172" y="1321185"/>
                  <a:pt x="8766172" y="1261230"/>
                </a:cubicBezTo>
                <a:cubicBezTo>
                  <a:pt x="8766172" y="946150"/>
                  <a:pt x="8766172" y="946150"/>
                  <a:pt x="8766172" y="946150"/>
                </a:cubicBezTo>
                <a:close/>
                <a:moveTo>
                  <a:pt x="7737472" y="946150"/>
                </a:moveTo>
                <a:lnTo>
                  <a:pt x="7839072" y="946150"/>
                </a:lnTo>
                <a:lnTo>
                  <a:pt x="7958134" y="1139825"/>
                </a:lnTo>
                <a:lnTo>
                  <a:pt x="8077197" y="1333501"/>
                </a:lnTo>
                <a:lnTo>
                  <a:pt x="8077197" y="946150"/>
                </a:lnTo>
                <a:lnTo>
                  <a:pt x="8156572" y="946150"/>
                </a:lnTo>
                <a:lnTo>
                  <a:pt x="8156572" y="1458913"/>
                </a:lnTo>
                <a:lnTo>
                  <a:pt x="8061322" y="1458913"/>
                </a:lnTo>
                <a:lnTo>
                  <a:pt x="7939084" y="1260475"/>
                </a:lnTo>
                <a:lnTo>
                  <a:pt x="7815259" y="1062038"/>
                </a:lnTo>
                <a:lnTo>
                  <a:pt x="7815259" y="1458913"/>
                </a:lnTo>
                <a:lnTo>
                  <a:pt x="7737472" y="1458913"/>
                </a:lnTo>
                <a:close/>
                <a:moveTo>
                  <a:pt x="11253544" y="936625"/>
                </a:moveTo>
                <a:cubicBezTo>
                  <a:pt x="11284280" y="936625"/>
                  <a:pt x="11313343" y="940389"/>
                  <a:pt x="11340315" y="948334"/>
                </a:cubicBezTo>
                <a:cubicBezTo>
                  <a:pt x="11367287" y="956071"/>
                  <a:pt x="11391959" y="967989"/>
                  <a:pt x="11414331" y="984090"/>
                </a:cubicBezTo>
                <a:cubicBezTo>
                  <a:pt x="11392795" y="1017545"/>
                  <a:pt x="11392795" y="1017545"/>
                  <a:pt x="11392795" y="1017545"/>
                </a:cubicBezTo>
                <a:cubicBezTo>
                  <a:pt x="11371260" y="1051209"/>
                  <a:pt x="11371260" y="1051209"/>
                  <a:pt x="11371260" y="1051209"/>
                </a:cubicBezTo>
                <a:cubicBezTo>
                  <a:pt x="11354114" y="1038036"/>
                  <a:pt x="11335715" y="1028627"/>
                  <a:pt x="11316270" y="1022354"/>
                </a:cubicBezTo>
                <a:cubicBezTo>
                  <a:pt x="11296616" y="1016290"/>
                  <a:pt x="11275498" y="1013363"/>
                  <a:pt x="11252917" y="1013363"/>
                </a:cubicBezTo>
                <a:cubicBezTo>
                  <a:pt x="11201273" y="1013363"/>
                  <a:pt x="11155483" y="1034063"/>
                  <a:pt x="11122657" y="1067936"/>
                </a:cubicBezTo>
                <a:cubicBezTo>
                  <a:pt x="11089622" y="1102019"/>
                  <a:pt x="11069549" y="1149692"/>
                  <a:pt x="11069549" y="1203221"/>
                </a:cubicBezTo>
                <a:cubicBezTo>
                  <a:pt x="11069549" y="1256958"/>
                  <a:pt x="11088785" y="1304631"/>
                  <a:pt x="11120984" y="1338923"/>
                </a:cubicBezTo>
                <a:cubicBezTo>
                  <a:pt x="11153393" y="1373214"/>
                  <a:pt x="11198346" y="1394124"/>
                  <a:pt x="11249990" y="1394124"/>
                </a:cubicBezTo>
                <a:cubicBezTo>
                  <a:pt x="11297452" y="1394124"/>
                  <a:pt x="11335924" y="1378860"/>
                  <a:pt x="11364360" y="1353350"/>
                </a:cubicBezTo>
                <a:cubicBezTo>
                  <a:pt x="11392795" y="1328050"/>
                  <a:pt x="11410986" y="1292295"/>
                  <a:pt x="11418095" y="1251521"/>
                </a:cubicBezTo>
                <a:cubicBezTo>
                  <a:pt x="11244136" y="1251521"/>
                  <a:pt x="11244136" y="1251521"/>
                  <a:pt x="11244136" y="1251521"/>
                </a:cubicBezTo>
                <a:cubicBezTo>
                  <a:pt x="11267971" y="1214303"/>
                  <a:pt x="11267971" y="1214303"/>
                  <a:pt x="11267971" y="1214303"/>
                </a:cubicBezTo>
                <a:cubicBezTo>
                  <a:pt x="11291598" y="1177084"/>
                  <a:pt x="11291598" y="1177084"/>
                  <a:pt x="11291598" y="1177084"/>
                </a:cubicBezTo>
                <a:cubicBezTo>
                  <a:pt x="11496083" y="1177084"/>
                  <a:pt x="11496083" y="1177084"/>
                  <a:pt x="11496083" y="1177084"/>
                </a:cubicBezTo>
                <a:cubicBezTo>
                  <a:pt x="11497338" y="1181057"/>
                  <a:pt x="11498174" y="1186911"/>
                  <a:pt x="11498802" y="1193393"/>
                </a:cubicBezTo>
                <a:cubicBezTo>
                  <a:pt x="11499429" y="1199875"/>
                  <a:pt x="11499847" y="1206984"/>
                  <a:pt x="11499847" y="1213466"/>
                </a:cubicBezTo>
                <a:cubicBezTo>
                  <a:pt x="11499847" y="1286231"/>
                  <a:pt x="11474339" y="1350214"/>
                  <a:pt x="11430222" y="1396215"/>
                </a:cubicBezTo>
                <a:cubicBezTo>
                  <a:pt x="11386105" y="1442216"/>
                  <a:pt x="11323379" y="1470025"/>
                  <a:pt x="11249154" y="1470025"/>
                </a:cubicBezTo>
                <a:cubicBezTo>
                  <a:pt x="11175137" y="1470025"/>
                  <a:pt x="11109066" y="1440334"/>
                  <a:pt x="11061813" y="1392242"/>
                </a:cubicBezTo>
                <a:cubicBezTo>
                  <a:pt x="11014351" y="1344150"/>
                  <a:pt x="10985497" y="1277449"/>
                  <a:pt x="10985497" y="1203221"/>
                </a:cubicBezTo>
                <a:cubicBezTo>
                  <a:pt x="10985497" y="1129201"/>
                  <a:pt x="11015187" y="1062500"/>
                  <a:pt x="11063695" y="1014408"/>
                </a:cubicBezTo>
                <a:cubicBezTo>
                  <a:pt x="11111994" y="966317"/>
                  <a:pt x="11179110" y="936625"/>
                  <a:pt x="11253544" y="936625"/>
                </a:cubicBezTo>
                <a:close/>
                <a:moveTo>
                  <a:pt x="8471697" y="936625"/>
                </a:moveTo>
                <a:cubicBezTo>
                  <a:pt x="8502452" y="936625"/>
                  <a:pt x="8530906" y="941434"/>
                  <a:pt x="8556850" y="949798"/>
                </a:cubicBezTo>
                <a:cubicBezTo>
                  <a:pt x="8582793" y="958162"/>
                  <a:pt x="8606225" y="970080"/>
                  <a:pt x="8626729" y="984717"/>
                </a:cubicBezTo>
                <a:cubicBezTo>
                  <a:pt x="8626729" y="984717"/>
                  <a:pt x="8626729" y="984717"/>
                  <a:pt x="8606225" y="1017336"/>
                </a:cubicBezTo>
                <a:cubicBezTo>
                  <a:pt x="8606225" y="1017336"/>
                  <a:pt x="8606225" y="1017336"/>
                  <a:pt x="8585722" y="1049745"/>
                </a:cubicBezTo>
                <a:cubicBezTo>
                  <a:pt x="8566474" y="1037409"/>
                  <a:pt x="8547644" y="1027581"/>
                  <a:pt x="8528605" y="1021099"/>
                </a:cubicBezTo>
                <a:cubicBezTo>
                  <a:pt x="8509775" y="1014617"/>
                  <a:pt x="8490736" y="1011063"/>
                  <a:pt x="8471070" y="1011063"/>
                </a:cubicBezTo>
                <a:cubicBezTo>
                  <a:pt x="8441151" y="1011063"/>
                  <a:pt x="8418974" y="1019217"/>
                  <a:pt x="8404328" y="1032181"/>
                </a:cubicBezTo>
                <a:cubicBezTo>
                  <a:pt x="8389683" y="1045354"/>
                  <a:pt x="8382570" y="1063755"/>
                  <a:pt x="8382570" y="1084246"/>
                </a:cubicBezTo>
                <a:cubicBezTo>
                  <a:pt x="8382570" y="1108292"/>
                  <a:pt x="8393449" y="1123556"/>
                  <a:pt x="8412697" y="1135474"/>
                </a:cubicBezTo>
                <a:cubicBezTo>
                  <a:pt x="8432155" y="1147183"/>
                  <a:pt x="8459772" y="1155338"/>
                  <a:pt x="8493038" y="1165165"/>
                </a:cubicBezTo>
                <a:cubicBezTo>
                  <a:pt x="8532789" y="1177293"/>
                  <a:pt x="8571704" y="1190257"/>
                  <a:pt x="8600786" y="1212421"/>
                </a:cubicBezTo>
                <a:cubicBezTo>
                  <a:pt x="8629658" y="1234585"/>
                  <a:pt x="8648697" y="1265740"/>
                  <a:pt x="8648697" y="1314250"/>
                </a:cubicBezTo>
                <a:cubicBezTo>
                  <a:pt x="8648697" y="1359205"/>
                  <a:pt x="8632169" y="1398097"/>
                  <a:pt x="8601413" y="1425906"/>
                </a:cubicBezTo>
                <a:cubicBezTo>
                  <a:pt x="8570658" y="1453507"/>
                  <a:pt x="8525467" y="1470025"/>
                  <a:pt x="8468140" y="1470025"/>
                </a:cubicBezTo>
                <a:cubicBezTo>
                  <a:pt x="8427552" y="1470025"/>
                  <a:pt x="8393031" y="1463125"/>
                  <a:pt x="8363531" y="1452461"/>
                </a:cubicBezTo>
                <a:cubicBezTo>
                  <a:pt x="8333821" y="1441797"/>
                  <a:pt x="8308715" y="1427161"/>
                  <a:pt x="8286747" y="1411479"/>
                </a:cubicBezTo>
                <a:cubicBezTo>
                  <a:pt x="8286747" y="1411479"/>
                  <a:pt x="8286747" y="1411479"/>
                  <a:pt x="8307251" y="1379069"/>
                </a:cubicBezTo>
                <a:cubicBezTo>
                  <a:pt x="8307251" y="1379069"/>
                  <a:pt x="8307251" y="1379069"/>
                  <a:pt x="8327754" y="1346450"/>
                </a:cubicBezTo>
                <a:cubicBezTo>
                  <a:pt x="8349931" y="1360669"/>
                  <a:pt x="8372318" y="1373005"/>
                  <a:pt x="8395541" y="1381578"/>
                </a:cubicBezTo>
                <a:cubicBezTo>
                  <a:pt x="8418765" y="1390360"/>
                  <a:pt x="8442825" y="1395378"/>
                  <a:pt x="8468768" y="1395378"/>
                </a:cubicBezTo>
                <a:cubicBezTo>
                  <a:pt x="8500569" y="1395378"/>
                  <a:pt x="8525048" y="1387224"/>
                  <a:pt x="8541367" y="1373633"/>
                </a:cubicBezTo>
                <a:cubicBezTo>
                  <a:pt x="8557686" y="1360041"/>
                  <a:pt x="8566055" y="1341014"/>
                  <a:pt x="8566055" y="1319477"/>
                </a:cubicBezTo>
                <a:cubicBezTo>
                  <a:pt x="8566055" y="1295640"/>
                  <a:pt x="8554967" y="1280376"/>
                  <a:pt x="8535509" y="1268458"/>
                </a:cubicBezTo>
                <a:cubicBezTo>
                  <a:pt x="8516261" y="1256540"/>
                  <a:pt x="8488644" y="1248176"/>
                  <a:pt x="8455587" y="1238348"/>
                </a:cubicBezTo>
                <a:cubicBezTo>
                  <a:pt x="8415417" y="1226221"/>
                  <a:pt x="8376502" y="1213466"/>
                  <a:pt x="8347630" y="1191511"/>
                </a:cubicBezTo>
                <a:cubicBezTo>
                  <a:pt x="8318758" y="1169556"/>
                  <a:pt x="8299928" y="1138192"/>
                  <a:pt x="8299928" y="1089264"/>
                </a:cubicBezTo>
                <a:cubicBezTo>
                  <a:pt x="8299928" y="1044727"/>
                  <a:pt x="8315829" y="1006463"/>
                  <a:pt x="8345329" y="979489"/>
                </a:cubicBezTo>
                <a:cubicBezTo>
                  <a:pt x="8374828" y="952516"/>
                  <a:pt x="8417718" y="936625"/>
                  <a:pt x="8471697" y="936625"/>
                </a:cubicBezTo>
                <a:close/>
                <a:moveTo>
                  <a:pt x="7349808" y="936625"/>
                </a:moveTo>
                <a:cubicBezTo>
                  <a:pt x="7424849" y="936625"/>
                  <a:pt x="7492344" y="966526"/>
                  <a:pt x="7541183" y="1014826"/>
                </a:cubicBezTo>
                <a:cubicBezTo>
                  <a:pt x="7590023" y="1063127"/>
                  <a:pt x="7619997" y="1129828"/>
                  <a:pt x="7619997" y="1203221"/>
                </a:cubicBezTo>
                <a:cubicBezTo>
                  <a:pt x="7619997" y="1276613"/>
                  <a:pt x="7590023" y="1343314"/>
                  <a:pt x="7541183" y="1391615"/>
                </a:cubicBezTo>
                <a:cubicBezTo>
                  <a:pt x="7492344" y="1440125"/>
                  <a:pt x="7424849" y="1470025"/>
                  <a:pt x="7349808" y="1470025"/>
                </a:cubicBezTo>
                <a:cubicBezTo>
                  <a:pt x="7274767" y="1470025"/>
                  <a:pt x="7207272" y="1440125"/>
                  <a:pt x="7158642" y="1391615"/>
                </a:cubicBezTo>
                <a:cubicBezTo>
                  <a:pt x="7110012" y="1343314"/>
                  <a:pt x="7080247" y="1276613"/>
                  <a:pt x="7080247" y="1203221"/>
                </a:cubicBezTo>
                <a:cubicBezTo>
                  <a:pt x="7080247" y="1129828"/>
                  <a:pt x="7110012" y="1063127"/>
                  <a:pt x="7158642" y="1014826"/>
                </a:cubicBezTo>
                <a:cubicBezTo>
                  <a:pt x="7207272" y="966526"/>
                  <a:pt x="7274767" y="936625"/>
                  <a:pt x="7349808" y="936625"/>
                </a:cubicBezTo>
                <a:close/>
                <a:moveTo>
                  <a:pt x="6837427" y="936625"/>
                </a:moveTo>
                <a:cubicBezTo>
                  <a:pt x="6874092" y="936625"/>
                  <a:pt x="6904891" y="941852"/>
                  <a:pt x="6932756" y="951680"/>
                </a:cubicBezTo>
                <a:cubicBezTo>
                  <a:pt x="6960412" y="961507"/>
                  <a:pt x="6984925" y="975726"/>
                  <a:pt x="7008810" y="993499"/>
                </a:cubicBezTo>
                <a:cubicBezTo>
                  <a:pt x="7008810" y="993499"/>
                  <a:pt x="7008810" y="993499"/>
                  <a:pt x="6987439" y="1026745"/>
                </a:cubicBezTo>
                <a:cubicBezTo>
                  <a:pt x="6987439" y="1026745"/>
                  <a:pt x="6987439" y="1026745"/>
                  <a:pt x="6966278" y="1059991"/>
                </a:cubicBezTo>
                <a:cubicBezTo>
                  <a:pt x="6946584" y="1044727"/>
                  <a:pt x="6926680" y="1032809"/>
                  <a:pt x="6904891" y="1024863"/>
                </a:cubicBezTo>
                <a:cubicBezTo>
                  <a:pt x="6883101" y="1016708"/>
                  <a:pt x="6859845" y="1012526"/>
                  <a:pt x="6833027" y="1012526"/>
                </a:cubicBezTo>
                <a:cubicBezTo>
                  <a:pt x="6782115" y="1012526"/>
                  <a:pt x="6736441" y="1033436"/>
                  <a:pt x="6703338" y="1067727"/>
                </a:cubicBezTo>
                <a:cubicBezTo>
                  <a:pt x="6670444" y="1102019"/>
                  <a:pt x="6649912" y="1149483"/>
                  <a:pt x="6649912" y="1203221"/>
                </a:cubicBezTo>
                <a:cubicBezTo>
                  <a:pt x="6649912" y="1256958"/>
                  <a:pt x="6670444" y="1304631"/>
                  <a:pt x="6703338" y="1338923"/>
                </a:cubicBezTo>
                <a:cubicBezTo>
                  <a:pt x="6736441" y="1373214"/>
                  <a:pt x="6782115" y="1393915"/>
                  <a:pt x="6833027" y="1393915"/>
                </a:cubicBezTo>
                <a:cubicBezTo>
                  <a:pt x="6859845" y="1393915"/>
                  <a:pt x="6883101" y="1389733"/>
                  <a:pt x="6904891" y="1381787"/>
                </a:cubicBezTo>
                <a:cubicBezTo>
                  <a:pt x="6926680" y="1373633"/>
                  <a:pt x="6946584" y="1361923"/>
                  <a:pt x="6966278" y="1346450"/>
                </a:cubicBezTo>
                <a:cubicBezTo>
                  <a:pt x="6966278" y="1346450"/>
                  <a:pt x="6966278" y="1346450"/>
                  <a:pt x="6987439" y="1379696"/>
                </a:cubicBezTo>
                <a:cubicBezTo>
                  <a:pt x="6987439" y="1379696"/>
                  <a:pt x="6987439" y="1379696"/>
                  <a:pt x="7008810" y="1412942"/>
                </a:cubicBezTo>
                <a:cubicBezTo>
                  <a:pt x="6984925" y="1430924"/>
                  <a:pt x="6960412" y="1445143"/>
                  <a:pt x="6932756" y="1454970"/>
                </a:cubicBezTo>
                <a:cubicBezTo>
                  <a:pt x="6904891" y="1464589"/>
                  <a:pt x="6874092" y="1470025"/>
                  <a:pt x="6837427" y="1470025"/>
                </a:cubicBezTo>
                <a:cubicBezTo>
                  <a:pt x="6761373" y="1470025"/>
                  <a:pt x="6693491" y="1440334"/>
                  <a:pt x="6644674" y="1392242"/>
                </a:cubicBezTo>
                <a:cubicBezTo>
                  <a:pt x="6595648" y="1344150"/>
                  <a:pt x="6565897" y="1277449"/>
                  <a:pt x="6565897" y="1203221"/>
                </a:cubicBezTo>
                <a:cubicBezTo>
                  <a:pt x="6565897" y="1129201"/>
                  <a:pt x="6595648" y="1062500"/>
                  <a:pt x="6644674" y="1014408"/>
                </a:cubicBezTo>
                <a:cubicBezTo>
                  <a:pt x="6693491" y="966107"/>
                  <a:pt x="6761373" y="936625"/>
                  <a:pt x="6837427" y="936625"/>
                </a:cubicBezTo>
                <a:close/>
                <a:moveTo>
                  <a:pt x="501650" y="477838"/>
                </a:moveTo>
                <a:cubicBezTo>
                  <a:pt x="501650" y="477838"/>
                  <a:pt x="501650" y="477838"/>
                  <a:pt x="501650" y="981076"/>
                </a:cubicBezTo>
                <a:cubicBezTo>
                  <a:pt x="501650" y="981076"/>
                  <a:pt x="501650" y="981076"/>
                  <a:pt x="786010" y="981076"/>
                </a:cubicBezTo>
                <a:cubicBezTo>
                  <a:pt x="786010" y="981076"/>
                  <a:pt x="786010" y="981076"/>
                  <a:pt x="1070579" y="981076"/>
                </a:cubicBezTo>
                <a:cubicBezTo>
                  <a:pt x="1142870" y="981076"/>
                  <a:pt x="1207013" y="953710"/>
                  <a:pt x="1253188" y="908588"/>
                </a:cubicBezTo>
                <a:cubicBezTo>
                  <a:pt x="1299153" y="863466"/>
                  <a:pt x="1327150" y="800169"/>
                  <a:pt x="1327150" y="727681"/>
                </a:cubicBezTo>
                <a:cubicBezTo>
                  <a:pt x="1327150" y="655402"/>
                  <a:pt x="1299153" y="592942"/>
                  <a:pt x="1253188" y="548446"/>
                </a:cubicBezTo>
                <a:cubicBezTo>
                  <a:pt x="1207013" y="503951"/>
                  <a:pt x="1142870" y="477838"/>
                  <a:pt x="1070579" y="477838"/>
                </a:cubicBezTo>
                <a:cubicBezTo>
                  <a:pt x="1070579" y="477838"/>
                  <a:pt x="1070579" y="477838"/>
                  <a:pt x="501650" y="477838"/>
                </a:cubicBezTo>
                <a:close/>
                <a:moveTo>
                  <a:pt x="6675435" y="336550"/>
                </a:moveTo>
                <a:cubicBezTo>
                  <a:pt x="6675435" y="487363"/>
                  <a:pt x="6675435" y="487363"/>
                  <a:pt x="6675435" y="487363"/>
                </a:cubicBezTo>
                <a:cubicBezTo>
                  <a:pt x="6808467" y="487363"/>
                  <a:pt x="6808467" y="487363"/>
                  <a:pt x="6808467" y="487363"/>
                </a:cubicBezTo>
                <a:cubicBezTo>
                  <a:pt x="6831475" y="487363"/>
                  <a:pt x="6851346" y="478985"/>
                  <a:pt x="6865570" y="465370"/>
                </a:cubicBezTo>
                <a:cubicBezTo>
                  <a:pt x="6879793" y="451755"/>
                  <a:pt x="6888160" y="432903"/>
                  <a:pt x="6888160" y="411957"/>
                </a:cubicBezTo>
                <a:cubicBezTo>
                  <a:pt x="6888160" y="390801"/>
                  <a:pt x="6879793" y="371949"/>
                  <a:pt x="6865570" y="358334"/>
                </a:cubicBezTo>
                <a:cubicBezTo>
                  <a:pt x="6851346" y="344719"/>
                  <a:pt x="6831475" y="336550"/>
                  <a:pt x="6808467" y="336550"/>
                </a:cubicBezTo>
                <a:cubicBezTo>
                  <a:pt x="6675435" y="336550"/>
                  <a:pt x="6675435" y="336550"/>
                  <a:pt x="6675435" y="336550"/>
                </a:cubicBezTo>
                <a:close/>
                <a:moveTo>
                  <a:pt x="6675435" y="122238"/>
                </a:moveTo>
                <a:cubicBezTo>
                  <a:pt x="6675435" y="265113"/>
                  <a:pt x="6675435" y="265113"/>
                  <a:pt x="6675435" y="265113"/>
                </a:cubicBezTo>
                <a:cubicBezTo>
                  <a:pt x="6795279" y="265113"/>
                  <a:pt x="6795279" y="265113"/>
                  <a:pt x="6795279" y="265113"/>
                </a:cubicBezTo>
                <a:cubicBezTo>
                  <a:pt x="6816822" y="265113"/>
                  <a:pt x="6835228" y="257396"/>
                  <a:pt x="6848404" y="244673"/>
                </a:cubicBezTo>
                <a:cubicBezTo>
                  <a:pt x="6861372" y="231949"/>
                  <a:pt x="6869110" y="214012"/>
                  <a:pt x="6869110" y="193571"/>
                </a:cubicBezTo>
                <a:cubicBezTo>
                  <a:pt x="6869110" y="173131"/>
                  <a:pt x="6861372" y="155402"/>
                  <a:pt x="6848404" y="142679"/>
                </a:cubicBezTo>
                <a:cubicBezTo>
                  <a:pt x="6835228" y="129747"/>
                  <a:pt x="6816822" y="122238"/>
                  <a:pt x="6795279" y="122238"/>
                </a:cubicBezTo>
                <a:cubicBezTo>
                  <a:pt x="6675435" y="122238"/>
                  <a:pt x="6675435" y="122238"/>
                  <a:pt x="6675435" y="122238"/>
                </a:cubicBezTo>
                <a:close/>
                <a:moveTo>
                  <a:pt x="8850791" y="114300"/>
                </a:moveTo>
                <a:cubicBezTo>
                  <a:pt x="8799203" y="114300"/>
                  <a:pt x="8753045" y="135269"/>
                  <a:pt x="8719837" y="169657"/>
                </a:cubicBezTo>
                <a:cubicBezTo>
                  <a:pt x="8686419" y="204046"/>
                  <a:pt x="8666160" y="251645"/>
                  <a:pt x="8666160" y="304905"/>
                </a:cubicBezTo>
                <a:cubicBezTo>
                  <a:pt x="8666160" y="357956"/>
                  <a:pt x="8686419" y="405554"/>
                  <a:pt x="8719837" y="439943"/>
                </a:cubicBezTo>
                <a:cubicBezTo>
                  <a:pt x="8753045" y="474332"/>
                  <a:pt x="8799203" y="495300"/>
                  <a:pt x="8850791" y="495300"/>
                </a:cubicBezTo>
                <a:cubicBezTo>
                  <a:pt x="8902588" y="495300"/>
                  <a:pt x="8948954" y="474541"/>
                  <a:pt x="8982163" y="440153"/>
                </a:cubicBezTo>
                <a:cubicBezTo>
                  <a:pt x="9015580" y="405974"/>
                  <a:pt x="9036048" y="358375"/>
                  <a:pt x="9036048" y="304905"/>
                </a:cubicBezTo>
                <a:cubicBezTo>
                  <a:pt x="9036048" y="251645"/>
                  <a:pt x="9015371" y="204046"/>
                  <a:pt x="8981954" y="169657"/>
                </a:cubicBezTo>
                <a:cubicBezTo>
                  <a:pt x="8948536" y="135269"/>
                  <a:pt x="8902170" y="114300"/>
                  <a:pt x="8850791" y="114300"/>
                </a:cubicBezTo>
                <a:close/>
                <a:moveTo>
                  <a:pt x="7335415" y="114300"/>
                </a:moveTo>
                <a:cubicBezTo>
                  <a:pt x="7283845" y="114300"/>
                  <a:pt x="7237515" y="135269"/>
                  <a:pt x="7203974" y="169657"/>
                </a:cubicBezTo>
                <a:cubicBezTo>
                  <a:pt x="7170642" y="204046"/>
                  <a:pt x="7150097" y="251645"/>
                  <a:pt x="7150097" y="304905"/>
                </a:cubicBezTo>
                <a:cubicBezTo>
                  <a:pt x="7150097" y="357956"/>
                  <a:pt x="7170642" y="405554"/>
                  <a:pt x="7203974" y="439943"/>
                </a:cubicBezTo>
                <a:cubicBezTo>
                  <a:pt x="7237515" y="474332"/>
                  <a:pt x="7283845" y="495300"/>
                  <a:pt x="7335415" y="495300"/>
                </a:cubicBezTo>
                <a:cubicBezTo>
                  <a:pt x="7387405" y="495300"/>
                  <a:pt x="7433944" y="474541"/>
                  <a:pt x="7467486" y="440153"/>
                </a:cubicBezTo>
                <a:cubicBezTo>
                  <a:pt x="7501028" y="405974"/>
                  <a:pt x="7521572" y="358375"/>
                  <a:pt x="7521572" y="304905"/>
                </a:cubicBezTo>
                <a:cubicBezTo>
                  <a:pt x="7521572" y="251645"/>
                  <a:pt x="7500818" y="204046"/>
                  <a:pt x="7467067" y="169657"/>
                </a:cubicBezTo>
                <a:cubicBezTo>
                  <a:pt x="7433525" y="135269"/>
                  <a:pt x="7386986" y="114300"/>
                  <a:pt x="7335415" y="114300"/>
                </a:cubicBezTo>
                <a:close/>
                <a:moveTo>
                  <a:pt x="9237660" y="49213"/>
                </a:moveTo>
                <a:lnTo>
                  <a:pt x="9339260" y="49213"/>
                </a:lnTo>
                <a:lnTo>
                  <a:pt x="9458322" y="242888"/>
                </a:lnTo>
                <a:lnTo>
                  <a:pt x="9578972" y="436563"/>
                </a:lnTo>
                <a:lnTo>
                  <a:pt x="9578972" y="49213"/>
                </a:lnTo>
                <a:lnTo>
                  <a:pt x="9656760" y="49213"/>
                </a:lnTo>
                <a:lnTo>
                  <a:pt x="9656760" y="560388"/>
                </a:lnTo>
                <a:lnTo>
                  <a:pt x="9561510" y="560388"/>
                </a:lnTo>
                <a:lnTo>
                  <a:pt x="9439272" y="363538"/>
                </a:lnTo>
                <a:lnTo>
                  <a:pt x="9317035" y="165101"/>
                </a:lnTo>
                <a:lnTo>
                  <a:pt x="9317035" y="560388"/>
                </a:lnTo>
                <a:lnTo>
                  <a:pt x="9237660" y="560388"/>
                </a:lnTo>
                <a:close/>
                <a:moveTo>
                  <a:pt x="8126410" y="49213"/>
                </a:moveTo>
                <a:lnTo>
                  <a:pt x="8529635" y="49213"/>
                </a:lnTo>
                <a:lnTo>
                  <a:pt x="8529635" y="125413"/>
                </a:lnTo>
                <a:lnTo>
                  <a:pt x="8369298" y="125413"/>
                </a:lnTo>
                <a:lnTo>
                  <a:pt x="8369298" y="560388"/>
                </a:lnTo>
                <a:lnTo>
                  <a:pt x="8285160" y="560388"/>
                </a:lnTo>
                <a:lnTo>
                  <a:pt x="8285160" y="125413"/>
                </a:lnTo>
                <a:lnTo>
                  <a:pt x="8126410" y="125413"/>
                </a:lnTo>
                <a:close/>
                <a:moveTo>
                  <a:pt x="6592885" y="49213"/>
                </a:moveTo>
                <a:cubicBezTo>
                  <a:pt x="6795851" y="49213"/>
                  <a:pt x="6795851" y="49213"/>
                  <a:pt x="6795851" y="49213"/>
                </a:cubicBezTo>
                <a:cubicBezTo>
                  <a:pt x="6840537" y="49213"/>
                  <a:pt x="6879794" y="63633"/>
                  <a:pt x="6907775" y="87875"/>
                </a:cubicBezTo>
                <a:cubicBezTo>
                  <a:pt x="6935756" y="112117"/>
                  <a:pt x="6952670" y="146182"/>
                  <a:pt x="6952670" y="185680"/>
                </a:cubicBezTo>
                <a:cubicBezTo>
                  <a:pt x="6952670" y="208041"/>
                  <a:pt x="6946823" y="228103"/>
                  <a:pt x="6936382" y="245658"/>
                </a:cubicBezTo>
                <a:cubicBezTo>
                  <a:pt x="6925733" y="263004"/>
                  <a:pt x="6910698" y="277633"/>
                  <a:pt x="6892114" y="288709"/>
                </a:cubicBezTo>
                <a:cubicBezTo>
                  <a:pt x="6916963" y="300621"/>
                  <a:pt x="6937009" y="318176"/>
                  <a:pt x="6950791" y="339492"/>
                </a:cubicBezTo>
                <a:cubicBezTo>
                  <a:pt x="6964572" y="360808"/>
                  <a:pt x="6972298" y="385677"/>
                  <a:pt x="6972298" y="412845"/>
                </a:cubicBezTo>
                <a:cubicBezTo>
                  <a:pt x="6972298" y="454015"/>
                  <a:pt x="6955384" y="491005"/>
                  <a:pt x="6926359" y="517546"/>
                </a:cubicBezTo>
                <a:cubicBezTo>
                  <a:pt x="6897543" y="544087"/>
                  <a:pt x="6856616" y="560388"/>
                  <a:pt x="6808798" y="560388"/>
                </a:cubicBezTo>
                <a:cubicBezTo>
                  <a:pt x="6592885" y="560388"/>
                  <a:pt x="6592885" y="560388"/>
                  <a:pt x="6592885" y="560388"/>
                </a:cubicBezTo>
                <a:cubicBezTo>
                  <a:pt x="6592885" y="49213"/>
                  <a:pt x="6592885" y="49213"/>
                  <a:pt x="6592885" y="49213"/>
                </a:cubicBezTo>
                <a:close/>
                <a:moveTo>
                  <a:pt x="8850790" y="38100"/>
                </a:moveTo>
                <a:cubicBezTo>
                  <a:pt x="8925610" y="38100"/>
                  <a:pt x="8992907" y="68001"/>
                  <a:pt x="9041603" y="116301"/>
                </a:cubicBezTo>
                <a:cubicBezTo>
                  <a:pt x="9090299" y="164602"/>
                  <a:pt x="9120185" y="231303"/>
                  <a:pt x="9120185" y="304905"/>
                </a:cubicBezTo>
                <a:cubicBezTo>
                  <a:pt x="9120185" y="378297"/>
                  <a:pt x="9090299" y="444998"/>
                  <a:pt x="9041603" y="493090"/>
                </a:cubicBezTo>
                <a:cubicBezTo>
                  <a:pt x="8992907" y="541600"/>
                  <a:pt x="8925610" y="571500"/>
                  <a:pt x="8850790" y="571500"/>
                </a:cubicBezTo>
                <a:cubicBezTo>
                  <a:pt x="8775761" y="571500"/>
                  <a:pt x="8708673" y="541600"/>
                  <a:pt x="8660186" y="493090"/>
                </a:cubicBezTo>
                <a:cubicBezTo>
                  <a:pt x="8611699" y="444998"/>
                  <a:pt x="8582022" y="378297"/>
                  <a:pt x="8582022" y="304905"/>
                </a:cubicBezTo>
                <a:cubicBezTo>
                  <a:pt x="8582022" y="231303"/>
                  <a:pt x="8611699" y="164602"/>
                  <a:pt x="8660186" y="116301"/>
                </a:cubicBezTo>
                <a:cubicBezTo>
                  <a:pt x="8708673" y="68001"/>
                  <a:pt x="8775761" y="38100"/>
                  <a:pt x="8850790" y="38100"/>
                </a:cubicBezTo>
                <a:close/>
                <a:moveTo>
                  <a:pt x="7870035" y="38100"/>
                </a:moveTo>
                <a:cubicBezTo>
                  <a:pt x="7871499" y="38100"/>
                  <a:pt x="7871499" y="38100"/>
                  <a:pt x="7871499" y="38100"/>
                </a:cubicBezTo>
                <a:cubicBezTo>
                  <a:pt x="7901627" y="38309"/>
                  <a:pt x="7929663" y="42909"/>
                  <a:pt x="7955187" y="51273"/>
                </a:cubicBezTo>
                <a:cubicBezTo>
                  <a:pt x="7981131" y="59637"/>
                  <a:pt x="8004563" y="71764"/>
                  <a:pt x="8025067" y="86401"/>
                </a:cubicBezTo>
                <a:cubicBezTo>
                  <a:pt x="8004563" y="118811"/>
                  <a:pt x="8004563" y="118811"/>
                  <a:pt x="8004563" y="118811"/>
                </a:cubicBezTo>
                <a:cubicBezTo>
                  <a:pt x="7984060" y="151429"/>
                  <a:pt x="7984060" y="151429"/>
                  <a:pt x="7984060" y="151429"/>
                </a:cubicBezTo>
                <a:cubicBezTo>
                  <a:pt x="7964811" y="138884"/>
                  <a:pt x="7945982" y="129265"/>
                  <a:pt x="7926943" y="122574"/>
                </a:cubicBezTo>
                <a:cubicBezTo>
                  <a:pt x="7908113" y="116092"/>
                  <a:pt x="7889074" y="112538"/>
                  <a:pt x="7869198" y="112538"/>
                </a:cubicBezTo>
                <a:cubicBezTo>
                  <a:pt x="7839280" y="112538"/>
                  <a:pt x="7817312" y="120692"/>
                  <a:pt x="7802666" y="133865"/>
                </a:cubicBezTo>
                <a:cubicBezTo>
                  <a:pt x="7788021" y="147038"/>
                  <a:pt x="7780907" y="165230"/>
                  <a:pt x="7780907" y="185721"/>
                </a:cubicBezTo>
                <a:cubicBezTo>
                  <a:pt x="7780907" y="209767"/>
                  <a:pt x="7791787" y="225031"/>
                  <a:pt x="7811035" y="236949"/>
                </a:cubicBezTo>
                <a:cubicBezTo>
                  <a:pt x="7830283" y="248658"/>
                  <a:pt x="7857900" y="257022"/>
                  <a:pt x="7891166" y="266849"/>
                </a:cubicBezTo>
                <a:cubicBezTo>
                  <a:pt x="7931127" y="278977"/>
                  <a:pt x="7970042" y="291941"/>
                  <a:pt x="7998914" y="313896"/>
                </a:cubicBezTo>
                <a:cubicBezTo>
                  <a:pt x="8027996" y="336060"/>
                  <a:pt x="8047035" y="367424"/>
                  <a:pt x="8047035" y="415934"/>
                </a:cubicBezTo>
                <a:cubicBezTo>
                  <a:pt x="8047035" y="460889"/>
                  <a:pt x="8030506" y="499781"/>
                  <a:pt x="7999751" y="527381"/>
                </a:cubicBezTo>
                <a:cubicBezTo>
                  <a:pt x="7968787" y="554982"/>
                  <a:pt x="7923804" y="571500"/>
                  <a:pt x="7866478" y="571500"/>
                </a:cubicBezTo>
                <a:cubicBezTo>
                  <a:pt x="7825890" y="571500"/>
                  <a:pt x="7791368" y="564809"/>
                  <a:pt x="7761659" y="554145"/>
                </a:cubicBezTo>
                <a:cubicBezTo>
                  <a:pt x="7731950" y="543272"/>
                  <a:pt x="7707053" y="528845"/>
                  <a:pt x="7685085" y="512954"/>
                </a:cubicBezTo>
                <a:cubicBezTo>
                  <a:pt x="7725883" y="447925"/>
                  <a:pt x="7725883" y="447925"/>
                  <a:pt x="7725883" y="447925"/>
                </a:cubicBezTo>
                <a:cubicBezTo>
                  <a:pt x="7748269" y="462353"/>
                  <a:pt x="7770656" y="474480"/>
                  <a:pt x="7793879" y="483053"/>
                </a:cubicBezTo>
                <a:cubicBezTo>
                  <a:pt x="7816893" y="491835"/>
                  <a:pt x="7841163" y="497063"/>
                  <a:pt x="7867106" y="497063"/>
                </a:cubicBezTo>
                <a:cubicBezTo>
                  <a:pt x="7898907" y="497063"/>
                  <a:pt x="7923177" y="488699"/>
                  <a:pt x="7939496" y="475108"/>
                </a:cubicBezTo>
                <a:cubicBezTo>
                  <a:pt x="7956024" y="461516"/>
                  <a:pt x="7964393" y="442489"/>
                  <a:pt x="7964393" y="420952"/>
                </a:cubicBezTo>
                <a:cubicBezTo>
                  <a:pt x="7964393" y="397324"/>
                  <a:pt x="7953095" y="381851"/>
                  <a:pt x="7933847" y="369933"/>
                </a:cubicBezTo>
                <a:cubicBezTo>
                  <a:pt x="7914389" y="358224"/>
                  <a:pt x="7886982" y="349860"/>
                  <a:pt x="7853925" y="339823"/>
                </a:cubicBezTo>
                <a:cubicBezTo>
                  <a:pt x="7813755" y="327696"/>
                  <a:pt x="7774840" y="314941"/>
                  <a:pt x="7745968" y="292986"/>
                </a:cubicBezTo>
                <a:cubicBezTo>
                  <a:pt x="7717095" y="271031"/>
                  <a:pt x="7698266" y="239667"/>
                  <a:pt x="7698266" y="190739"/>
                </a:cubicBezTo>
                <a:cubicBezTo>
                  <a:pt x="7698266" y="146202"/>
                  <a:pt x="7714166" y="107938"/>
                  <a:pt x="7743666" y="80964"/>
                </a:cubicBezTo>
                <a:cubicBezTo>
                  <a:pt x="7772957" y="53991"/>
                  <a:pt x="7815847" y="38100"/>
                  <a:pt x="7870035" y="38100"/>
                </a:cubicBezTo>
                <a:close/>
                <a:moveTo>
                  <a:pt x="7334624" y="38100"/>
                </a:moveTo>
                <a:cubicBezTo>
                  <a:pt x="7409415" y="38100"/>
                  <a:pt x="7476894" y="68001"/>
                  <a:pt x="7525363" y="116301"/>
                </a:cubicBezTo>
                <a:cubicBezTo>
                  <a:pt x="7574040" y="164602"/>
                  <a:pt x="7604123" y="231303"/>
                  <a:pt x="7604123" y="304905"/>
                </a:cubicBezTo>
                <a:cubicBezTo>
                  <a:pt x="7604123" y="378297"/>
                  <a:pt x="7574040" y="444998"/>
                  <a:pt x="7525363" y="493090"/>
                </a:cubicBezTo>
                <a:cubicBezTo>
                  <a:pt x="7476894" y="541600"/>
                  <a:pt x="7409415" y="571500"/>
                  <a:pt x="7334624" y="571500"/>
                </a:cubicBezTo>
                <a:cubicBezTo>
                  <a:pt x="7259833" y="571500"/>
                  <a:pt x="7192562" y="541600"/>
                  <a:pt x="7144094" y="493090"/>
                </a:cubicBezTo>
                <a:cubicBezTo>
                  <a:pt x="7095626" y="444998"/>
                  <a:pt x="7065960" y="378297"/>
                  <a:pt x="7065960" y="304905"/>
                </a:cubicBezTo>
                <a:cubicBezTo>
                  <a:pt x="7065960" y="231303"/>
                  <a:pt x="7095626" y="164602"/>
                  <a:pt x="7144094" y="116301"/>
                </a:cubicBezTo>
                <a:cubicBezTo>
                  <a:pt x="7192562" y="68001"/>
                  <a:pt x="7259833" y="38100"/>
                  <a:pt x="7334624" y="38100"/>
                </a:cubicBezTo>
                <a:close/>
                <a:moveTo>
                  <a:pt x="2766077" y="0"/>
                </a:moveTo>
                <a:cubicBezTo>
                  <a:pt x="2901191" y="0"/>
                  <a:pt x="3028777" y="17359"/>
                  <a:pt x="3146531" y="51449"/>
                </a:cubicBezTo>
                <a:cubicBezTo>
                  <a:pt x="3264077" y="85540"/>
                  <a:pt x="3372000" y="136571"/>
                  <a:pt x="3467375" y="204124"/>
                </a:cubicBezTo>
                <a:cubicBezTo>
                  <a:pt x="3467375" y="204124"/>
                  <a:pt x="3467375" y="204124"/>
                  <a:pt x="3340627" y="403228"/>
                </a:cubicBezTo>
                <a:cubicBezTo>
                  <a:pt x="3340627" y="403228"/>
                  <a:pt x="3340627" y="403228"/>
                  <a:pt x="3213880" y="602542"/>
                </a:cubicBezTo>
                <a:cubicBezTo>
                  <a:pt x="3153015" y="556321"/>
                  <a:pt x="3084622" y="520976"/>
                  <a:pt x="3009743" y="496716"/>
                </a:cubicBezTo>
                <a:cubicBezTo>
                  <a:pt x="2934865" y="472455"/>
                  <a:pt x="2853295" y="459279"/>
                  <a:pt x="2766077" y="457606"/>
                </a:cubicBezTo>
                <a:cubicBezTo>
                  <a:pt x="2556923" y="459279"/>
                  <a:pt x="2368473" y="545655"/>
                  <a:pt x="2232314" y="681180"/>
                </a:cubicBezTo>
                <a:cubicBezTo>
                  <a:pt x="2095946" y="816496"/>
                  <a:pt x="2012073" y="1000960"/>
                  <a:pt x="2012073" y="1198391"/>
                </a:cubicBezTo>
                <a:cubicBezTo>
                  <a:pt x="2012073" y="1399378"/>
                  <a:pt x="2095946" y="1585307"/>
                  <a:pt x="2232314" y="1721250"/>
                </a:cubicBezTo>
                <a:cubicBezTo>
                  <a:pt x="2368473" y="1856984"/>
                  <a:pt x="2556923" y="1942732"/>
                  <a:pt x="2766077" y="1942732"/>
                </a:cubicBezTo>
                <a:cubicBezTo>
                  <a:pt x="2868145" y="1942732"/>
                  <a:pt x="2962893" y="1923700"/>
                  <a:pt x="3050111" y="1886682"/>
                </a:cubicBezTo>
                <a:cubicBezTo>
                  <a:pt x="3137328" y="1849664"/>
                  <a:pt x="3217225" y="1794450"/>
                  <a:pt x="3289594" y="1722086"/>
                </a:cubicBezTo>
                <a:cubicBezTo>
                  <a:pt x="3462565" y="1549125"/>
                  <a:pt x="3493101" y="1332661"/>
                  <a:pt x="3543925" y="1095493"/>
                </a:cubicBezTo>
                <a:cubicBezTo>
                  <a:pt x="3595168" y="858533"/>
                  <a:pt x="3666699" y="600869"/>
                  <a:pt x="3921866" y="345714"/>
                </a:cubicBezTo>
                <a:cubicBezTo>
                  <a:pt x="4028953" y="238633"/>
                  <a:pt x="4155701" y="152256"/>
                  <a:pt x="4300646" y="92441"/>
                </a:cubicBezTo>
                <a:cubicBezTo>
                  <a:pt x="4445590" y="32836"/>
                  <a:pt x="4608522" y="0"/>
                  <a:pt x="4787977" y="0"/>
                </a:cubicBezTo>
                <a:cubicBezTo>
                  <a:pt x="4922882" y="0"/>
                  <a:pt x="5050676" y="18823"/>
                  <a:pt x="5168221" y="54796"/>
                </a:cubicBezTo>
                <a:cubicBezTo>
                  <a:pt x="5285976" y="90559"/>
                  <a:pt x="5393900" y="143054"/>
                  <a:pt x="5489275" y="210607"/>
                </a:cubicBezTo>
                <a:cubicBezTo>
                  <a:pt x="5489275" y="210607"/>
                  <a:pt x="5489275" y="210607"/>
                  <a:pt x="5364200" y="409921"/>
                </a:cubicBezTo>
                <a:cubicBezTo>
                  <a:pt x="5364200" y="409921"/>
                  <a:pt x="5364200" y="409921"/>
                  <a:pt x="5239125" y="609025"/>
                </a:cubicBezTo>
                <a:cubicBezTo>
                  <a:pt x="5176588" y="563014"/>
                  <a:pt x="5107357" y="525996"/>
                  <a:pt x="5031643" y="500480"/>
                </a:cubicBezTo>
                <a:cubicBezTo>
                  <a:pt x="4955929" y="474965"/>
                  <a:pt x="4873522" y="460952"/>
                  <a:pt x="4784631" y="460952"/>
                </a:cubicBezTo>
                <a:cubicBezTo>
                  <a:pt x="4580495" y="460952"/>
                  <a:pt x="4396857" y="544818"/>
                  <a:pt x="4264462" y="679089"/>
                </a:cubicBezTo>
                <a:cubicBezTo>
                  <a:pt x="4131857" y="813149"/>
                  <a:pt x="4050287" y="997614"/>
                  <a:pt x="4050287" y="1198391"/>
                </a:cubicBezTo>
                <a:cubicBezTo>
                  <a:pt x="4050287" y="1402724"/>
                  <a:pt x="4131021" y="1589489"/>
                  <a:pt x="4262370" y="1725223"/>
                </a:cubicBezTo>
                <a:cubicBezTo>
                  <a:pt x="4393720" y="1861167"/>
                  <a:pt x="4575477" y="1945870"/>
                  <a:pt x="4778147" y="1945870"/>
                </a:cubicBezTo>
                <a:cubicBezTo>
                  <a:pt x="4939406" y="1945870"/>
                  <a:pt x="5080167" y="1893165"/>
                  <a:pt x="5191438" y="1804280"/>
                </a:cubicBezTo>
                <a:cubicBezTo>
                  <a:pt x="5302499" y="1715394"/>
                  <a:pt x="5384070" y="1590326"/>
                  <a:pt x="5426737" y="1445390"/>
                </a:cubicBezTo>
                <a:cubicBezTo>
                  <a:pt x="5426737" y="1445390"/>
                  <a:pt x="5426737" y="1445390"/>
                  <a:pt x="4708917" y="1445390"/>
                </a:cubicBezTo>
                <a:cubicBezTo>
                  <a:pt x="4708917" y="1445390"/>
                  <a:pt x="4708917" y="1445390"/>
                  <a:pt x="4850515" y="1223279"/>
                </a:cubicBezTo>
                <a:cubicBezTo>
                  <a:pt x="4850515" y="1223279"/>
                  <a:pt x="4850515" y="1223279"/>
                  <a:pt x="4992113" y="1000960"/>
                </a:cubicBezTo>
                <a:cubicBezTo>
                  <a:pt x="4992113" y="1000960"/>
                  <a:pt x="4992113" y="1000960"/>
                  <a:pt x="5457901" y="1000960"/>
                </a:cubicBezTo>
                <a:cubicBezTo>
                  <a:pt x="5457901" y="1000960"/>
                  <a:pt x="5457901" y="1000960"/>
                  <a:pt x="5924108" y="1000960"/>
                </a:cubicBezTo>
                <a:cubicBezTo>
                  <a:pt x="5928919" y="1033796"/>
                  <a:pt x="5933102" y="1066840"/>
                  <a:pt x="5936030" y="1100094"/>
                </a:cubicBezTo>
                <a:cubicBezTo>
                  <a:pt x="5938749" y="1133557"/>
                  <a:pt x="5940422" y="1167229"/>
                  <a:pt x="5940422" y="1201738"/>
                </a:cubicBezTo>
                <a:cubicBezTo>
                  <a:pt x="5940422" y="1532602"/>
                  <a:pt x="5812001" y="1833141"/>
                  <a:pt x="5600963" y="2050860"/>
                </a:cubicBezTo>
                <a:cubicBezTo>
                  <a:pt x="5389717" y="2268578"/>
                  <a:pt x="5095854" y="2403475"/>
                  <a:pt x="4764970" y="2403475"/>
                </a:cubicBezTo>
                <a:cubicBezTo>
                  <a:pt x="4549331" y="2403475"/>
                  <a:pt x="4350006" y="2352653"/>
                  <a:pt x="4178290" y="2262513"/>
                </a:cubicBezTo>
                <a:cubicBezTo>
                  <a:pt x="4006784" y="2172372"/>
                  <a:pt x="3862676" y="2043121"/>
                  <a:pt x="3757265" y="1886682"/>
                </a:cubicBezTo>
                <a:cubicBezTo>
                  <a:pt x="3647040" y="2044794"/>
                  <a:pt x="3502931" y="2173836"/>
                  <a:pt x="3332469" y="2263558"/>
                </a:cubicBezTo>
                <a:cubicBezTo>
                  <a:pt x="3162009" y="2353490"/>
                  <a:pt x="2965403" y="2403475"/>
                  <a:pt x="2749555" y="2403475"/>
                </a:cubicBezTo>
                <a:cubicBezTo>
                  <a:pt x="2566961" y="2403475"/>
                  <a:pt x="2395664" y="2364993"/>
                  <a:pt x="2242563" y="2295766"/>
                </a:cubicBezTo>
                <a:cubicBezTo>
                  <a:pt x="2089461" y="2226540"/>
                  <a:pt x="1954347" y="2126988"/>
                  <a:pt x="1844121" y="2005266"/>
                </a:cubicBezTo>
                <a:cubicBezTo>
                  <a:pt x="1783258" y="2108792"/>
                  <a:pt x="1694366" y="2196214"/>
                  <a:pt x="1583096" y="2257493"/>
                </a:cubicBezTo>
                <a:cubicBezTo>
                  <a:pt x="1472034" y="2318772"/>
                  <a:pt x="1338593" y="2354117"/>
                  <a:pt x="1188838" y="2354117"/>
                </a:cubicBezTo>
                <a:cubicBezTo>
                  <a:pt x="1188838" y="2354117"/>
                  <a:pt x="1188838" y="2354117"/>
                  <a:pt x="0" y="2354117"/>
                </a:cubicBezTo>
                <a:cubicBezTo>
                  <a:pt x="0" y="2354117"/>
                  <a:pt x="0" y="2354117"/>
                  <a:pt x="0" y="1201738"/>
                </a:cubicBezTo>
                <a:cubicBezTo>
                  <a:pt x="0" y="1201738"/>
                  <a:pt x="0" y="1201738"/>
                  <a:pt x="0" y="49358"/>
                </a:cubicBezTo>
                <a:cubicBezTo>
                  <a:pt x="0" y="49358"/>
                  <a:pt x="0" y="49358"/>
                  <a:pt x="538575" y="49358"/>
                </a:cubicBezTo>
                <a:cubicBezTo>
                  <a:pt x="538575" y="49358"/>
                  <a:pt x="538575" y="49358"/>
                  <a:pt x="1076940" y="49358"/>
                </a:cubicBezTo>
                <a:cubicBezTo>
                  <a:pt x="1249702" y="49358"/>
                  <a:pt x="1402804" y="96206"/>
                  <a:pt x="1523487" y="176099"/>
                </a:cubicBezTo>
                <a:cubicBezTo>
                  <a:pt x="1643960" y="255992"/>
                  <a:pt x="1732223" y="368720"/>
                  <a:pt x="1774892" y="500480"/>
                </a:cubicBezTo>
                <a:cubicBezTo>
                  <a:pt x="1883653" y="350524"/>
                  <a:pt x="2027552" y="225457"/>
                  <a:pt x="2196549" y="137826"/>
                </a:cubicBezTo>
                <a:cubicBezTo>
                  <a:pt x="2365129" y="50195"/>
                  <a:pt x="2558596" y="0"/>
                  <a:pt x="2766077" y="0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sz="1350"/>
          </a:p>
        </p:txBody>
      </p:sp>
    </p:spTree>
    <p:extLst>
      <p:ext uri="{BB962C8B-B14F-4D97-AF65-F5344CB8AC3E}">
        <p14:creationId xmlns:p14="http://schemas.microsoft.com/office/powerpoint/2010/main" val="37212036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9" name="Group 48"/>
          <p:cNvGrpSpPr/>
          <p:nvPr/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sp>
          <p:nvSpPr>
            <p:cNvPr id="50" name="No fly zone"/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>
                <a:solidFill>
                  <a:schemeClr val="tx1"/>
                </a:solidFill>
                <a:latin typeface="+mn-lt"/>
              </a:endParaRPr>
            </a:p>
          </p:txBody>
        </p:sp>
        <p:grpSp>
          <p:nvGrpSpPr>
            <p:cNvPr id="51" name="Baselines / anchors"/>
            <p:cNvGrpSpPr/>
            <p:nvPr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77" name="Straight Connector 76"/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8" name="Straight Connector 77"/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9" name="Straight Connector 78"/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0" name="Straight Connector 79"/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1" name="Straight Connector 80"/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2" name="Straight Connector 81"/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3" name="Straight Connector 82"/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4" name="Straight Connector 83"/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5" name="Straight Connector 84"/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6" name="Straight Connector 85"/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7" name="Straight Connector 86"/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8" name="Straight Connector 87"/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9" name="Straight Connector 88"/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0" name="Straight Connector 89"/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1" name="Straight Connector 90"/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2" name="Straight Connector 91"/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4" name="Straight Connector 133"/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5" name="Straight Connector 134"/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6" name="Straight Connector 135"/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7" name="Straight Connector 136"/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2" name="Gutter space"/>
            <p:cNvGrpSpPr/>
            <p:nvPr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66" name="Rectangle 34"/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latin typeface="+mn-lt"/>
                </a:endParaRPr>
              </a:p>
            </p:txBody>
          </p:sp>
          <p:sp>
            <p:nvSpPr>
              <p:cNvPr id="67" name="Rectangle 35"/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latin typeface="+mn-lt"/>
                </a:endParaRPr>
              </a:p>
            </p:txBody>
          </p:sp>
          <p:sp>
            <p:nvSpPr>
              <p:cNvPr id="68" name="Rectangle 36"/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latin typeface="+mn-lt"/>
                </a:endParaRPr>
              </a:p>
            </p:txBody>
          </p:sp>
          <p:sp>
            <p:nvSpPr>
              <p:cNvPr id="69" name="Rectangle 37"/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latin typeface="+mn-lt"/>
                </a:endParaRPr>
              </a:p>
            </p:txBody>
          </p:sp>
          <p:sp>
            <p:nvSpPr>
              <p:cNvPr id="70" name="Rectangle 38"/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latin typeface="+mn-lt"/>
                </a:endParaRPr>
              </a:p>
            </p:txBody>
          </p:sp>
          <p:sp>
            <p:nvSpPr>
              <p:cNvPr id="71" name="Rectangle 39"/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latin typeface="+mn-lt"/>
                </a:endParaRPr>
              </a:p>
            </p:txBody>
          </p:sp>
          <p:sp>
            <p:nvSpPr>
              <p:cNvPr id="72" name="Rectangle 40"/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latin typeface="+mn-lt"/>
                </a:endParaRPr>
              </a:p>
            </p:txBody>
          </p:sp>
          <p:sp>
            <p:nvSpPr>
              <p:cNvPr id="73" name="Rectangle 41"/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latin typeface="+mn-lt"/>
                </a:endParaRPr>
              </a:p>
            </p:txBody>
          </p:sp>
          <p:sp>
            <p:nvSpPr>
              <p:cNvPr id="74" name="Rectangle 42"/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latin typeface="+mn-lt"/>
                </a:endParaRPr>
              </a:p>
            </p:txBody>
          </p:sp>
          <p:sp>
            <p:nvSpPr>
              <p:cNvPr id="75" name="Rectangle 43"/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latin typeface="+mn-lt"/>
                </a:endParaRPr>
              </a:p>
            </p:txBody>
          </p:sp>
          <p:sp>
            <p:nvSpPr>
              <p:cNvPr id="76" name="Rectangle 44"/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latin typeface="+mn-lt"/>
                </a:endParaRPr>
              </a:p>
            </p:txBody>
          </p:sp>
        </p:grpSp>
        <p:sp>
          <p:nvSpPr>
            <p:cNvPr id="53" name="Slide edges"/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54" name="Footnote measure"/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>
                <a:latin typeface="+mn-lt"/>
              </a:endParaRPr>
            </a:p>
          </p:txBody>
        </p:sp>
        <p:sp>
          <p:nvSpPr>
            <p:cNvPr id="57" name="Whitespace measure"/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>
                <a:latin typeface="+mn-lt"/>
              </a:endParaRPr>
            </a:p>
          </p:txBody>
        </p:sp>
        <p:grpSp>
          <p:nvGrpSpPr>
            <p:cNvPr id="58" name="Five column measure"/>
            <p:cNvGrpSpPr/>
            <p:nvPr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61" name="Rectangle 5"/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latin typeface="+mn-lt"/>
                </a:endParaRPr>
              </a:p>
            </p:txBody>
          </p:sp>
          <p:sp>
            <p:nvSpPr>
              <p:cNvPr id="62" name="Rectangle 7"/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latin typeface="+mn-lt"/>
                </a:endParaRPr>
              </a:p>
            </p:txBody>
          </p:sp>
          <p:sp>
            <p:nvSpPr>
              <p:cNvPr id="63" name="Rectangle 9"/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latin typeface="+mn-lt"/>
                </a:endParaRPr>
              </a:p>
            </p:txBody>
          </p:sp>
          <p:sp>
            <p:nvSpPr>
              <p:cNvPr id="64" name="Rectangle 11"/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latin typeface="+mn-lt"/>
                </a:endParaRPr>
              </a:p>
            </p:txBody>
          </p:sp>
          <p:sp>
            <p:nvSpPr>
              <p:cNvPr id="65" name="Rectangle 13"/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latin typeface="+mn-lt"/>
                </a:endParaRPr>
              </a:p>
            </p:txBody>
          </p:sp>
        </p:grpSp>
        <p:sp>
          <p:nvSpPr>
            <p:cNvPr id="59" name="Live area"/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750"/>
                </a:spcAft>
              </a:pPr>
              <a:endParaRPr lang="en-US" sz="90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60" name="Footnote example"/>
            <p:cNvSpPr txBox="1"/>
            <p:nvPr/>
          </p:nvSpPr>
          <p:spPr>
            <a:xfrm>
              <a:off x="630000" y="6248316"/>
              <a:ext cx="9030914" cy="311624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5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1. xxxx  2. xxxx  3. List footnotes in numerical order. Footnote numbers are not bracketed. Use 10pt font</a:t>
              </a:r>
            </a:p>
            <a:p>
              <a:pPr marL="0" marR="0" lvl="0" indent="0" algn="l" defTabSz="6858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5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Note: Do not put a period at the end of the note or the source</a:t>
              </a:r>
            </a:p>
            <a:p>
              <a:pPr marL="0" marR="0" lvl="0" indent="0" algn="l" defTabSz="6858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5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Source: Include a source for every chart that you use. Separate sources with a semicolon; BCG-related sources go at the end</a:t>
              </a:r>
            </a:p>
          </p:txBody>
        </p:sp>
      </p:grp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9677401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grpSp>
        <p:nvGrpSpPr>
          <p:cNvPr id="55" name="Group 54">
            <a:extLst>
              <a:ext uri="{FF2B5EF4-FFF2-40B4-BE49-F238E27FC236}">
                <a16:creationId xmlns:a16="http://schemas.microsoft.com/office/drawing/2014/main" id="{8A458164-EE25-4C4D-85CE-B13B34D397ED}"/>
              </a:ext>
            </a:extLst>
          </p:cNvPr>
          <p:cNvGrpSpPr/>
          <p:nvPr/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sp>
          <p:nvSpPr>
            <p:cNvPr id="56" name="No fly zone">
              <a:extLst>
                <a:ext uri="{FF2B5EF4-FFF2-40B4-BE49-F238E27FC236}">
                  <a16:creationId xmlns:a16="http://schemas.microsoft.com/office/drawing/2014/main" id="{63767054-9A4C-4370-BE7D-1CFFB3C7054E}"/>
                </a:ext>
              </a:extLst>
            </p:cNvPr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>
                <a:solidFill>
                  <a:schemeClr val="tx1"/>
                </a:solidFill>
                <a:latin typeface="+mn-lt"/>
              </a:endParaRPr>
            </a:p>
          </p:txBody>
        </p:sp>
        <p:grpSp>
          <p:nvGrpSpPr>
            <p:cNvPr id="93" name="Baselines / anchors">
              <a:extLst>
                <a:ext uri="{FF2B5EF4-FFF2-40B4-BE49-F238E27FC236}">
                  <a16:creationId xmlns:a16="http://schemas.microsoft.com/office/drawing/2014/main" id="{80D77686-9DF4-4440-A295-50DAEDBDDAAE}"/>
                </a:ext>
              </a:extLst>
            </p:cNvPr>
            <p:cNvGrpSpPr/>
            <p:nvPr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117" name="Straight Connector 116">
                <a:extLst>
                  <a:ext uri="{FF2B5EF4-FFF2-40B4-BE49-F238E27FC236}">
                    <a16:creationId xmlns:a16="http://schemas.microsoft.com/office/drawing/2014/main" id="{A427A70A-EAAB-42E5-BE2A-B73C6BC29DCB}"/>
                  </a:ext>
                </a:extLst>
              </p:cNvPr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8" name="Straight Connector 117">
                <a:extLst>
                  <a:ext uri="{FF2B5EF4-FFF2-40B4-BE49-F238E27FC236}">
                    <a16:creationId xmlns:a16="http://schemas.microsoft.com/office/drawing/2014/main" id="{828C0504-FDD3-4E80-87A0-F34D45288FDB}"/>
                  </a:ext>
                </a:extLst>
              </p:cNvPr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9" name="Straight Connector 118">
                <a:extLst>
                  <a:ext uri="{FF2B5EF4-FFF2-40B4-BE49-F238E27FC236}">
                    <a16:creationId xmlns:a16="http://schemas.microsoft.com/office/drawing/2014/main" id="{E88FA856-B2E3-4C08-BCE4-0B4C231BDE25}"/>
                  </a:ext>
                </a:extLst>
              </p:cNvPr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0" name="Straight Connector 119">
                <a:extLst>
                  <a:ext uri="{FF2B5EF4-FFF2-40B4-BE49-F238E27FC236}">
                    <a16:creationId xmlns:a16="http://schemas.microsoft.com/office/drawing/2014/main" id="{D39E204C-7536-42F7-BDE4-173A0359E4FF}"/>
                  </a:ext>
                </a:extLst>
              </p:cNvPr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1" name="Straight Connector 120">
                <a:extLst>
                  <a:ext uri="{FF2B5EF4-FFF2-40B4-BE49-F238E27FC236}">
                    <a16:creationId xmlns:a16="http://schemas.microsoft.com/office/drawing/2014/main" id="{D6F2C176-15DE-49DD-B41B-B15F79A418E7}"/>
                  </a:ext>
                </a:extLst>
              </p:cNvPr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2" name="Straight Connector 121">
                <a:extLst>
                  <a:ext uri="{FF2B5EF4-FFF2-40B4-BE49-F238E27FC236}">
                    <a16:creationId xmlns:a16="http://schemas.microsoft.com/office/drawing/2014/main" id="{7244B4D1-831A-4A39-9648-1FB2572F1317}"/>
                  </a:ext>
                </a:extLst>
              </p:cNvPr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3" name="Straight Connector 122">
                <a:extLst>
                  <a:ext uri="{FF2B5EF4-FFF2-40B4-BE49-F238E27FC236}">
                    <a16:creationId xmlns:a16="http://schemas.microsoft.com/office/drawing/2014/main" id="{ECC9F380-BF41-45FD-8849-CC10DA9BE56F}"/>
                  </a:ext>
                </a:extLst>
              </p:cNvPr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4" name="Straight Connector 123">
                <a:extLst>
                  <a:ext uri="{FF2B5EF4-FFF2-40B4-BE49-F238E27FC236}">
                    <a16:creationId xmlns:a16="http://schemas.microsoft.com/office/drawing/2014/main" id="{1013777C-58A2-48C2-A14B-DD3293296EBB}"/>
                  </a:ext>
                </a:extLst>
              </p:cNvPr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5" name="Straight Connector 124">
                <a:extLst>
                  <a:ext uri="{FF2B5EF4-FFF2-40B4-BE49-F238E27FC236}">
                    <a16:creationId xmlns:a16="http://schemas.microsoft.com/office/drawing/2014/main" id="{8EFDFC98-92E4-4005-9A5C-367B8A2209D3}"/>
                  </a:ext>
                </a:extLst>
              </p:cNvPr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6" name="Straight Connector 125">
                <a:extLst>
                  <a:ext uri="{FF2B5EF4-FFF2-40B4-BE49-F238E27FC236}">
                    <a16:creationId xmlns:a16="http://schemas.microsoft.com/office/drawing/2014/main" id="{0D23D0F4-B7F8-48ED-9D4A-596C3F4CA770}"/>
                  </a:ext>
                </a:extLst>
              </p:cNvPr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7" name="Straight Connector 126">
                <a:extLst>
                  <a:ext uri="{FF2B5EF4-FFF2-40B4-BE49-F238E27FC236}">
                    <a16:creationId xmlns:a16="http://schemas.microsoft.com/office/drawing/2014/main" id="{8205033D-7A8B-4135-8F7C-3464F1CD83B0}"/>
                  </a:ext>
                </a:extLst>
              </p:cNvPr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8" name="Straight Connector 127">
                <a:extLst>
                  <a:ext uri="{FF2B5EF4-FFF2-40B4-BE49-F238E27FC236}">
                    <a16:creationId xmlns:a16="http://schemas.microsoft.com/office/drawing/2014/main" id="{FD7715AB-37D7-4B57-9425-EF961D6E2E2F}"/>
                  </a:ext>
                </a:extLst>
              </p:cNvPr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9" name="Straight Connector 128">
                <a:extLst>
                  <a:ext uri="{FF2B5EF4-FFF2-40B4-BE49-F238E27FC236}">
                    <a16:creationId xmlns:a16="http://schemas.microsoft.com/office/drawing/2014/main" id="{F663EBB4-7EF0-4B46-8A44-C16BEFA28228}"/>
                  </a:ext>
                </a:extLst>
              </p:cNvPr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0" name="Straight Connector 129">
                <a:extLst>
                  <a:ext uri="{FF2B5EF4-FFF2-40B4-BE49-F238E27FC236}">
                    <a16:creationId xmlns:a16="http://schemas.microsoft.com/office/drawing/2014/main" id="{BE311C85-2552-4F3D-8522-824A65F087D9}"/>
                  </a:ext>
                </a:extLst>
              </p:cNvPr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1" name="Straight Connector 130">
                <a:extLst>
                  <a:ext uri="{FF2B5EF4-FFF2-40B4-BE49-F238E27FC236}">
                    <a16:creationId xmlns:a16="http://schemas.microsoft.com/office/drawing/2014/main" id="{0A029CF5-C112-4F93-9BA2-CD9B82A2171B}"/>
                  </a:ext>
                </a:extLst>
              </p:cNvPr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2" name="Straight Connector 131">
                <a:extLst>
                  <a:ext uri="{FF2B5EF4-FFF2-40B4-BE49-F238E27FC236}">
                    <a16:creationId xmlns:a16="http://schemas.microsoft.com/office/drawing/2014/main" id="{F5DF6C19-1758-4DF9-8B20-046D8483B602}"/>
                  </a:ext>
                </a:extLst>
              </p:cNvPr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3" name="Straight Connector 132">
                <a:extLst>
                  <a:ext uri="{FF2B5EF4-FFF2-40B4-BE49-F238E27FC236}">
                    <a16:creationId xmlns:a16="http://schemas.microsoft.com/office/drawing/2014/main" id="{11BFEEF9-0101-46D1-AFA0-0BE85AD3BA9D}"/>
                  </a:ext>
                </a:extLst>
              </p:cNvPr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8" name="Straight Connector 137">
                <a:extLst>
                  <a:ext uri="{FF2B5EF4-FFF2-40B4-BE49-F238E27FC236}">
                    <a16:creationId xmlns:a16="http://schemas.microsoft.com/office/drawing/2014/main" id="{09169935-EE82-4072-AEF7-F44302D0BC82}"/>
                  </a:ext>
                </a:extLst>
              </p:cNvPr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9" name="Straight Connector 138">
                <a:extLst>
                  <a:ext uri="{FF2B5EF4-FFF2-40B4-BE49-F238E27FC236}">
                    <a16:creationId xmlns:a16="http://schemas.microsoft.com/office/drawing/2014/main" id="{B3E682F0-9702-49AA-8684-6835533F99F5}"/>
                  </a:ext>
                </a:extLst>
              </p:cNvPr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0" name="Straight Connector 139">
                <a:extLst>
                  <a:ext uri="{FF2B5EF4-FFF2-40B4-BE49-F238E27FC236}">
                    <a16:creationId xmlns:a16="http://schemas.microsoft.com/office/drawing/2014/main" id="{9138DD6A-6F14-4092-9C49-B1881E92E799}"/>
                  </a:ext>
                </a:extLst>
              </p:cNvPr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94" name="Gutter space">
              <a:extLst>
                <a:ext uri="{FF2B5EF4-FFF2-40B4-BE49-F238E27FC236}">
                  <a16:creationId xmlns:a16="http://schemas.microsoft.com/office/drawing/2014/main" id="{BA3BD803-0D26-472B-8EA8-CBC75A3E278A}"/>
                </a:ext>
              </a:extLst>
            </p:cNvPr>
            <p:cNvGrpSpPr/>
            <p:nvPr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106" name="Rectangle 34">
                <a:extLst>
                  <a:ext uri="{FF2B5EF4-FFF2-40B4-BE49-F238E27FC236}">
                    <a16:creationId xmlns:a16="http://schemas.microsoft.com/office/drawing/2014/main" id="{E241A764-8257-41B3-B4AB-DA2EE2E94E3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latin typeface="+mn-lt"/>
                </a:endParaRPr>
              </a:p>
            </p:txBody>
          </p:sp>
          <p:sp>
            <p:nvSpPr>
              <p:cNvPr id="107" name="Rectangle 35">
                <a:extLst>
                  <a:ext uri="{FF2B5EF4-FFF2-40B4-BE49-F238E27FC236}">
                    <a16:creationId xmlns:a16="http://schemas.microsoft.com/office/drawing/2014/main" id="{F641DBA8-47B3-4D84-B5A6-3C55728A5C4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latin typeface="+mn-lt"/>
                </a:endParaRPr>
              </a:p>
            </p:txBody>
          </p:sp>
          <p:sp>
            <p:nvSpPr>
              <p:cNvPr id="108" name="Rectangle 36">
                <a:extLst>
                  <a:ext uri="{FF2B5EF4-FFF2-40B4-BE49-F238E27FC236}">
                    <a16:creationId xmlns:a16="http://schemas.microsoft.com/office/drawing/2014/main" id="{16F67A24-C5D7-4D60-8542-F32A9FD5F00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latin typeface="+mn-lt"/>
                </a:endParaRPr>
              </a:p>
            </p:txBody>
          </p:sp>
          <p:sp>
            <p:nvSpPr>
              <p:cNvPr id="109" name="Rectangle 37">
                <a:extLst>
                  <a:ext uri="{FF2B5EF4-FFF2-40B4-BE49-F238E27FC236}">
                    <a16:creationId xmlns:a16="http://schemas.microsoft.com/office/drawing/2014/main" id="{C61E3F90-0F25-4020-A59E-7B1E48077E4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latin typeface="+mn-lt"/>
                </a:endParaRPr>
              </a:p>
            </p:txBody>
          </p:sp>
          <p:sp>
            <p:nvSpPr>
              <p:cNvPr id="110" name="Rectangle 38">
                <a:extLst>
                  <a:ext uri="{FF2B5EF4-FFF2-40B4-BE49-F238E27FC236}">
                    <a16:creationId xmlns:a16="http://schemas.microsoft.com/office/drawing/2014/main" id="{3F6439FD-C27F-4A3A-B156-C0F6FD5306E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latin typeface="+mn-lt"/>
                </a:endParaRPr>
              </a:p>
            </p:txBody>
          </p:sp>
          <p:sp>
            <p:nvSpPr>
              <p:cNvPr id="111" name="Rectangle 39">
                <a:extLst>
                  <a:ext uri="{FF2B5EF4-FFF2-40B4-BE49-F238E27FC236}">
                    <a16:creationId xmlns:a16="http://schemas.microsoft.com/office/drawing/2014/main" id="{2B3A3BB3-9C71-4DED-8C35-4B1EFEEA193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latin typeface="+mn-lt"/>
                </a:endParaRPr>
              </a:p>
            </p:txBody>
          </p:sp>
          <p:sp>
            <p:nvSpPr>
              <p:cNvPr id="112" name="Rectangle 40">
                <a:extLst>
                  <a:ext uri="{FF2B5EF4-FFF2-40B4-BE49-F238E27FC236}">
                    <a16:creationId xmlns:a16="http://schemas.microsoft.com/office/drawing/2014/main" id="{8C347CF0-F5E4-4A8E-A741-B134D79836B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latin typeface="+mn-lt"/>
                </a:endParaRPr>
              </a:p>
            </p:txBody>
          </p:sp>
          <p:sp>
            <p:nvSpPr>
              <p:cNvPr id="113" name="Rectangle 41">
                <a:extLst>
                  <a:ext uri="{FF2B5EF4-FFF2-40B4-BE49-F238E27FC236}">
                    <a16:creationId xmlns:a16="http://schemas.microsoft.com/office/drawing/2014/main" id="{A4CC71B2-1169-4180-9495-02E5DAE1668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latin typeface="+mn-lt"/>
                </a:endParaRPr>
              </a:p>
            </p:txBody>
          </p:sp>
          <p:sp>
            <p:nvSpPr>
              <p:cNvPr id="114" name="Rectangle 42">
                <a:extLst>
                  <a:ext uri="{FF2B5EF4-FFF2-40B4-BE49-F238E27FC236}">
                    <a16:creationId xmlns:a16="http://schemas.microsoft.com/office/drawing/2014/main" id="{D921B24B-92E7-4032-9EB1-5AA022E4047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latin typeface="+mn-lt"/>
                </a:endParaRPr>
              </a:p>
            </p:txBody>
          </p:sp>
          <p:sp>
            <p:nvSpPr>
              <p:cNvPr id="115" name="Rectangle 43">
                <a:extLst>
                  <a:ext uri="{FF2B5EF4-FFF2-40B4-BE49-F238E27FC236}">
                    <a16:creationId xmlns:a16="http://schemas.microsoft.com/office/drawing/2014/main" id="{29209C3E-EA80-4333-B90D-0CBE29EA016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latin typeface="+mn-lt"/>
                </a:endParaRPr>
              </a:p>
            </p:txBody>
          </p:sp>
          <p:sp>
            <p:nvSpPr>
              <p:cNvPr id="116" name="Rectangle 44">
                <a:extLst>
                  <a:ext uri="{FF2B5EF4-FFF2-40B4-BE49-F238E27FC236}">
                    <a16:creationId xmlns:a16="http://schemas.microsoft.com/office/drawing/2014/main" id="{1610D7A8-0918-482F-90F3-F28B5A86610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latin typeface="+mn-lt"/>
                </a:endParaRPr>
              </a:p>
            </p:txBody>
          </p:sp>
        </p:grpSp>
        <p:sp>
          <p:nvSpPr>
            <p:cNvPr id="95" name="Slide edges">
              <a:extLst>
                <a:ext uri="{FF2B5EF4-FFF2-40B4-BE49-F238E27FC236}">
                  <a16:creationId xmlns:a16="http://schemas.microsoft.com/office/drawing/2014/main" id="{FF1FA283-0D56-49C9-AE77-074F11A443D3}"/>
                </a:ext>
              </a:extLst>
            </p:cNvPr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96" name="Footnote measure">
              <a:extLst>
                <a:ext uri="{FF2B5EF4-FFF2-40B4-BE49-F238E27FC236}">
                  <a16:creationId xmlns:a16="http://schemas.microsoft.com/office/drawing/2014/main" id="{027CCA0B-3682-4729-AE44-32C273FC32F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>
                <a:latin typeface="+mn-lt"/>
              </a:endParaRPr>
            </a:p>
          </p:txBody>
        </p:sp>
        <p:sp>
          <p:nvSpPr>
            <p:cNvPr id="97" name="Whitespace measure">
              <a:extLst>
                <a:ext uri="{FF2B5EF4-FFF2-40B4-BE49-F238E27FC236}">
                  <a16:creationId xmlns:a16="http://schemas.microsoft.com/office/drawing/2014/main" id="{0611F6BB-4756-4C1C-B840-FD5CA56FD73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>
                <a:latin typeface="+mn-lt"/>
              </a:endParaRPr>
            </a:p>
          </p:txBody>
        </p:sp>
        <p:grpSp>
          <p:nvGrpSpPr>
            <p:cNvPr id="98" name="Five column measure">
              <a:extLst>
                <a:ext uri="{FF2B5EF4-FFF2-40B4-BE49-F238E27FC236}">
                  <a16:creationId xmlns:a16="http://schemas.microsoft.com/office/drawing/2014/main" id="{E9BC6183-4F47-41CD-B78F-255E0F3D7BF5}"/>
                </a:ext>
              </a:extLst>
            </p:cNvPr>
            <p:cNvGrpSpPr/>
            <p:nvPr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101" name="Rectangle 5">
                <a:extLst>
                  <a:ext uri="{FF2B5EF4-FFF2-40B4-BE49-F238E27FC236}">
                    <a16:creationId xmlns:a16="http://schemas.microsoft.com/office/drawing/2014/main" id="{00455F27-5D1D-4C86-8C49-F5A994AE660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latin typeface="+mn-lt"/>
                </a:endParaRPr>
              </a:p>
            </p:txBody>
          </p:sp>
          <p:sp>
            <p:nvSpPr>
              <p:cNvPr id="102" name="Rectangle 7">
                <a:extLst>
                  <a:ext uri="{FF2B5EF4-FFF2-40B4-BE49-F238E27FC236}">
                    <a16:creationId xmlns:a16="http://schemas.microsoft.com/office/drawing/2014/main" id="{79AC7E44-BAE7-4663-B16E-71C0B1538D9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latin typeface="+mn-lt"/>
                </a:endParaRPr>
              </a:p>
            </p:txBody>
          </p:sp>
          <p:sp>
            <p:nvSpPr>
              <p:cNvPr id="103" name="Rectangle 9">
                <a:extLst>
                  <a:ext uri="{FF2B5EF4-FFF2-40B4-BE49-F238E27FC236}">
                    <a16:creationId xmlns:a16="http://schemas.microsoft.com/office/drawing/2014/main" id="{3AAD0F15-03C1-4804-B5E6-186CCBE423E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latin typeface="+mn-lt"/>
                </a:endParaRPr>
              </a:p>
            </p:txBody>
          </p:sp>
          <p:sp>
            <p:nvSpPr>
              <p:cNvPr id="104" name="Rectangle 11">
                <a:extLst>
                  <a:ext uri="{FF2B5EF4-FFF2-40B4-BE49-F238E27FC236}">
                    <a16:creationId xmlns:a16="http://schemas.microsoft.com/office/drawing/2014/main" id="{02CBA52A-BFC3-4448-9F85-6A6A947D337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latin typeface="+mn-lt"/>
                </a:endParaRPr>
              </a:p>
            </p:txBody>
          </p:sp>
          <p:sp>
            <p:nvSpPr>
              <p:cNvPr id="105" name="Rectangle 13">
                <a:extLst>
                  <a:ext uri="{FF2B5EF4-FFF2-40B4-BE49-F238E27FC236}">
                    <a16:creationId xmlns:a16="http://schemas.microsoft.com/office/drawing/2014/main" id="{EB6D242C-DE73-4B57-9809-86DB516F215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latin typeface="+mn-lt"/>
                </a:endParaRPr>
              </a:p>
            </p:txBody>
          </p:sp>
        </p:grpSp>
        <p:sp>
          <p:nvSpPr>
            <p:cNvPr id="99" name="Live area">
              <a:extLst>
                <a:ext uri="{FF2B5EF4-FFF2-40B4-BE49-F238E27FC236}">
                  <a16:creationId xmlns:a16="http://schemas.microsoft.com/office/drawing/2014/main" id="{ED580399-5039-46E4-AFAE-89D18126AD7E}"/>
                </a:ext>
              </a:extLst>
            </p:cNvPr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750"/>
                </a:spcAft>
              </a:pPr>
              <a:endParaRPr lang="en-US" sz="90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00" name="Footnote example">
              <a:extLst>
                <a:ext uri="{FF2B5EF4-FFF2-40B4-BE49-F238E27FC236}">
                  <a16:creationId xmlns:a16="http://schemas.microsoft.com/office/drawing/2014/main" id="{DB4A2981-1D76-4E13-AAF4-474237E7153B}"/>
                </a:ext>
              </a:extLst>
            </p:cNvPr>
            <p:cNvSpPr txBox="1"/>
            <p:nvPr/>
          </p:nvSpPr>
          <p:spPr>
            <a:xfrm>
              <a:off x="630000" y="6248316"/>
              <a:ext cx="9030914" cy="311624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5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1. xxxx  2. xxxx  3. List footnotes in numerical order. Footnote numbers are not bracketed. Use 10pt font</a:t>
              </a:r>
            </a:p>
            <a:p>
              <a:pPr marL="0" marR="0" lvl="0" indent="0" algn="l" defTabSz="6858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5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Note: Do not put a period at the end of the note or the source</a:t>
              </a:r>
            </a:p>
            <a:p>
              <a:pPr marL="0" marR="0" lvl="0" indent="0" algn="l" defTabSz="6858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5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Source: Include a source for every chart that you use. Separate sources with a semicolon; BCG-related sources go at the end</a:t>
              </a:r>
            </a:p>
          </p:txBody>
        </p:sp>
      </p:grpSp>
      <p:sp>
        <p:nvSpPr>
          <p:cNvPr id="141" name="Copyright">
            <a:extLst>
              <a:ext uri="{FF2B5EF4-FFF2-40B4-BE49-F238E27FC236}">
                <a16:creationId xmlns:a16="http://schemas.microsoft.com/office/drawing/2014/main" id="{6B941CA2-C823-4DB2-9330-851A78C2C8CA}"/>
              </a:ext>
            </a:extLst>
          </p:cNvPr>
          <p:cNvSpPr txBox="1"/>
          <p:nvPr/>
        </p:nvSpPr>
        <p:spPr>
          <a:xfrm rot="16200000">
            <a:off x="9486902" y="3934616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313821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7B23FFE-56A1-4BB0-A36A-539BB5A1AE5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47545570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15" imgH="416" progId="TCLayout.ActiveDocument.1">
                  <p:embed/>
                </p:oleObj>
              </mc:Choice>
              <mc:Fallback>
                <p:oleObj name="think-cell Slide" r:id="rId4" imgW="415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7B23FFE-56A1-4BB0-A36A-539BB5A1AE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67B9313-3463-420B-B30A-3547994AF378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" y="0"/>
            <a:ext cx="158751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1800" b="0" i="0" baseline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630001" y="868302"/>
            <a:ext cx="10933351" cy="249299"/>
          </a:xfrm>
        </p:spPr>
        <p:txBody>
          <a:bodyPr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12A8C779-3CA4-4CF3-B469-4159875FCADC}"/>
              </a:ext>
            </a:extLst>
          </p:cNvPr>
          <p:cNvSpPr/>
          <p:nvPr/>
        </p:nvSpPr>
        <p:spPr bwMode="black">
          <a:xfrm flipH="1">
            <a:off x="12060821" y="292100"/>
            <a:ext cx="131180" cy="801598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/>
          <a:p>
            <a:pPr lvl="0" algn="ctr">
              <a:lnSpc>
                <a:spcPct val="95000"/>
              </a:lnSpc>
            </a:pPr>
            <a:endParaRPr lang="en-US" sz="15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72141FDF-08B7-426E-898B-D2ACA6BFD8F4}"/>
              </a:ext>
            </a:extLst>
          </p:cNvPr>
          <p:cNvSpPr/>
          <p:nvPr/>
        </p:nvSpPr>
        <p:spPr bwMode="black">
          <a:xfrm flipH="1">
            <a:off x="1" y="292100"/>
            <a:ext cx="131180" cy="80159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/>
          <a:p>
            <a:pPr lvl="0" algn="ctr">
              <a:lnSpc>
                <a:spcPct val="95000"/>
              </a:lnSpc>
            </a:pPr>
            <a:endParaRPr lang="en-US" sz="15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929399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</p15:sldGuideLst>
    </p:ext>
  </p:extLst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B083126-25E7-42D8-B799-608CFD4DF6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add titl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AD1DA01-0E73-44DE-A132-B4FF1E70A31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29400" y="2085628"/>
            <a:ext cx="10933951" cy="4072976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pyright">
            <a:extLst>
              <a:ext uri="{FF2B5EF4-FFF2-40B4-BE49-F238E27FC236}">
                <a16:creationId xmlns:a16="http://schemas.microsoft.com/office/drawing/2014/main" id="{8A7AEC5E-A585-404A-896F-61882A3E17E6}"/>
              </a:ext>
            </a:extLst>
          </p:cNvPr>
          <p:cNvSpPr txBox="1"/>
          <p:nvPr/>
        </p:nvSpPr>
        <p:spPr>
          <a:xfrm rot="16200000">
            <a:off x="9486902" y="3934616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3151095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Gray slice head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 bwMode="white">
          <a:xfrm>
            <a:off x="1" y="-1309"/>
            <a:ext cx="46944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750"/>
              </a:spcAft>
            </a:pPr>
            <a:endParaRPr lang="en-US" sz="9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8" name="Subtitle 2"/>
          <p:cNvSpPr>
            <a:spLocks noGrp="1"/>
          </p:cNvSpPr>
          <p:nvPr>
            <p:ph type="subTitle" idx="13" hasCustomPrompt="1"/>
          </p:nvPr>
        </p:nvSpPr>
        <p:spPr>
          <a:xfrm>
            <a:off x="630000" y="2158989"/>
            <a:ext cx="3744000" cy="541687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1200">
                <a:solidFill>
                  <a:schemeClr val="tx2"/>
                </a:solidFill>
                <a:latin typeface="+mn-lt"/>
                <a:sym typeface="Trebuchet MS" panose="020B0603020202020204" pitchFamily="34" charset="0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Click to add subtitle</a:t>
            </a:r>
          </a:p>
        </p:txBody>
      </p:sp>
      <p:sp>
        <p:nvSpPr>
          <p:cNvPr id="9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1227050"/>
            <a:ext cx="3744000" cy="664797"/>
          </a:xfrm>
        </p:spPr>
        <p:txBody>
          <a:bodyPr anchor="t">
            <a:noAutofit/>
          </a:bodyPr>
          <a:lstStyle>
            <a:lvl1pPr>
              <a:defRPr sz="180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B9FC4021-ACF2-4D02-8A17-57BD542F9410}"/>
              </a:ext>
            </a:extLst>
          </p:cNvPr>
          <p:cNvSpPr/>
          <p:nvPr/>
        </p:nvSpPr>
        <p:spPr bwMode="white">
          <a:xfrm>
            <a:off x="1" y="-1309"/>
            <a:ext cx="46944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750"/>
              </a:spcAft>
            </a:pPr>
            <a:endParaRPr lang="en-US" sz="9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830128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3" orient="horz" pos="2160">
          <p15:clr>
            <a:srgbClr val="FBAE40"/>
          </p15:clr>
        </p15:guide>
        <p15:guide id="4" pos="2880">
          <p15:clr>
            <a:srgbClr val="FBAE40"/>
          </p15:clr>
        </p15:guide>
      </p15:sldGuideLst>
    </p:ext>
  </p:extLst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Section header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284743" y="2668041"/>
            <a:ext cx="9620491" cy="3201026"/>
          </a:xfrm>
          <a:prstGeom prst="rect">
            <a:avLst/>
          </a:prstGeom>
          <a:ln w="9525"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</a14:hiddenLine>
            </a:ext>
          </a:extLst>
        </p:spPr>
        <p:txBody>
          <a:bodyPr lIns="274320" tIns="274320" rIns="274320" bIns="137160" anchor="b">
            <a:noAutofit/>
          </a:bodyPr>
          <a:lstStyle>
            <a:lvl1pPr marL="0" algn="l" defTabSz="685800" rtl="0" eaLnBrk="1" fontAlgn="auto" latinLnBrk="0" hangingPunct="1">
              <a:lnSpc>
                <a:spcPts val="4500"/>
              </a:lnSpc>
              <a:spcBef>
                <a:spcPts val="0"/>
              </a:spcBef>
              <a:spcAft>
                <a:spcPts val="0"/>
              </a:spcAft>
              <a:defRPr lang="en-US" sz="4050" kern="1200" baseline="0" dirty="0">
                <a:solidFill>
                  <a:schemeClr val="tx2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section title</a:t>
            </a:r>
          </a:p>
        </p:txBody>
      </p:sp>
      <p:sp>
        <p:nvSpPr>
          <p:cNvPr id="11" name="Rectangle 10"/>
          <p:cNvSpPr/>
          <p:nvPr/>
        </p:nvSpPr>
        <p:spPr bwMode="white">
          <a:xfrm>
            <a:off x="1280694" y="1424083"/>
            <a:ext cx="951721" cy="951721"/>
          </a:xfrm>
          <a:prstGeom prst="rect">
            <a:avLst/>
          </a:prstGeom>
          <a:noFill/>
          <a:ln>
            <a:solidFill>
              <a:schemeClr val="tx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9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4" name="Copyright">
            <a:extLst>
              <a:ext uri="{FF2B5EF4-FFF2-40B4-BE49-F238E27FC236}">
                <a16:creationId xmlns:a16="http://schemas.microsoft.com/office/drawing/2014/main" id="{FEC1E1E7-C44D-4473-AB49-E9593B8CABFA}"/>
              </a:ext>
            </a:extLst>
          </p:cNvPr>
          <p:cNvSpPr txBox="1"/>
          <p:nvPr/>
        </p:nvSpPr>
        <p:spPr>
          <a:xfrm rot="16200000">
            <a:off x="9486902" y="3934616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B1CF8225-4B84-4724-8175-1BE1FB407B1F}"/>
              </a:ext>
            </a:extLst>
          </p:cNvPr>
          <p:cNvSpPr/>
          <p:nvPr/>
        </p:nvSpPr>
        <p:spPr bwMode="white">
          <a:xfrm>
            <a:off x="1280694" y="1424083"/>
            <a:ext cx="951721" cy="951721"/>
          </a:xfrm>
          <a:prstGeom prst="rect">
            <a:avLst/>
          </a:prstGeom>
          <a:noFill/>
          <a:ln>
            <a:solidFill>
              <a:schemeClr val="tx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9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340300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Section header line">
    <p:bg bwMode="blackWhite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3826800"/>
            <a:ext cx="10936800" cy="2041200"/>
          </a:xfrm>
        </p:spPr>
        <p:txBody>
          <a:bodyPr anchor="t">
            <a:noAutofit/>
          </a:bodyPr>
          <a:lstStyle>
            <a:lvl1pPr>
              <a:defRPr sz="405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section title</a:t>
            </a:r>
          </a:p>
        </p:txBody>
      </p:sp>
      <p:cxnSp>
        <p:nvCxnSpPr>
          <p:cNvPr id="10" name="Straight Connector 9"/>
          <p:cNvCxnSpPr/>
          <p:nvPr/>
        </p:nvCxnSpPr>
        <p:spPr bwMode="white">
          <a:xfrm>
            <a:off x="630001" y="3680016"/>
            <a:ext cx="11558587" cy="0"/>
          </a:xfrm>
          <a:prstGeom prst="line">
            <a:avLst/>
          </a:prstGeom>
          <a:ln w="19050" cmpd="sng">
            <a:solidFill>
              <a:schemeClr val="tx2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6337C472-E836-43A4-8DC7-D15BF3AEC6E0}"/>
              </a:ext>
            </a:extLst>
          </p:cNvPr>
          <p:cNvCxnSpPr/>
          <p:nvPr/>
        </p:nvCxnSpPr>
        <p:spPr bwMode="white">
          <a:xfrm>
            <a:off x="630001" y="3680016"/>
            <a:ext cx="11558587" cy="0"/>
          </a:xfrm>
          <a:prstGeom prst="line">
            <a:avLst/>
          </a:prstGeom>
          <a:ln w="19050" cmpd="sng">
            <a:solidFill>
              <a:schemeClr val="tx2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752677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6DCBE80-91A9-4122-A103-A165E3F1A5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612558"/>
            <a:ext cx="3932237" cy="1444841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648C7C02-CA15-4B88-B8CA-291B379F3FF2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IN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A403742-A86E-4C0A-A96C-33EA8AD3C07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B00E608-29F9-4DA9-AA26-AA3EAE8FE1AC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845320AC-DD4B-443B-9124-A76A02BBF0F0}" type="datetimeFigureOut">
              <a:rPr lang="en-IN" smtClean="0"/>
              <a:t>28-05-2025</a:t>
            </a:fld>
            <a:endParaRPr lang="en-IN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3F6756D-D930-417E-ACCD-00D70E58CE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IN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770EC23-3A33-4A07-BF68-77D4F41DEBB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E7FF1D80-0C43-4B56-BCBD-119C695EDC96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98669438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White one third">
    <p:bg>
      <p:bgPr>
        <a:gradFill>
          <a:gsLst>
            <a:gs pos="0">
              <a:schemeClr val="tx2"/>
            </a:gs>
            <a:gs pos="100000">
              <a:schemeClr val="accent1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4064995" y="0"/>
            <a:ext cx="416951" cy="6858000"/>
          </a:xfrm>
          <a:prstGeom prst="rect">
            <a:avLst/>
          </a:prstGeom>
        </p:spPr>
      </p:pic>
      <p:sp>
        <p:nvSpPr>
          <p:cNvPr id="20" name="TextBox 19"/>
          <p:cNvSpPr txBox="1"/>
          <p:nvPr/>
        </p:nvSpPr>
        <p:spPr>
          <a:xfrm>
            <a:off x="11167872" y="6443508"/>
            <a:ext cx="38100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4" name="Rectangle 23"/>
          <p:cNvSpPr/>
          <p:nvPr/>
        </p:nvSpPr>
        <p:spPr bwMode="white">
          <a:xfrm>
            <a:off x="1" y="0"/>
            <a:ext cx="4079508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9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5" name="Title 4"/>
          <p:cNvSpPr>
            <a:spLocks noGrp="1"/>
          </p:cNvSpPr>
          <p:nvPr>
            <p:ph type="title" hasCustomPrompt="1"/>
          </p:nvPr>
        </p:nvSpPr>
        <p:spPr>
          <a:xfrm>
            <a:off x="630001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180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7E0F4628-EB1C-43CA-A360-CE37F57FDC4E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4064995" y="0"/>
            <a:ext cx="416951" cy="6858000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659F4022-9A7F-4323-9A33-A6AE13A5A1A3}"/>
              </a:ext>
            </a:extLst>
          </p:cNvPr>
          <p:cNvSpPr txBox="1"/>
          <p:nvPr/>
        </p:nvSpPr>
        <p:spPr>
          <a:xfrm>
            <a:off x="11167872" y="6443508"/>
            <a:ext cx="38100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Copyright">
            <a:extLst>
              <a:ext uri="{FF2B5EF4-FFF2-40B4-BE49-F238E27FC236}">
                <a16:creationId xmlns:a16="http://schemas.microsoft.com/office/drawing/2014/main" id="{4B1F9ED4-E7BF-4684-9427-5156AF38F709}"/>
              </a:ext>
            </a:extLst>
          </p:cNvPr>
          <p:cNvSpPr txBox="1"/>
          <p:nvPr/>
        </p:nvSpPr>
        <p:spPr>
          <a:xfrm rot="16200000">
            <a:off x="9486902" y="3934616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D389E5F6-011B-476A-83D7-05AD8E9EFE85}"/>
              </a:ext>
            </a:extLst>
          </p:cNvPr>
          <p:cNvSpPr/>
          <p:nvPr/>
        </p:nvSpPr>
        <p:spPr bwMode="white">
          <a:xfrm>
            <a:off x="1" y="0"/>
            <a:ext cx="4079508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9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1257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Green highlight">
    <p:bg>
      <p:bgPr>
        <a:gradFill>
          <a:gsLst>
            <a:gs pos="0">
              <a:schemeClr val="tx2"/>
            </a:gs>
            <a:gs pos="100000">
              <a:schemeClr val="accent1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7165607" y="0"/>
            <a:ext cx="416951" cy="6858000"/>
          </a:xfrm>
          <a:prstGeom prst="rect">
            <a:avLst/>
          </a:prstGeom>
        </p:spPr>
      </p:pic>
      <p:sp>
        <p:nvSpPr>
          <p:cNvPr id="14" name="Rectangle 13"/>
          <p:cNvSpPr/>
          <p:nvPr/>
        </p:nvSpPr>
        <p:spPr bwMode="white">
          <a:xfrm>
            <a:off x="1" y="0"/>
            <a:ext cx="7171956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9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11167872" y="6443508"/>
            <a:ext cx="38100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1" y="705902"/>
            <a:ext cx="6276529" cy="249299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C8557FEB-E05A-493D-BEED-AE095FE3625F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7165607" y="0"/>
            <a:ext cx="416951" cy="6858000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29D5FEF4-0F62-4319-AFC1-35FEA282FAB2}"/>
              </a:ext>
            </a:extLst>
          </p:cNvPr>
          <p:cNvSpPr/>
          <p:nvPr/>
        </p:nvSpPr>
        <p:spPr bwMode="white">
          <a:xfrm>
            <a:off x="1" y="0"/>
            <a:ext cx="7171956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9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E4DD90C9-CE18-4F55-8D41-68D80D4D3BD6}"/>
              </a:ext>
            </a:extLst>
          </p:cNvPr>
          <p:cNvSpPr txBox="1"/>
          <p:nvPr/>
        </p:nvSpPr>
        <p:spPr>
          <a:xfrm>
            <a:off x="11167872" y="6443508"/>
            <a:ext cx="38100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9" name="Copyright">
            <a:extLst>
              <a:ext uri="{FF2B5EF4-FFF2-40B4-BE49-F238E27FC236}">
                <a16:creationId xmlns:a16="http://schemas.microsoft.com/office/drawing/2014/main" id="{95DE2E7C-B0AB-49E8-9259-805E0E270CDA}"/>
              </a:ext>
            </a:extLst>
          </p:cNvPr>
          <p:cNvSpPr txBox="1"/>
          <p:nvPr/>
        </p:nvSpPr>
        <p:spPr>
          <a:xfrm rot="16200000">
            <a:off x="9486902" y="3934616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1132632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Four column green">
    <p:bg>
      <p:bgPr>
        <a:gradFill>
          <a:gsLst>
            <a:gs pos="0">
              <a:schemeClr val="tx2"/>
            </a:gs>
            <a:gs pos="100000">
              <a:schemeClr val="accent1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9029247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/>
        </p:nvSpPr>
        <p:spPr bwMode="white">
          <a:xfrm>
            <a:off x="0" y="0"/>
            <a:ext cx="9034272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9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11167872" y="6443508"/>
            <a:ext cx="38100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705902"/>
            <a:ext cx="8101584" cy="249299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7043EE5F-DD69-4784-BC35-45B9B5893A5B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9029247" y="0"/>
            <a:ext cx="416951" cy="6858000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B7D278C9-B6B4-4D09-BEFF-DDC0CC51C109}"/>
              </a:ext>
            </a:extLst>
          </p:cNvPr>
          <p:cNvSpPr/>
          <p:nvPr/>
        </p:nvSpPr>
        <p:spPr bwMode="white">
          <a:xfrm>
            <a:off x="0" y="0"/>
            <a:ext cx="9034272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9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8" name="Copyright">
            <a:extLst>
              <a:ext uri="{FF2B5EF4-FFF2-40B4-BE49-F238E27FC236}">
                <a16:creationId xmlns:a16="http://schemas.microsoft.com/office/drawing/2014/main" id="{AE87E224-D42D-4824-9758-5002ACFE1CC8}"/>
              </a:ext>
            </a:extLst>
          </p:cNvPr>
          <p:cNvSpPr txBox="1"/>
          <p:nvPr/>
        </p:nvSpPr>
        <p:spPr>
          <a:xfrm rot="16200000">
            <a:off x="9486902" y="3934616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56EF5E0C-86B7-49AE-8C99-9D7E1F8A24F3}"/>
              </a:ext>
            </a:extLst>
          </p:cNvPr>
          <p:cNvSpPr txBox="1"/>
          <p:nvPr/>
        </p:nvSpPr>
        <p:spPr>
          <a:xfrm>
            <a:off x="11167872" y="6443508"/>
            <a:ext cx="38100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289467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Green one third">
    <p:bg>
      <p:bgPr>
        <a:gradFill>
          <a:gsLst>
            <a:gs pos="0">
              <a:schemeClr val="tx2"/>
            </a:gs>
            <a:gs pos="100000">
              <a:schemeClr val="accent1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Picture 22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70" y="0"/>
            <a:ext cx="416951" cy="6858000"/>
          </a:xfrm>
          <a:prstGeom prst="rect">
            <a:avLst/>
          </a:prstGeom>
        </p:spPr>
      </p:pic>
      <p:sp>
        <p:nvSpPr>
          <p:cNvPr id="24" name="Title 4"/>
          <p:cNvSpPr>
            <a:spLocks noGrp="1"/>
          </p:cNvSpPr>
          <p:nvPr>
            <p:ph type="title" hasCustomPrompt="1"/>
          </p:nvPr>
        </p:nvSpPr>
        <p:spPr>
          <a:xfrm>
            <a:off x="630001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18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26" name="Rectangle 25"/>
          <p:cNvSpPr/>
          <p:nvPr/>
        </p:nvSpPr>
        <p:spPr bwMode="ltGray">
          <a:xfrm>
            <a:off x="4080764" y="-1309"/>
            <a:ext cx="8111237" cy="68593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9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11167872" y="6443508"/>
            <a:ext cx="38100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0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70730EC2-3411-495D-A301-AAE389F83144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70" y="0"/>
            <a:ext cx="416951" cy="6858000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AA0D7E26-00FE-4361-AEAE-F467754B9AE4}"/>
              </a:ext>
            </a:extLst>
          </p:cNvPr>
          <p:cNvSpPr/>
          <p:nvPr/>
        </p:nvSpPr>
        <p:spPr bwMode="ltGray">
          <a:xfrm>
            <a:off x="4080764" y="-1309"/>
            <a:ext cx="8111237" cy="68593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9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8" name="Copyright">
            <a:extLst>
              <a:ext uri="{FF2B5EF4-FFF2-40B4-BE49-F238E27FC236}">
                <a16:creationId xmlns:a16="http://schemas.microsoft.com/office/drawing/2014/main" id="{A1568114-27F1-4D6C-A00D-4ECF3B2FD248}"/>
              </a:ext>
            </a:extLst>
          </p:cNvPr>
          <p:cNvSpPr txBox="1"/>
          <p:nvPr/>
        </p:nvSpPr>
        <p:spPr>
          <a:xfrm rot="16200000">
            <a:off x="9486902" y="3934616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7B905792-71C3-45F3-BD26-A71C2DA9D867}"/>
              </a:ext>
            </a:extLst>
          </p:cNvPr>
          <p:cNvSpPr txBox="1"/>
          <p:nvPr/>
        </p:nvSpPr>
        <p:spPr>
          <a:xfrm>
            <a:off x="11167872" y="6443508"/>
            <a:ext cx="38100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0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258373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Green half">
    <p:bg>
      <p:bgPr>
        <a:gradFill>
          <a:gsLst>
            <a:gs pos="0">
              <a:schemeClr val="tx2"/>
            </a:gs>
            <a:gs pos="100000">
              <a:schemeClr val="accent1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5689583" y="0"/>
            <a:ext cx="416951" cy="6858000"/>
          </a:xfrm>
          <a:prstGeom prst="rect">
            <a:avLst/>
          </a:prstGeom>
        </p:spPr>
      </p:pic>
      <p:sp>
        <p:nvSpPr>
          <p:cNvPr id="11" name="Rectangle 10"/>
          <p:cNvSpPr/>
          <p:nvPr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750"/>
              </a:spcAft>
            </a:pPr>
            <a:endParaRPr lang="en-US" sz="9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2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2022" y="0"/>
            <a:ext cx="6099977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350" baseline="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1785600"/>
            <a:ext cx="4388400" cy="3286800"/>
          </a:xfrm>
          <a:prstGeom prst="rect">
            <a:avLst/>
          </a:prstGeom>
          <a:noFill/>
        </p:spPr>
        <p:txBody>
          <a:bodyPr wrap="square" lIns="0" tIns="0" rIns="320040" bIns="0" anchor="ctr">
            <a:noAutofit/>
          </a:bodyPr>
          <a:lstStyle>
            <a:lvl1pPr>
              <a:defRPr sz="33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11167872" y="6443508"/>
            <a:ext cx="38100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600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A463677C-DB3D-4600-A240-E87BCC31B99D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5689583" y="0"/>
            <a:ext cx="416951" cy="6858000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6E0D942C-78E7-444F-9679-7826B56C48FC}"/>
              </a:ext>
            </a:extLst>
          </p:cNvPr>
          <p:cNvSpPr/>
          <p:nvPr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750"/>
              </a:spcAft>
            </a:pPr>
            <a:endParaRPr lang="en-US" sz="9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FB4F80F7-18B3-4655-A4BD-D780702E8465}"/>
              </a:ext>
            </a:extLst>
          </p:cNvPr>
          <p:cNvSpPr txBox="1"/>
          <p:nvPr/>
        </p:nvSpPr>
        <p:spPr>
          <a:xfrm>
            <a:off x="11167872" y="6443508"/>
            <a:ext cx="38100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600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5" name="Copyright">
            <a:extLst>
              <a:ext uri="{FF2B5EF4-FFF2-40B4-BE49-F238E27FC236}">
                <a16:creationId xmlns:a16="http://schemas.microsoft.com/office/drawing/2014/main" id="{4C8FE2ED-F2DF-4F38-9FFC-195F395DB0E2}"/>
              </a:ext>
            </a:extLst>
          </p:cNvPr>
          <p:cNvSpPr txBox="1"/>
          <p:nvPr/>
        </p:nvSpPr>
        <p:spPr>
          <a:xfrm rot="16200000">
            <a:off x="9486902" y="3934616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1716473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Green two third">
    <p:bg>
      <p:bgPr>
        <a:gradFill>
          <a:gsLst>
            <a:gs pos="0">
              <a:schemeClr val="tx2"/>
            </a:gs>
            <a:gs pos="100000">
              <a:schemeClr val="accent1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7409850" y="0"/>
            <a:ext cx="416951" cy="6858000"/>
          </a:xfrm>
          <a:prstGeom prst="rect">
            <a:avLst/>
          </a:prstGeom>
        </p:spPr>
      </p:pic>
      <p:sp>
        <p:nvSpPr>
          <p:cNvPr id="11" name="Rectangle 10"/>
          <p:cNvSpPr/>
          <p:nvPr/>
        </p:nvSpPr>
        <p:spPr bwMode="gray">
          <a:xfrm>
            <a:off x="7819545" y="0"/>
            <a:ext cx="4372457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9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2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20026" y="0"/>
            <a:ext cx="4371975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200">
                <a:solidFill>
                  <a:schemeClr val="tx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630936" y="1785600"/>
            <a:ext cx="6247552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3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11167872" y="6443508"/>
            <a:ext cx="38100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600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4AE5DBA-FD55-4779-BBCF-356F8385FF76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7409850" y="0"/>
            <a:ext cx="416951" cy="6858000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A56A20AD-5190-486E-A0CC-9CF9B93526D6}"/>
              </a:ext>
            </a:extLst>
          </p:cNvPr>
          <p:cNvSpPr/>
          <p:nvPr/>
        </p:nvSpPr>
        <p:spPr bwMode="gray">
          <a:xfrm>
            <a:off x="7819545" y="0"/>
            <a:ext cx="4372457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9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9" name="Copyright">
            <a:extLst>
              <a:ext uri="{FF2B5EF4-FFF2-40B4-BE49-F238E27FC236}">
                <a16:creationId xmlns:a16="http://schemas.microsoft.com/office/drawing/2014/main" id="{780BBA01-62E1-4BCA-AEC5-DDD75289DBBF}"/>
              </a:ext>
            </a:extLst>
          </p:cNvPr>
          <p:cNvSpPr txBox="1"/>
          <p:nvPr/>
        </p:nvSpPr>
        <p:spPr>
          <a:xfrm rot="16200000">
            <a:off x="9486902" y="3934616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C9021DD7-4C07-41AE-A2CA-3CD682D385CE}"/>
              </a:ext>
            </a:extLst>
          </p:cNvPr>
          <p:cNvSpPr txBox="1"/>
          <p:nvPr/>
        </p:nvSpPr>
        <p:spPr>
          <a:xfrm>
            <a:off x="11167872" y="6443508"/>
            <a:ext cx="38100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600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370896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Left arrow">
    <p:bg>
      <p:bgPr>
        <a:gradFill>
          <a:gsLst>
            <a:gs pos="0">
              <a:schemeClr val="tx2"/>
            </a:gs>
            <a:gs pos="100000">
              <a:schemeClr val="accent1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74225581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24" imgH="324" progId="TCLayout.ActiveDocument.1">
                  <p:embed/>
                </p:oleObj>
              </mc:Choice>
              <mc:Fallback>
                <p:oleObj name="think-cell Slide" r:id="rId4" imgW="324" imgH="32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Freeform 14"/>
          <p:cNvSpPr/>
          <p:nvPr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750"/>
              </a:spcAft>
            </a:pPr>
            <a:endParaRPr lang="en-US" sz="9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11167872" y="6443508"/>
            <a:ext cx="38100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0" name="Title 2"/>
          <p:cNvSpPr>
            <a:spLocks noGrp="1"/>
          </p:cNvSpPr>
          <p:nvPr>
            <p:ph type="title" hasCustomPrompt="1"/>
          </p:nvPr>
        </p:nvSpPr>
        <p:spPr>
          <a:xfrm>
            <a:off x="630001" y="2764205"/>
            <a:ext cx="2478639" cy="1314311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180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>
                <a:solidFill>
                  <a:schemeClr val="tx2"/>
                </a:solidFill>
              </a:rPr>
              <a:t>Click to add title</a:t>
            </a:r>
          </a:p>
        </p:txBody>
      </p:sp>
      <p:pic>
        <p:nvPicPr>
          <p:cNvPr id="12" name="Picture 11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32441" y="3590399"/>
            <a:ext cx="1365251" cy="3382962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8CBE220E-5CE4-4249-88FB-52A89F9BE0A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79571629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24" imgH="324" progId="TCLayout.ActiveDocument.1">
                  <p:embed/>
                </p:oleObj>
              </mc:Choice>
              <mc:Fallback>
                <p:oleObj name="think-cell Slide" r:id="rId4" imgW="324" imgH="324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8CBE220E-5CE4-4249-88FB-52A89F9BE0A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Freeform 14">
            <a:extLst>
              <a:ext uri="{FF2B5EF4-FFF2-40B4-BE49-F238E27FC236}">
                <a16:creationId xmlns:a16="http://schemas.microsoft.com/office/drawing/2014/main" id="{BBA2A1FA-EF93-4EB6-A18A-56549DF78993}"/>
              </a:ext>
            </a:extLst>
          </p:cNvPr>
          <p:cNvSpPr/>
          <p:nvPr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750"/>
              </a:spcAft>
            </a:pPr>
            <a:endParaRPr lang="en-US" sz="9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9" name="Copyright">
            <a:extLst>
              <a:ext uri="{FF2B5EF4-FFF2-40B4-BE49-F238E27FC236}">
                <a16:creationId xmlns:a16="http://schemas.microsoft.com/office/drawing/2014/main" id="{3B54816D-7A21-40B4-9D73-E776657337D6}"/>
              </a:ext>
            </a:extLst>
          </p:cNvPr>
          <p:cNvSpPr txBox="1"/>
          <p:nvPr/>
        </p:nvSpPr>
        <p:spPr>
          <a:xfrm rot="16200000">
            <a:off x="9486902" y="3934616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28CA2DF0-FE14-4BFD-BC3B-4649B1B64945}"/>
              </a:ext>
            </a:extLst>
          </p:cNvPr>
          <p:cNvSpPr txBox="1"/>
          <p:nvPr/>
        </p:nvSpPr>
        <p:spPr>
          <a:xfrm>
            <a:off x="11167872" y="6443508"/>
            <a:ext cx="38100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838DA3C3-AD09-400F-9479-A4882FB6E4B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32441" y="3590399"/>
            <a:ext cx="1365251" cy="3382962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8586664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Green left arro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14"/>
          <p:cNvSpPr/>
          <p:nvPr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1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750"/>
              </a:spcAft>
            </a:pPr>
            <a:endParaRPr lang="en-US" sz="9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30001" y="2764205"/>
            <a:ext cx="2478639" cy="1314311"/>
          </a:xfrm>
        </p:spPr>
        <p:txBody>
          <a:bodyPr anchor="ctr" anchorCtr="0">
            <a:noAutofit/>
          </a:bodyPr>
          <a:lstStyle>
            <a:lvl1pPr>
              <a:defRPr>
                <a:solidFill>
                  <a:srgbClr val="FFFFFF"/>
                </a:solidFill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11167872" y="6443508"/>
            <a:ext cx="38100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0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216" b="7716"/>
          <a:stretch/>
        </p:blipFill>
        <p:spPr>
          <a:xfrm rot="120000">
            <a:off x="2174641" y="3402830"/>
            <a:ext cx="2694667" cy="3461745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  <p:sp>
        <p:nvSpPr>
          <p:cNvPr id="6" name="Freeform 14">
            <a:extLst>
              <a:ext uri="{FF2B5EF4-FFF2-40B4-BE49-F238E27FC236}">
                <a16:creationId xmlns:a16="http://schemas.microsoft.com/office/drawing/2014/main" id="{E43E09AF-D75B-4576-8CD9-BBE9DA7022AC}"/>
              </a:ext>
            </a:extLst>
          </p:cNvPr>
          <p:cNvSpPr/>
          <p:nvPr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750"/>
              </a:spcAft>
            </a:pPr>
            <a:endParaRPr lang="en-US" sz="9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EA8C8A01-12F9-43F3-B6E8-88092BB6D397}"/>
              </a:ext>
            </a:extLst>
          </p:cNvPr>
          <p:cNvSpPr txBox="1"/>
          <p:nvPr/>
        </p:nvSpPr>
        <p:spPr>
          <a:xfrm>
            <a:off x="11167872" y="6443508"/>
            <a:ext cx="38100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0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Copyright">
            <a:extLst>
              <a:ext uri="{FF2B5EF4-FFF2-40B4-BE49-F238E27FC236}">
                <a16:creationId xmlns:a16="http://schemas.microsoft.com/office/drawing/2014/main" id="{61D48E92-6DF5-4473-8CB5-FE368FDEA2AC}"/>
              </a:ext>
            </a:extLst>
          </p:cNvPr>
          <p:cNvSpPr txBox="1"/>
          <p:nvPr/>
        </p:nvSpPr>
        <p:spPr>
          <a:xfrm rot="16200000">
            <a:off x="9486902" y="3934616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A78F5525-CB9E-4991-B188-9CE326F8266D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216" b="7716"/>
          <a:stretch/>
        </p:blipFill>
        <p:spPr>
          <a:xfrm rot="120000">
            <a:off x="2174641" y="3402830"/>
            <a:ext cx="2694667" cy="3461745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9805522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Arrow one third">
    <p:bg>
      <p:bgPr>
        <a:gradFill>
          <a:gsLst>
            <a:gs pos="0">
              <a:schemeClr val="tx2"/>
            </a:gs>
            <a:gs pos="100000">
              <a:schemeClr val="accent1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/>
          <p:cNvSpPr txBox="1"/>
          <p:nvPr/>
        </p:nvSpPr>
        <p:spPr>
          <a:xfrm>
            <a:off x="11167872" y="6443508"/>
            <a:ext cx="38100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60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9" name="Pentagon 3"/>
          <p:cNvSpPr/>
          <p:nvPr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750"/>
              </a:spcAft>
            </a:pPr>
            <a:endParaRPr lang="en-US" sz="9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630001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300" b="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1" name="Picture 10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81526" y="3394394"/>
            <a:ext cx="1298575" cy="3571875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02FE8B35-41B8-4985-98F9-85D387B528EF}"/>
              </a:ext>
            </a:extLst>
          </p:cNvPr>
          <p:cNvSpPr txBox="1"/>
          <p:nvPr/>
        </p:nvSpPr>
        <p:spPr>
          <a:xfrm>
            <a:off x="11167872" y="6443508"/>
            <a:ext cx="38100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60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7" name="Copyright">
            <a:extLst>
              <a:ext uri="{FF2B5EF4-FFF2-40B4-BE49-F238E27FC236}">
                <a16:creationId xmlns:a16="http://schemas.microsoft.com/office/drawing/2014/main" id="{041C180D-0254-4A04-B755-0F678DD783A5}"/>
              </a:ext>
            </a:extLst>
          </p:cNvPr>
          <p:cNvSpPr txBox="1"/>
          <p:nvPr/>
        </p:nvSpPr>
        <p:spPr>
          <a:xfrm rot="16200000">
            <a:off x="9486902" y="3934616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8" name="Pentagon 3">
            <a:extLst>
              <a:ext uri="{FF2B5EF4-FFF2-40B4-BE49-F238E27FC236}">
                <a16:creationId xmlns:a16="http://schemas.microsoft.com/office/drawing/2014/main" id="{EDE97B2E-2827-403D-AD11-2A5308C4786B}"/>
              </a:ext>
            </a:extLst>
          </p:cNvPr>
          <p:cNvSpPr/>
          <p:nvPr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750"/>
              </a:spcAft>
            </a:pPr>
            <a:endParaRPr lang="en-US" sz="9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17C3CE26-8417-4485-9715-F8D8D2D2759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81526" y="3394394"/>
            <a:ext cx="1298575" cy="3571875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8632278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Green arrow one thir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Pentagon 3"/>
          <p:cNvSpPr/>
          <p:nvPr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1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750"/>
              </a:spcAft>
            </a:pPr>
            <a:endParaRPr lang="en-US" sz="9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630001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300" b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11167872" y="6443508"/>
            <a:ext cx="38100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0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562" b="6867"/>
          <a:stretch/>
        </p:blipFill>
        <p:spPr>
          <a:xfrm>
            <a:off x="3578059" y="3416300"/>
            <a:ext cx="2694667" cy="3441700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  <p:sp>
        <p:nvSpPr>
          <p:cNvPr id="6" name="Pentagon 3">
            <a:extLst>
              <a:ext uri="{FF2B5EF4-FFF2-40B4-BE49-F238E27FC236}">
                <a16:creationId xmlns:a16="http://schemas.microsoft.com/office/drawing/2014/main" id="{37F99357-3ABE-475F-B145-9BC6A103309A}"/>
              </a:ext>
            </a:extLst>
          </p:cNvPr>
          <p:cNvSpPr/>
          <p:nvPr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750"/>
              </a:spcAft>
            </a:pPr>
            <a:endParaRPr lang="en-US" sz="9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B1885CD5-D11C-4E13-BCD0-2FC9BC4F24D8}"/>
              </a:ext>
            </a:extLst>
          </p:cNvPr>
          <p:cNvSpPr txBox="1"/>
          <p:nvPr/>
        </p:nvSpPr>
        <p:spPr>
          <a:xfrm>
            <a:off x="11167872" y="6443508"/>
            <a:ext cx="38100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0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Copyright">
            <a:extLst>
              <a:ext uri="{FF2B5EF4-FFF2-40B4-BE49-F238E27FC236}">
                <a16:creationId xmlns:a16="http://schemas.microsoft.com/office/drawing/2014/main" id="{ECCEA9F5-0395-4F8E-A964-79CD6EC53713}"/>
              </a:ext>
            </a:extLst>
          </p:cNvPr>
          <p:cNvSpPr txBox="1"/>
          <p:nvPr/>
        </p:nvSpPr>
        <p:spPr>
          <a:xfrm rot="16200000">
            <a:off x="9486902" y="3934616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8E67A822-92EF-4B9A-8503-47F46D820B0D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562" b="6867"/>
          <a:stretch/>
        </p:blipFill>
        <p:spPr>
          <a:xfrm>
            <a:off x="3578059" y="3416300"/>
            <a:ext cx="2694667" cy="3441700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15554501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38FCE15-E4E2-40B6-A8E6-8F024F23150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585926"/>
            <a:ext cx="10515600" cy="1104762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8918FE6B-5A22-4891-96FD-6A4998E3B08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DE5A17D-6EE9-4ACB-94BB-25FB1DF0FB0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845320AC-DD4B-443B-9124-A76A02BBF0F0}" type="datetimeFigureOut">
              <a:rPr lang="en-IN" smtClean="0"/>
              <a:t>28-05-2025</a:t>
            </a:fld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FB9BF98-ACEB-472B-9213-6A36651FF69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6421AA7-24CF-42EC-90E1-51286E883D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E7FF1D80-0C43-4B56-BCBD-119C695EDC96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305573525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Arrow half">
    <p:bg>
      <p:bgPr>
        <a:gradFill>
          <a:gsLst>
            <a:gs pos="0">
              <a:schemeClr val="tx2"/>
            </a:gs>
            <a:gs pos="100000">
              <a:schemeClr val="accent1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entagon 8"/>
          <p:cNvSpPr/>
          <p:nvPr/>
        </p:nvSpPr>
        <p:spPr bwMode="white">
          <a:xfrm>
            <a:off x="0" y="0"/>
            <a:ext cx="6363547" cy="6858000"/>
          </a:xfrm>
          <a:prstGeom prst="homePlate">
            <a:avLst>
              <a:gd name="adj" fmla="val 1293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750"/>
              </a:spcAft>
            </a:pPr>
            <a:endParaRPr lang="en-US" sz="9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1" y="705902"/>
            <a:ext cx="4747823" cy="249299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11167872" y="6443508"/>
            <a:ext cx="38100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0" name="Picture 9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7805" y="3589606"/>
            <a:ext cx="1365251" cy="3382962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Copyright">
            <a:extLst>
              <a:ext uri="{FF2B5EF4-FFF2-40B4-BE49-F238E27FC236}">
                <a16:creationId xmlns:a16="http://schemas.microsoft.com/office/drawing/2014/main" id="{4C2AF15F-571A-458A-9770-6530D31DF9B5}"/>
              </a:ext>
            </a:extLst>
          </p:cNvPr>
          <p:cNvSpPr txBox="1"/>
          <p:nvPr/>
        </p:nvSpPr>
        <p:spPr>
          <a:xfrm rot="16200000">
            <a:off x="9486902" y="3934616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9116F2D3-7C5C-41A4-BB4C-8C589045B829}"/>
              </a:ext>
            </a:extLst>
          </p:cNvPr>
          <p:cNvSpPr txBox="1"/>
          <p:nvPr/>
        </p:nvSpPr>
        <p:spPr>
          <a:xfrm>
            <a:off x="11167872" y="6443508"/>
            <a:ext cx="38100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661EDE54-687F-465C-971C-0EE8839E18D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7805" y="3589606"/>
            <a:ext cx="1365251" cy="3382962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707876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Green arrow half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entagon 8"/>
          <p:cNvSpPr/>
          <p:nvPr/>
        </p:nvSpPr>
        <p:spPr bwMode="white">
          <a:xfrm>
            <a:off x="0" y="0"/>
            <a:ext cx="6363547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1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750"/>
              </a:spcAft>
            </a:pPr>
            <a:endParaRPr lang="en-US" sz="9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1" y="705902"/>
            <a:ext cx="4747823" cy="24929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11167872" y="6443508"/>
            <a:ext cx="38100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0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4460172" y="3407805"/>
            <a:ext cx="2694667" cy="3456551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3BC4A2F1-4925-4F33-8626-4A98873F6DFF}"/>
              </a:ext>
            </a:extLst>
          </p:cNvPr>
          <p:cNvSpPr txBox="1"/>
          <p:nvPr/>
        </p:nvSpPr>
        <p:spPr>
          <a:xfrm>
            <a:off x="11167872" y="6443508"/>
            <a:ext cx="38100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0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7" name="Copyright">
            <a:extLst>
              <a:ext uri="{FF2B5EF4-FFF2-40B4-BE49-F238E27FC236}">
                <a16:creationId xmlns:a16="http://schemas.microsoft.com/office/drawing/2014/main" id="{7C6D5530-7F27-4B6F-868E-4EEDA0299FBE}"/>
              </a:ext>
            </a:extLst>
          </p:cNvPr>
          <p:cNvSpPr txBox="1"/>
          <p:nvPr/>
        </p:nvSpPr>
        <p:spPr>
          <a:xfrm rot="16200000">
            <a:off x="9486902" y="3934616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8FB4B573-7480-4DD5-99E7-BCFFE5A0A43F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4460172" y="3407805"/>
            <a:ext cx="2694667" cy="3456551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11869422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Arrow two third">
    <p:bg>
      <p:bgPr>
        <a:gradFill>
          <a:gsLst>
            <a:gs pos="0">
              <a:schemeClr val="tx2"/>
            </a:gs>
            <a:gs pos="100000">
              <a:schemeClr val="accent1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 18"/>
          <p:cNvSpPr/>
          <p:nvPr/>
        </p:nvSpPr>
        <p:spPr bwMode="white">
          <a:xfrm>
            <a:off x="1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750"/>
              </a:spcAft>
            </a:pPr>
            <a:endParaRPr lang="en-US" sz="9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11167872" y="6443508"/>
            <a:ext cx="38100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705902"/>
            <a:ext cx="6254496" cy="249299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1" name="Picture 10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90339" y="3589606"/>
            <a:ext cx="1365251" cy="3382962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Freeform 18">
            <a:extLst>
              <a:ext uri="{FF2B5EF4-FFF2-40B4-BE49-F238E27FC236}">
                <a16:creationId xmlns:a16="http://schemas.microsoft.com/office/drawing/2014/main" id="{9A2FC770-B0FF-4279-804D-1B3006283E4B}"/>
              </a:ext>
            </a:extLst>
          </p:cNvPr>
          <p:cNvSpPr/>
          <p:nvPr/>
        </p:nvSpPr>
        <p:spPr bwMode="white">
          <a:xfrm>
            <a:off x="1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750"/>
              </a:spcAft>
            </a:pPr>
            <a:endParaRPr lang="en-US" sz="9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7" name="Copyright">
            <a:extLst>
              <a:ext uri="{FF2B5EF4-FFF2-40B4-BE49-F238E27FC236}">
                <a16:creationId xmlns:a16="http://schemas.microsoft.com/office/drawing/2014/main" id="{72B03248-562B-4C8A-AFCE-352F8504BEF7}"/>
              </a:ext>
            </a:extLst>
          </p:cNvPr>
          <p:cNvSpPr txBox="1"/>
          <p:nvPr/>
        </p:nvSpPr>
        <p:spPr>
          <a:xfrm rot="16200000">
            <a:off x="9486902" y="3934616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F59A775F-42A1-4607-9D00-021ED01CBCE6}"/>
              </a:ext>
            </a:extLst>
          </p:cNvPr>
          <p:cNvSpPr txBox="1"/>
          <p:nvPr/>
        </p:nvSpPr>
        <p:spPr>
          <a:xfrm>
            <a:off x="11167872" y="6443508"/>
            <a:ext cx="38100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0DF53835-1B79-45C6-BE4A-B263C6C0B89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90339" y="3589606"/>
            <a:ext cx="1365251" cy="3382962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0488010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Green arrow two thir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 18"/>
          <p:cNvSpPr/>
          <p:nvPr/>
        </p:nvSpPr>
        <p:spPr bwMode="white">
          <a:xfrm>
            <a:off x="1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1"/>
              </a:gs>
            </a:gsLst>
            <a:lin ang="8100000" scaled="1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750"/>
              </a:spcAft>
            </a:pPr>
            <a:endParaRPr lang="en-US" sz="9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705902"/>
            <a:ext cx="6254496" cy="24929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11167872" y="6443508"/>
            <a:ext cx="38100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0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6567628" y="3407805"/>
            <a:ext cx="2694667" cy="3456551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6" name="Freeform 18">
            <a:extLst>
              <a:ext uri="{FF2B5EF4-FFF2-40B4-BE49-F238E27FC236}">
                <a16:creationId xmlns:a16="http://schemas.microsoft.com/office/drawing/2014/main" id="{210C5AAF-5B8C-4828-A829-727AFD75247B}"/>
              </a:ext>
            </a:extLst>
          </p:cNvPr>
          <p:cNvSpPr/>
          <p:nvPr/>
        </p:nvSpPr>
        <p:spPr bwMode="white">
          <a:xfrm>
            <a:off x="1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750"/>
              </a:spcAft>
            </a:pPr>
            <a:endParaRPr lang="en-US" sz="9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7D2BA50-0067-4BCC-9258-BEC254E0F375}"/>
              </a:ext>
            </a:extLst>
          </p:cNvPr>
          <p:cNvSpPr txBox="1"/>
          <p:nvPr/>
        </p:nvSpPr>
        <p:spPr>
          <a:xfrm>
            <a:off x="11167872" y="6443508"/>
            <a:ext cx="38100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0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Copyright">
            <a:extLst>
              <a:ext uri="{FF2B5EF4-FFF2-40B4-BE49-F238E27FC236}">
                <a16:creationId xmlns:a16="http://schemas.microsoft.com/office/drawing/2014/main" id="{49367744-8A30-4757-8DB7-F2ECAA008E12}"/>
              </a:ext>
            </a:extLst>
          </p:cNvPr>
          <p:cNvSpPr txBox="1"/>
          <p:nvPr/>
        </p:nvSpPr>
        <p:spPr>
          <a:xfrm rot="16200000">
            <a:off x="9486902" y="3934616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B51864EA-A20E-47F9-9D73-D7BA12AE76D1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6567628" y="3407805"/>
            <a:ext cx="2694667" cy="3456551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2528871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Big statement green">
    <p:bg>
      <p:bgPr>
        <a:gradFill>
          <a:gsLst>
            <a:gs pos="0">
              <a:schemeClr val="tx2"/>
            </a:gs>
            <a:gs pos="100000">
              <a:schemeClr val="accent1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Box 9"/>
          <p:cNvSpPr txBox="1"/>
          <p:nvPr/>
        </p:nvSpPr>
        <p:spPr>
          <a:xfrm>
            <a:off x="11167872" y="6443508"/>
            <a:ext cx="38100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</p:spPr>
        <p:txBody>
          <a:bodyPr anchor="b">
            <a:noAutofit/>
          </a:bodyPr>
          <a:lstStyle>
            <a:lvl1pPr marL="0" algn="l" defTabSz="685800" rtl="0" eaLnBrk="1" fontAlgn="auto" latinLnBrk="0" hangingPunct="1">
              <a:lnSpc>
                <a:spcPts val="4500"/>
              </a:lnSpc>
              <a:spcBef>
                <a:spcPts val="0"/>
              </a:spcBef>
              <a:spcAft>
                <a:spcPts val="0"/>
              </a:spcAft>
              <a:defRPr lang="en-US" sz="4050" kern="1200" baseline="0" dirty="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sp>
        <p:nvSpPr>
          <p:cNvPr id="4" name="Copyright">
            <a:extLst>
              <a:ext uri="{FF2B5EF4-FFF2-40B4-BE49-F238E27FC236}">
                <a16:creationId xmlns:a16="http://schemas.microsoft.com/office/drawing/2014/main" id="{5A25EB7D-BD88-49EE-A50B-A287E61A4393}"/>
              </a:ext>
            </a:extLst>
          </p:cNvPr>
          <p:cNvSpPr txBox="1"/>
          <p:nvPr/>
        </p:nvSpPr>
        <p:spPr>
          <a:xfrm rot="16200000">
            <a:off x="9486902" y="3934616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3623C886-831E-4268-B931-00FC35C5B875}"/>
              </a:ext>
            </a:extLst>
          </p:cNvPr>
          <p:cNvSpPr txBox="1"/>
          <p:nvPr/>
        </p:nvSpPr>
        <p:spPr>
          <a:xfrm>
            <a:off x="11167872" y="6443508"/>
            <a:ext cx="38100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058995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Big statement ic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/>
        </p:nvSpPr>
        <p:spPr bwMode="white">
          <a:xfrm>
            <a:off x="630000" y="625475"/>
            <a:ext cx="932688" cy="932688"/>
          </a:xfrm>
          <a:prstGeom prst="rect">
            <a:avLst/>
          </a:prstGeom>
          <a:noFill/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9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algn="l" defTabSz="685800" rtl="0" eaLnBrk="1" fontAlgn="auto" latinLnBrk="0" hangingPunct="1">
              <a:lnSpc>
                <a:spcPts val="4500"/>
              </a:lnSpc>
              <a:spcBef>
                <a:spcPts val="0"/>
              </a:spcBef>
              <a:spcAft>
                <a:spcPts val="0"/>
              </a:spcAft>
              <a:defRPr lang="en-US" sz="4050" kern="1200" baseline="0" dirty="0">
                <a:solidFill>
                  <a:schemeClr val="accent4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sp>
        <p:nvSpPr>
          <p:cNvPr id="4" name="Copyright">
            <a:extLst>
              <a:ext uri="{FF2B5EF4-FFF2-40B4-BE49-F238E27FC236}">
                <a16:creationId xmlns:a16="http://schemas.microsoft.com/office/drawing/2014/main" id="{CDA6DFBB-A9F7-4126-B634-E1A28077B310}"/>
              </a:ext>
            </a:extLst>
          </p:cNvPr>
          <p:cNvSpPr txBox="1"/>
          <p:nvPr/>
        </p:nvSpPr>
        <p:spPr>
          <a:xfrm rot="16200000">
            <a:off x="9486902" y="3934616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4435A377-F1C4-40DC-B086-105E514518EC}"/>
              </a:ext>
            </a:extLst>
          </p:cNvPr>
          <p:cNvSpPr/>
          <p:nvPr/>
        </p:nvSpPr>
        <p:spPr bwMode="white">
          <a:xfrm>
            <a:off x="630000" y="625475"/>
            <a:ext cx="932688" cy="932688"/>
          </a:xfrm>
          <a:prstGeom prst="rect">
            <a:avLst/>
          </a:prstGeom>
          <a:noFill/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9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657578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Quote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89450040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Box 5"/>
          <p:cNvSpPr txBox="1"/>
          <p:nvPr/>
        </p:nvSpPr>
        <p:spPr>
          <a:xfrm>
            <a:off x="11167872" y="6443508"/>
            <a:ext cx="38100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34" b="1258"/>
          <a:stretch/>
        </p:blipFill>
        <p:spPr>
          <a:xfrm rot="16200000" flipH="1">
            <a:off x="6797462" y="101444"/>
            <a:ext cx="769257" cy="10019821"/>
          </a:xfrm>
          <a:custGeom>
            <a:avLst/>
            <a:gdLst>
              <a:gd name="connsiteX0" fmla="*/ 0 w 769257"/>
              <a:gd name="connsiteY0" fmla="*/ 0 h 10019821"/>
              <a:gd name="connsiteX1" fmla="*/ 0 w 769257"/>
              <a:gd name="connsiteY1" fmla="*/ 4631160 h 10019821"/>
              <a:gd name="connsiteX2" fmla="*/ 216750 w 769257"/>
              <a:gd name="connsiteY2" fmla="*/ 999646 h 10019821"/>
              <a:gd name="connsiteX3" fmla="*/ 197800 w 769257"/>
              <a:gd name="connsiteY3" fmla="*/ 10019821 h 10019821"/>
              <a:gd name="connsiteX4" fmla="*/ 769257 w 769257"/>
              <a:gd name="connsiteY4" fmla="*/ 10019821 h 10019821"/>
              <a:gd name="connsiteX5" fmla="*/ 769257 w 769257"/>
              <a:gd name="connsiteY5" fmla="*/ 0 h 10019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69257" h="10019821">
                <a:moveTo>
                  <a:pt x="0" y="0"/>
                </a:moveTo>
                <a:lnTo>
                  <a:pt x="0" y="4631160"/>
                </a:lnTo>
                <a:lnTo>
                  <a:pt x="216750" y="999646"/>
                </a:lnTo>
                <a:lnTo>
                  <a:pt x="197800" y="10019821"/>
                </a:lnTo>
                <a:lnTo>
                  <a:pt x="769257" y="10019821"/>
                </a:lnTo>
                <a:lnTo>
                  <a:pt x="769257" y="0"/>
                </a:lnTo>
                <a:close/>
              </a:path>
            </a:pathLst>
          </a:cu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2"/>
            <a:ext cx="12192000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sz="1350">
              <a:latin typeface="+mn-lt"/>
              <a:sym typeface="Trebuchet MS" panose="020B0603020202020204" pitchFamily="34" charset="0"/>
            </a:endParaRPr>
          </a:p>
        </p:txBody>
      </p:sp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FECC7DD0-F986-434B-A7C1-92CE1D4B93B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66580690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FECC7DD0-F986-434B-A7C1-92CE1D4B93B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Box 8">
            <a:extLst>
              <a:ext uri="{FF2B5EF4-FFF2-40B4-BE49-F238E27FC236}">
                <a16:creationId xmlns:a16="http://schemas.microsoft.com/office/drawing/2014/main" id="{851BA717-D41B-4874-B32F-58FA50134BCA}"/>
              </a:ext>
            </a:extLst>
          </p:cNvPr>
          <p:cNvSpPr txBox="1"/>
          <p:nvPr/>
        </p:nvSpPr>
        <p:spPr>
          <a:xfrm>
            <a:off x="11167872" y="6443508"/>
            <a:ext cx="38100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F703FC73-8207-4AB1-BC4F-1CF5D00D6BEE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34" b="1258"/>
          <a:stretch/>
        </p:blipFill>
        <p:spPr>
          <a:xfrm rot="16200000" flipH="1">
            <a:off x="6797462" y="101444"/>
            <a:ext cx="769257" cy="10019821"/>
          </a:xfrm>
          <a:custGeom>
            <a:avLst/>
            <a:gdLst>
              <a:gd name="connsiteX0" fmla="*/ 0 w 769257"/>
              <a:gd name="connsiteY0" fmla="*/ 0 h 10019821"/>
              <a:gd name="connsiteX1" fmla="*/ 0 w 769257"/>
              <a:gd name="connsiteY1" fmla="*/ 4631160 h 10019821"/>
              <a:gd name="connsiteX2" fmla="*/ 216750 w 769257"/>
              <a:gd name="connsiteY2" fmla="*/ 999646 h 10019821"/>
              <a:gd name="connsiteX3" fmla="*/ 197800 w 769257"/>
              <a:gd name="connsiteY3" fmla="*/ 10019821 h 10019821"/>
              <a:gd name="connsiteX4" fmla="*/ 769257 w 769257"/>
              <a:gd name="connsiteY4" fmla="*/ 10019821 h 10019821"/>
              <a:gd name="connsiteX5" fmla="*/ 769257 w 769257"/>
              <a:gd name="connsiteY5" fmla="*/ 0 h 10019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69257" h="10019821">
                <a:moveTo>
                  <a:pt x="0" y="0"/>
                </a:moveTo>
                <a:lnTo>
                  <a:pt x="0" y="4631160"/>
                </a:lnTo>
                <a:lnTo>
                  <a:pt x="216750" y="999646"/>
                </a:lnTo>
                <a:lnTo>
                  <a:pt x="197800" y="10019821"/>
                </a:lnTo>
                <a:lnTo>
                  <a:pt x="769257" y="10019821"/>
                </a:lnTo>
                <a:lnTo>
                  <a:pt x="769257" y="0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10031756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Special gray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 bwMode="white">
          <a:xfrm>
            <a:off x="11167872" y="6442872"/>
            <a:ext cx="38100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705902"/>
            <a:ext cx="10933200" cy="249299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4" name="Copyright">
            <a:extLst>
              <a:ext uri="{FF2B5EF4-FFF2-40B4-BE49-F238E27FC236}">
                <a16:creationId xmlns:a16="http://schemas.microsoft.com/office/drawing/2014/main" id="{11DAE1CE-675E-4DA4-865A-53534E1E5098}"/>
              </a:ext>
            </a:extLst>
          </p:cNvPr>
          <p:cNvSpPr txBox="1"/>
          <p:nvPr/>
        </p:nvSpPr>
        <p:spPr>
          <a:xfrm rot="16200000">
            <a:off x="9486902" y="3934616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0801696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Table of contents">
    <p:bg>
      <p:bgPr>
        <a:gradFill>
          <a:gsLst>
            <a:gs pos="0">
              <a:schemeClr val="tx2"/>
            </a:gs>
            <a:gs pos="100000">
              <a:schemeClr val="accent1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Freeform 12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750"/>
              </a:spcAft>
            </a:pPr>
            <a:endParaRPr lang="en-US" sz="9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7" name="Freeform 12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750"/>
              </a:spcAft>
            </a:pPr>
            <a:endParaRPr lang="en-US" sz="9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630000" y="2821109"/>
            <a:ext cx="2819400" cy="127541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indent="0">
              <a:lnSpc>
                <a:spcPct val="106000"/>
              </a:lnSpc>
              <a:spcAft>
                <a:spcPts val="525"/>
              </a:spcAft>
              <a:buFontTx/>
              <a:buNone/>
            </a:pPr>
            <a:r>
              <a:rPr lang="en-US" sz="4050">
                <a:solidFill>
                  <a:schemeClr val="tx2"/>
                </a:solidFill>
                <a:latin typeface="+mn-lt"/>
                <a:sym typeface="Trebuchet MS" panose="020B0603020202020204" pitchFamily="34" charset="0"/>
              </a:rPr>
              <a:t>Table of contents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11167872" y="6443508"/>
            <a:ext cx="38100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0" name="Picture 9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8637" y="3586748"/>
            <a:ext cx="1365251" cy="3382962"/>
          </a:xfrm>
          <a:custGeom>
            <a:avLst/>
            <a:gdLst>
              <a:gd name="connsiteX0" fmla="*/ 94280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28720 w 1365250"/>
              <a:gd name="connsiteY3" fmla="*/ 3382962 h 3382962"/>
              <a:gd name="connsiteX4" fmla="*/ 0 w 1365250"/>
              <a:gd name="connsiteY4" fmla="*/ 0 h 3382962"/>
              <a:gd name="connsiteX5" fmla="*/ 929501 w 1365250"/>
              <a:gd name="connsiteY5" fmla="*/ 0 h 3382962"/>
              <a:gd name="connsiteX6" fmla="*/ 0 w 1365250"/>
              <a:gd name="connsiteY6" fmla="*/ 2860398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65250" h="3382962">
                <a:moveTo>
                  <a:pt x="94280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28720" y="3382962"/>
                </a:lnTo>
                <a:close/>
                <a:moveTo>
                  <a:pt x="0" y="0"/>
                </a:moveTo>
                <a:lnTo>
                  <a:pt x="929501" y="0"/>
                </a:lnTo>
                <a:lnTo>
                  <a:pt x="0" y="2860398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Freeform 12">
            <a:extLst>
              <a:ext uri="{FF2B5EF4-FFF2-40B4-BE49-F238E27FC236}">
                <a16:creationId xmlns:a16="http://schemas.microsoft.com/office/drawing/2014/main" id="{E591B733-640E-4356-BF69-0585CED244F3}"/>
              </a:ext>
            </a:extLst>
          </p:cNvPr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750"/>
              </a:spcAft>
            </a:pPr>
            <a:endParaRPr lang="en-US" sz="9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1E7C78A3-3980-4245-BD96-ED0D9BF98C7E}"/>
              </a:ext>
            </a:extLst>
          </p:cNvPr>
          <p:cNvSpPr txBox="1"/>
          <p:nvPr/>
        </p:nvSpPr>
        <p:spPr>
          <a:xfrm>
            <a:off x="630000" y="2821109"/>
            <a:ext cx="2819400" cy="127541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indent="0">
              <a:lnSpc>
                <a:spcPct val="106000"/>
              </a:lnSpc>
              <a:spcAft>
                <a:spcPts val="525"/>
              </a:spcAft>
              <a:buFontTx/>
              <a:buNone/>
            </a:pPr>
            <a:r>
              <a:rPr lang="en-US" sz="4050">
                <a:solidFill>
                  <a:schemeClr val="tx2"/>
                </a:solidFill>
                <a:latin typeface="+mn-lt"/>
                <a:sym typeface="Trebuchet MS" panose="020B0603020202020204" pitchFamily="34" charset="0"/>
              </a:rPr>
              <a:t>Table of contents</a:t>
            </a:r>
          </a:p>
        </p:txBody>
      </p:sp>
      <p:sp>
        <p:nvSpPr>
          <p:cNvPr id="9" name="Copyright">
            <a:extLst>
              <a:ext uri="{FF2B5EF4-FFF2-40B4-BE49-F238E27FC236}">
                <a16:creationId xmlns:a16="http://schemas.microsoft.com/office/drawing/2014/main" id="{AA28ECBA-1648-4EEE-A232-0077849BC222}"/>
              </a:ext>
            </a:extLst>
          </p:cNvPr>
          <p:cNvSpPr txBox="1"/>
          <p:nvPr/>
        </p:nvSpPr>
        <p:spPr>
          <a:xfrm rot="16200000">
            <a:off x="9486902" y="3934616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5CEBB690-2CE8-4800-BC7A-9C45B1AA3C0E}"/>
              </a:ext>
            </a:extLst>
          </p:cNvPr>
          <p:cNvSpPr txBox="1"/>
          <p:nvPr/>
        </p:nvSpPr>
        <p:spPr>
          <a:xfrm>
            <a:off x="11167872" y="6443508"/>
            <a:ext cx="38100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5F910AE6-647B-42E0-BA45-502B915F841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8637" y="3586748"/>
            <a:ext cx="1365251" cy="3382962"/>
          </a:xfrm>
          <a:custGeom>
            <a:avLst/>
            <a:gdLst>
              <a:gd name="connsiteX0" fmla="*/ 94280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28720 w 1365250"/>
              <a:gd name="connsiteY3" fmla="*/ 3382962 h 3382962"/>
              <a:gd name="connsiteX4" fmla="*/ 0 w 1365250"/>
              <a:gd name="connsiteY4" fmla="*/ 0 h 3382962"/>
              <a:gd name="connsiteX5" fmla="*/ 929501 w 1365250"/>
              <a:gd name="connsiteY5" fmla="*/ 0 h 3382962"/>
              <a:gd name="connsiteX6" fmla="*/ 0 w 1365250"/>
              <a:gd name="connsiteY6" fmla="*/ 2860398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65250" h="3382962">
                <a:moveTo>
                  <a:pt x="94280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28720" y="3382962"/>
                </a:lnTo>
                <a:close/>
                <a:moveTo>
                  <a:pt x="0" y="0"/>
                </a:moveTo>
                <a:lnTo>
                  <a:pt x="929501" y="0"/>
                </a:lnTo>
                <a:lnTo>
                  <a:pt x="0" y="2860398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2757464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Blank green">
    <p:bg>
      <p:bgPr>
        <a:gradFill>
          <a:gsLst>
            <a:gs pos="0">
              <a:schemeClr val="tx2"/>
            </a:gs>
            <a:gs pos="100000">
              <a:schemeClr val="accent1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Box 10"/>
          <p:cNvSpPr txBox="1"/>
          <p:nvPr/>
        </p:nvSpPr>
        <p:spPr>
          <a:xfrm>
            <a:off x="11167872" y="6443508"/>
            <a:ext cx="38100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3" name="Copyright">
            <a:extLst>
              <a:ext uri="{FF2B5EF4-FFF2-40B4-BE49-F238E27FC236}">
                <a16:creationId xmlns:a16="http://schemas.microsoft.com/office/drawing/2014/main" id="{727B1D65-8235-4C40-AC18-A1261F31CE7D}"/>
              </a:ext>
            </a:extLst>
          </p:cNvPr>
          <p:cNvSpPr txBox="1"/>
          <p:nvPr/>
        </p:nvSpPr>
        <p:spPr>
          <a:xfrm rot="16200000">
            <a:off x="9486902" y="3934616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812B669B-80CC-4AF1-96B4-0F91D35992EB}"/>
              </a:ext>
            </a:extLst>
          </p:cNvPr>
          <p:cNvSpPr txBox="1"/>
          <p:nvPr/>
        </p:nvSpPr>
        <p:spPr>
          <a:xfrm>
            <a:off x="11167872" y="6443508"/>
            <a:ext cx="38100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399452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10388621-3627-4574-98C6-FE793E8C5A13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  <a:prstGeom prst="rect">
            <a:avLst/>
          </a:prstGeo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400F7754-5F31-4F0F-8BAD-DDF2072F3133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6C69C81-4B2F-40C8-9556-DBB40ABB56C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845320AC-DD4B-443B-9124-A76A02BBF0F0}" type="datetimeFigureOut">
              <a:rPr lang="en-IN" smtClean="0"/>
              <a:t>28-05-2025</a:t>
            </a:fld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E333829-F206-432E-AA11-AB2739AC4DF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01A97D5-9B0E-4CE7-BA03-5AEB28FA045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E7FF1D80-0C43-4B56-BCBD-119C695EDC96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472430896"/>
      </p:ext>
    </p:extLst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pyright">
            <a:extLst>
              <a:ext uri="{FF2B5EF4-FFF2-40B4-BE49-F238E27FC236}">
                <a16:creationId xmlns:a16="http://schemas.microsoft.com/office/drawing/2014/main" id="{DD35079F-F767-47C7-8721-4B6F63D75BF5}"/>
              </a:ext>
            </a:extLst>
          </p:cNvPr>
          <p:cNvSpPr txBox="1"/>
          <p:nvPr/>
        </p:nvSpPr>
        <p:spPr>
          <a:xfrm rot="16200000">
            <a:off x="9486902" y="3934616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7323980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pyright">
            <a:extLst>
              <a:ext uri="{FF2B5EF4-FFF2-40B4-BE49-F238E27FC236}">
                <a16:creationId xmlns:a16="http://schemas.microsoft.com/office/drawing/2014/main" id="{BEF0CC3C-1E41-47AB-BC72-3BB2F02F257D}"/>
              </a:ext>
            </a:extLst>
          </p:cNvPr>
          <p:cNvSpPr txBox="1"/>
          <p:nvPr/>
        </p:nvSpPr>
        <p:spPr>
          <a:xfrm rot="16200000">
            <a:off x="9486902" y="3934616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5599347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1_End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31620832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>
            <a:extLst>
              <a:ext uri="{FF2B5EF4-FFF2-40B4-BE49-F238E27FC236}">
                <a16:creationId xmlns:a16="http://schemas.microsoft.com/office/drawing/2014/main" id="{96B9F0F5-A54F-4FD2-AD46-EB352A6A6F63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grayscl/>
          </a:blip>
          <a:srcRect l="1079" t="8722" r="1079" b="8722"/>
          <a:stretch/>
        </p:blipFill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</p:spPr>
      </p:pic>
      <p:sp>
        <p:nvSpPr>
          <p:cNvPr id="8" name="Parallelogram 7">
            <a:extLst>
              <a:ext uri="{FF2B5EF4-FFF2-40B4-BE49-F238E27FC236}">
                <a16:creationId xmlns:a16="http://schemas.microsoft.com/office/drawing/2014/main" id="{3A4B14A3-BB44-4518-9E41-3820FE7577B1}"/>
              </a:ext>
            </a:extLst>
          </p:cNvPr>
          <p:cNvSpPr/>
          <p:nvPr/>
        </p:nvSpPr>
        <p:spPr bwMode="black">
          <a:xfrm>
            <a:off x="8545508" y="1539240"/>
            <a:ext cx="2846389" cy="5369940"/>
          </a:xfrm>
          <a:prstGeom prst="parallelogram">
            <a:avLst>
              <a:gd name="adj" fmla="val 47699"/>
            </a:avLst>
          </a:prstGeom>
          <a:solidFill>
            <a:srgbClr val="ED1D24">
              <a:alpha val="61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endParaRPr lang="en-US" sz="150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9" name="Parallelogram 8">
            <a:extLst>
              <a:ext uri="{FF2B5EF4-FFF2-40B4-BE49-F238E27FC236}">
                <a16:creationId xmlns:a16="http://schemas.microsoft.com/office/drawing/2014/main" id="{85F37F3E-8A0F-4419-80D0-585F03C4F18F}"/>
              </a:ext>
            </a:extLst>
          </p:cNvPr>
          <p:cNvSpPr/>
          <p:nvPr/>
        </p:nvSpPr>
        <p:spPr bwMode="black">
          <a:xfrm>
            <a:off x="8454068" y="0"/>
            <a:ext cx="2846389" cy="5369940"/>
          </a:xfrm>
          <a:prstGeom prst="parallelogram">
            <a:avLst>
              <a:gd name="adj" fmla="val 47699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endParaRPr lang="en-US" sz="15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1DE91DAF-A850-4E1E-8245-4BA65F340873}"/>
              </a:ext>
            </a:extLst>
          </p:cNvPr>
          <p:cNvSpPr/>
          <p:nvPr/>
        </p:nvSpPr>
        <p:spPr bwMode="black">
          <a:xfrm>
            <a:off x="-4499" y="1488060"/>
            <a:ext cx="10413417" cy="4117298"/>
          </a:xfrm>
          <a:custGeom>
            <a:avLst/>
            <a:gdLst>
              <a:gd name="connsiteX0" fmla="*/ 0 w 10413417"/>
              <a:gd name="connsiteY0" fmla="*/ 0 h 4117298"/>
              <a:gd name="connsiteX1" fmla="*/ 10413417 w 10413417"/>
              <a:gd name="connsiteY1" fmla="*/ 0 h 4117298"/>
              <a:gd name="connsiteX2" fmla="*/ 9384092 w 10413417"/>
              <a:gd name="connsiteY2" fmla="*/ 4117298 h 4117298"/>
              <a:gd name="connsiteX3" fmla="*/ 0 w 10413417"/>
              <a:gd name="connsiteY3" fmla="*/ 4117298 h 4117298"/>
              <a:gd name="connsiteX4" fmla="*/ 0 w 10413417"/>
              <a:gd name="connsiteY4" fmla="*/ 0 h 41172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413417" h="4117298">
                <a:moveTo>
                  <a:pt x="0" y="0"/>
                </a:moveTo>
                <a:lnTo>
                  <a:pt x="10413417" y="0"/>
                </a:lnTo>
                <a:lnTo>
                  <a:pt x="9384092" y="4117298"/>
                </a:lnTo>
                <a:lnTo>
                  <a:pt x="0" y="4117298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5000">
                <a:schemeClr val="accent1">
                  <a:alpha val="90000"/>
                </a:schemeClr>
              </a:gs>
              <a:gs pos="100000">
                <a:schemeClr val="tx2">
                  <a:alpha val="90000"/>
                </a:schemeClr>
              </a:gs>
            </a:gsLst>
            <a:lin ang="189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/>
          <a:p>
            <a:pPr lvl="0" algn="ctr">
              <a:lnSpc>
                <a:spcPct val="95000"/>
              </a:lnSpc>
            </a:pPr>
            <a:endParaRPr lang="en-US" sz="15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8E2CACFB-AC3A-410E-975E-04868F21E7D3}"/>
              </a:ext>
            </a:extLst>
          </p:cNvPr>
          <p:cNvSpPr/>
          <p:nvPr/>
        </p:nvSpPr>
        <p:spPr>
          <a:xfrm>
            <a:off x="630000" y="2937109"/>
            <a:ext cx="4175760" cy="1219200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r>
              <a:rPr lang="en-US" sz="4500">
                <a:solidFill>
                  <a:srgbClr val="FFFFFF"/>
                </a:solidFill>
              </a:rPr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40736660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genda Section Header Overview">
    <p:bg>
      <p:bgPr>
        <a:gradFill>
          <a:gsLst>
            <a:gs pos="0">
              <a:schemeClr val="tx2"/>
            </a:gs>
            <a:gs pos="100000">
              <a:schemeClr val="accent1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/>
        </p:nvSpPr>
        <p:spPr bwMode="white">
          <a:xfrm>
            <a:off x="11167872" y="6442872"/>
            <a:ext cx="38100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0" kern="120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1" name="Rectangle 10"/>
          <p:cNvSpPr/>
          <p:nvPr/>
        </p:nvSpPr>
        <p:spPr bwMode="invGray">
          <a:xfrm>
            <a:off x="1388146" y="4691187"/>
            <a:ext cx="929337" cy="995874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endParaRPr lang="en-US" sz="1500">
              <a:solidFill>
                <a:prstClr val="white"/>
              </a:solidFill>
              <a:latin typeface="Trebuchet MS" panose="020B0603020202020204" pitchFamily="34" charset="0"/>
            </a:endParaRPr>
          </a:p>
        </p:txBody>
      </p:sp>
      <p:sp>
        <p:nvSpPr>
          <p:cNvPr id="12" name="Rectangle 11"/>
          <p:cNvSpPr/>
          <p:nvPr>
            <p:custDataLst>
              <p:tags r:id="rId2"/>
            </p:custDataLst>
          </p:nvPr>
        </p:nvSpPr>
        <p:spPr>
          <a:xfrm>
            <a:off x="2509483" y="4691187"/>
            <a:ext cx="1570152" cy="1468176"/>
          </a:xfrm>
          <a:prstGeom prst="rect">
            <a:avLst/>
          </a:prstGeom>
          <a:noFill/>
          <a:ln w="9525" cmpd="sng">
            <a:solidFill>
              <a:srgbClr val="FFFFFF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5000" rIns="137160" bIns="13716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900">
              <a:solidFill>
                <a:srgbClr val="FFFFFF"/>
              </a:solidFill>
              <a:latin typeface="Trebuchet MS" panose="020B0603020202020204" pitchFamily="34" charset="0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630000" y="907201"/>
            <a:ext cx="3448800" cy="915351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txBody>
          <a:bodyPr wrap="square" lIns="459000" tIns="35100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endParaRPr lang="en-US" sz="4050">
              <a:solidFill>
                <a:schemeClr val="bg1"/>
              </a:solidFill>
            </a:endParaRPr>
          </a:p>
        </p:txBody>
      </p:sp>
      <p:sp>
        <p:nvSpPr>
          <p:cNvPr id="10" name="TextBox 1"/>
          <p:cNvSpPr txBox="1"/>
          <p:nvPr/>
        </p:nvSpPr>
        <p:spPr>
          <a:xfrm>
            <a:off x="1412918" y="1115416"/>
            <a:ext cx="1882246" cy="68441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4050">
                <a:solidFill>
                  <a:schemeClr val="bg1"/>
                </a:solidFill>
                <a:latin typeface="+mj-lt"/>
              </a:rPr>
              <a:t>Agenda</a:t>
            </a:r>
          </a:p>
        </p:txBody>
      </p:sp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93D8E2CB-F501-427F-AB72-AD329BB2B8EE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93D8E2CB-F501-427F-AB72-AD329BB2B8E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Box 8">
            <a:extLst>
              <a:ext uri="{FF2B5EF4-FFF2-40B4-BE49-F238E27FC236}">
                <a16:creationId xmlns:a16="http://schemas.microsoft.com/office/drawing/2014/main" id="{965E7406-2900-49FA-AE54-764DF6158DC6}"/>
              </a:ext>
            </a:extLst>
          </p:cNvPr>
          <p:cNvSpPr txBox="1"/>
          <p:nvPr/>
        </p:nvSpPr>
        <p:spPr bwMode="white">
          <a:xfrm>
            <a:off x="11167872" y="6442872"/>
            <a:ext cx="38100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0" kern="120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3" name="Copyright">
            <a:extLst>
              <a:ext uri="{FF2B5EF4-FFF2-40B4-BE49-F238E27FC236}">
                <a16:creationId xmlns:a16="http://schemas.microsoft.com/office/drawing/2014/main" id="{B3A15E69-109E-4C95-BE14-7EF192C8197B}"/>
              </a:ext>
            </a:extLst>
          </p:cNvPr>
          <p:cNvSpPr txBox="1"/>
          <p:nvPr/>
        </p:nvSpPr>
        <p:spPr>
          <a:xfrm rot="16200000">
            <a:off x="9486902" y="3934616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chemeClr val="bg1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E7D951E7-972B-4AAA-992A-A1211D290280}"/>
              </a:ext>
            </a:extLst>
          </p:cNvPr>
          <p:cNvSpPr/>
          <p:nvPr/>
        </p:nvSpPr>
        <p:spPr bwMode="invGray">
          <a:xfrm>
            <a:off x="1388146" y="4691187"/>
            <a:ext cx="929337" cy="995874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endParaRPr lang="en-US" sz="1500">
              <a:solidFill>
                <a:prstClr val="white"/>
              </a:solidFill>
              <a:latin typeface="Trebuchet MS" panose="020B0603020202020204" pitchFamily="34" charset="0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7580F9D3-F883-43FE-889C-F6DBAE3109C9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2509483" y="4691187"/>
            <a:ext cx="1570152" cy="1468176"/>
          </a:xfrm>
          <a:prstGeom prst="rect">
            <a:avLst/>
          </a:prstGeom>
          <a:noFill/>
          <a:ln w="9525" cmpd="sng">
            <a:solidFill>
              <a:srgbClr val="FFFFFF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5000" rIns="137160" bIns="13716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900">
              <a:solidFill>
                <a:srgbClr val="FFFFFF"/>
              </a:solidFill>
              <a:latin typeface="Trebuchet MS" panose="020B0603020202020204" pitchFamily="34" charset="0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7F96D345-9906-43FB-83D5-36B8AD887C5D}"/>
              </a:ext>
            </a:extLst>
          </p:cNvPr>
          <p:cNvSpPr txBox="1"/>
          <p:nvPr/>
        </p:nvSpPr>
        <p:spPr>
          <a:xfrm>
            <a:off x="630000" y="907201"/>
            <a:ext cx="3448800" cy="915351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txBody>
          <a:bodyPr wrap="square" lIns="459000" tIns="35100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endParaRPr lang="en-US" sz="4050">
              <a:solidFill>
                <a:schemeClr val="bg1"/>
              </a:solidFill>
            </a:endParaRPr>
          </a:p>
        </p:txBody>
      </p:sp>
      <p:sp>
        <p:nvSpPr>
          <p:cNvPr id="17" name="TextBox 1">
            <a:extLst>
              <a:ext uri="{FF2B5EF4-FFF2-40B4-BE49-F238E27FC236}">
                <a16:creationId xmlns:a16="http://schemas.microsoft.com/office/drawing/2014/main" id="{3D06A49F-0D13-47FF-94A6-4CF467AD34EC}"/>
              </a:ext>
            </a:extLst>
          </p:cNvPr>
          <p:cNvSpPr txBox="1"/>
          <p:nvPr/>
        </p:nvSpPr>
        <p:spPr>
          <a:xfrm>
            <a:off x="1412918" y="1115416"/>
            <a:ext cx="1882246" cy="68441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4050">
                <a:solidFill>
                  <a:schemeClr val="bg1"/>
                </a:solidFill>
                <a:latin typeface="+mj-lt"/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35846552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genda Section Header">
    <p:bg>
      <p:bgPr>
        <a:gradFill>
          <a:gsLst>
            <a:gs pos="0">
              <a:schemeClr val="tx2"/>
            </a:gs>
            <a:gs pos="100000">
              <a:schemeClr val="accent1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32212608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/>
        </p:nvSpPr>
        <p:spPr bwMode="white">
          <a:xfrm>
            <a:off x="11167872" y="6442872"/>
            <a:ext cx="38100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0" kern="120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0" name="Rectangle 9"/>
          <p:cNvSpPr/>
          <p:nvPr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900">
              <a:solidFill>
                <a:schemeClr val="bg1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1285200" y="2667600"/>
            <a:ext cx="9619200" cy="3200400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500">
              <a:solidFill>
                <a:prstClr val="white"/>
              </a:solidFill>
              <a:latin typeface="Trebuchet MS" panose="020B0603020202020204" pitchFamily="34" charset="0"/>
            </a:endParaRPr>
          </a:p>
        </p:txBody>
      </p:sp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7F5FB9FF-4F61-4A0D-AAA9-6394D1B1E3B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63492020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7F5FB9FF-4F61-4A0D-AAA9-6394D1B1E3B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Box 7">
            <a:extLst>
              <a:ext uri="{FF2B5EF4-FFF2-40B4-BE49-F238E27FC236}">
                <a16:creationId xmlns:a16="http://schemas.microsoft.com/office/drawing/2014/main" id="{D3C12C94-46C7-43EC-BBCB-EAC1525AF2B7}"/>
              </a:ext>
            </a:extLst>
          </p:cNvPr>
          <p:cNvSpPr txBox="1"/>
          <p:nvPr/>
        </p:nvSpPr>
        <p:spPr bwMode="white">
          <a:xfrm>
            <a:off x="11167872" y="6442872"/>
            <a:ext cx="38100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0" kern="120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9" name="Copyright">
            <a:extLst>
              <a:ext uri="{FF2B5EF4-FFF2-40B4-BE49-F238E27FC236}">
                <a16:creationId xmlns:a16="http://schemas.microsoft.com/office/drawing/2014/main" id="{61CC060A-D4EB-454F-8D69-E94BA21AC048}"/>
              </a:ext>
            </a:extLst>
          </p:cNvPr>
          <p:cNvSpPr txBox="1"/>
          <p:nvPr/>
        </p:nvSpPr>
        <p:spPr>
          <a:xfrm rot="16200000">
            <a:off x="9486902" y="3934616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chemeClr val="bg1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D74354DE-C747-497A-9A2D-C70BF9DA959F}"/>
              </a:ext>
            </a:extLst>
          </p:cNvPr>
          <p:cNvSpPr/>
          <p:nvPr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900">
              <a:solidFill>
                <a:schemeClr val="bg1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FD2709DA-CCB6-47BB-9E3D-5535A5C80BC9}"/>
              </a:ext>
            </a:extLst>
          </p:cNvPr>
          <p:cNvSpPr/>
          <p:nvPr/>
        </p:nvSpPr>
        <p:spPr>
          <a:xfrm>
            <a:off x="1285200" y="2667600"/>
            <a:ext cx="9619200" cy="3200400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500">
              <a:solidFill>
                <a:prstClr val="white"/>
              </a:solidFill>
              <a:latin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159856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genda Full Width Overview">
    <p:bg>
      <p:bgPr>
        <a:gradFill>
          <a:gsLst>
            <a:gs pos="0">
              <a:schemeClr val="tx2"/>
            </a:gs>
            <a:gs pos="100000">
              <a:schemeClr val="accent1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/>
        </p:nvSpPr>
        <p:spPr bwMode="white">
          <a:xfrm>
            <a:off x="11167872" y="6442872"/>
            <a:ext cx="38100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0" kern="120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0" name="Title 1"/>
          <p:cNvSpPr txBox="1">
            <a:spLocks/>
          </p:cNvSpPr>
          <p:nvPr/>
        </p:nvSpPr>
        <p:spPr>
          <a:xfrm>
            <a:off x="630001" y="622800"/>
            <a:ext cx="7189999" cy="353174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sz="2550">
                <a:solidFill>
                  <a:schemeClr val="bg1"/>
                </a:solidFill>
              </a:rPr>
              <a:t>Agenda</a:t>
            </a:r>
          </a:p>
        </p:txBody>
      </p:sp>
      <p:cxnSp>
        <p:nvCxnSpPr>
          <p:cNvPr id="13" name="Straight Connector 12"/>
          <p:cNvCxnSpPr/>
          <p:nvPr/>
        </p:nvCxnSpPr>
        <p:spPr bwMode="white">
          <a:xfrm>
            <a:off x="618899" y="1206000"/>
            <a:ext cx="11576304" cy="0"/>
          </a:xfrm>
          <a:prstGeom prst="line">
            <a:avLst/>
          </a:prstGeom>
          <a:ln w="9525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AA96963C-38CF-4F5A-B1BB-202AF2B2D48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AA96963C-38CF-4F5A-B1BB-202AF2B2D48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Box 7">
            <a:extLst>
              <a:ext uri="{FF2B5EF4-FFF2-40B4-BE49-F238E27FC236}">
                <a16:creationId xmlns:a16="http://schemas.microsoft.com/office/drawing/2014/main" id="{FC92D8D5-5407-4BD5-9A9E-6214C61E1EB6}"/>
              </a:ext>
            </a:extLst>
          </p:cNvPr>
          <p:cNvSpPr txBox="1"/>
          <p:nvPr/>
        </p:nvSpPr>
        <p:spPr bwMode="white">
          <a:xfrm>
            <a:off x="11167872" y="6442872"/>
            <a:ext cx="38100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0" kern="120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9" name="Copyright">
            <a:extLst>
              <a:ext uri="{FF2B5EF4-FFF2-40B4-BE49-F238E27FC236}">
                <a16:creationId xmlns:a16="http://schemas.microsoft.com/office/drawing/2014/main" id="{20A0556E-DF24-4677-94D7-D7D1C519D892}"/>
              </a:ext>
            </a:extLst>
          </p:cNvPr>
          <p:cNvSpPr txBox="1"/>
          <p:nvPr/>
        </p:nvSpPr>
        <p:spPr>
          <a:xfrm rot="16200000">
            <a:off x="9486902" y="3934616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chemeClr val="bg1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994105E4-3FBE-43BA-9D40-6135541FE346}"/>
              </a:ext>
            </a:extLst>
          </p:cNvPr>
          <p:cNvSpPr txBox="1">
            <a:spLocks/>
          </p:cNvSpPr>
          <p:nvPr/>
        </p:nvSpPr>
        <p:spPr>
          <a:xfrm>
            <a:off x="630001" y="622800"/>
            <a:ext cx="7189999" cy="353174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sz="2550">
                <a:solidFill>
                  <a:schemeClr val="bg1"/>
                </a:solidFill>
              </a:rPr>
              <a:t>Agenda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D19A0171-1E0F-46AE-8851-EB6590436E0A}"/>
              </a:ext>
            </a:extLst>
          </p:cNvPr>
          <p:cNvCxnSpPr/>
          <p:nvPr/>
        </p:nvCxnSpPr>
        <p:spPr bwMode="white">
          <a:xfrm>
            <a:off x="618899" y="1206000"/>
            <a:ext cx="11576304" cy="0"/>
          </a:xfrm>
          <a:prstGeom prst="line">
            <a:avLst/>
          </a:prstGeom>
          <a:ln w="9525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031250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genda Two-Thirds">
    <p:bg>
      <p:bgPr>
        <a:gradFill>
          <a:gsLst>
            <a:gs pos="0">
              <a:schemeClr val="tx2"/>
            </a:gs>
            <a:gs pos="100000">
              <a:schemeClr val="accent1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70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/>
        </p:nvSpPr>
        <p:spPr bwMode="white">
          <a:xfrm>
            <a:off x="4080764" y="-1309"/>
            <a:ext cx="8111237" cy="685930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9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11167872" y="6443508"/>
            <a:ext cx="38100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0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630002" y="3207717"/>
            <a:ext cx="1547143" cy="3323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2400">
                <a:solidFill>
                  <a:schemeClr val="bg1"/>
                </a:solidFill>
              </a:rPr>
              <a:t>Agenda</a:t>
            </a:r>
          </a:p>
        </p:txBody>
      </p:sp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6F9784FC-2044-49DA-B055-675A1931CA6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6F9784FC-2044-49DA-B055-675A1931CA6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>
            <a:extLst>
              <a:ext uri="{FF2B5EF4-FFF2-40B4-BE49-F238E27FC236}">
                <a16:creationId xmlns:a16="http://schemas.microsoft.com/office/drawing/2014/main" id="{7BCED54C-8BA6-429E-9F80-1478FC7CDF25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70" y="0"/>
            <a:ext cx="416951" cy="6858000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D20CD14F-6CC5-4863-9C2F-2AB84ECE4E3C}"/>
              </a:ext>
            </a:extLst>
          </p:cNvPr>
          <p:cNvSpPr/>
          <p:nvPr/>
        </p:nvSpPr>
        <p:spPr bwMode="white">
          <a:xfrm>
            <a:off x="4080764" y="-1309"/>
            <a:ext cx="8111237" cy="685930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9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1" name="Copyright">
            <a:extLst>
              <a:ext uri="{FF2B5EF4-FFF2-40B4-BE49-F238E27FC236}">
                <a16:creationId xmlns:a16="http://schemas.microsoft.com/office/drawing/2014/main" id="{EF614D30-6C8E-4C28-BA0F-B2789528A10E}"/>
              </a:ext>
            </a:extLst>
          </p:cNvPr>
          <p:cNvSpPr txBox="1"/>
          <p:nvPr/>
        </p:nvSpPr>
        <p:spPr>
          <a:xfrm rot="16200000">
            <a:off x="9486902" y="3934616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8BA57249-09A0-44A7-9F52-366CDA838090}"/>
              </a:ext>
            </a:extLst>
          </p:cNvPr>
          <p:cNvSpPr txBox="1"/>
          <p:nvPr/>
        </p:nvSpPr>
        <p:spPr>
          <a:xfrm>
            <a:off x="11167872" y="6443508"/>
            <a:ext cx="38100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0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4BBDE87F-1E96-4AFA-ABA6-BE3AFAAC26D3}"/>
              </a:ext>
            </a:extLst>
          </p:cNvPr>
          <p:cNvSpPr txBox="1"/>
          <p:nvPr/>
        </p:nvSpPr>
        <p:spPr>
          <a:xfrm>
            <a:off x="630002" y="3207717"/>
            <a:ext cx="1547143" cy="3323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2400">
                <a:solidFill>
                  <a:schemeClr val="bg1"/>
                </a:solidFill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34510880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 Overvie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/>
        </p:nvSpPr>
        <p:spPr bwMode="invGray">
          <a:xfrm>
            <a:off x="1388146" y="4691187"/>
            <a:ext cx="929337" cy="995874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endParaRPr lang="en-US" sz="1500">
              <a:solidFill>
                <a:prstClr val="white"/>
              </a:solidFill>
              <a:latin typeface="Trebuchet MS" panose="020B0603020202020204" pitchFamily="34" charset="0"/>
            </a:endParaRPr>
          </a:p>
        </p:txBody>
      </p:sp>
      <p:sp>
        <p:nvSpPr>
          <p:cNvPr id="10" name="Rectangle 9"/>
          <p:cNvSpPr/>
          <p:nvPr>
            <p:custDataLst>
              <p:tags r:id="rId2"/>
            </p:custDataLst>
          </p:nvPr>
        </p:nvSpPr>
        <p:spPr>
          <a:xfrm>
            <a:off x="2509483" y="4691187"/>
            <a:ext cx="1570152" cy="1468176"/>
          </a:xfrm>
          <a:prstGeom prst="rect">
            <a:avLst/>
          </a:prstGeom>
          <a:noFill/>
          <a:ln w="9525" cmpd="sng">
            <a:solidFill>
              <a:schemeClr val="accent4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5000" rIns="137160" bIns="13716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900">
              <a:solidFill>
                <a:srgbClr val="FFFFFF"/>
              </a:solidFill>
              <a:latin typeface="Trebuchet MS" panose="020B0603020202020204" pitchFamily="34" charset="0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630000" y="907200"/>
            <a:ext cx="3448800" cy="915351"/>
          </a:xfrm>
          <a:prstGeom prst="rect">
            <a:avLst/>
          </a:prstGeom>
          <a:noFill/>
          <a:ln>
            <a:solidFill>
              <a:schemeClr val="accent4"/>
            </a:solidFill>
          </a:ln>
        </p:spPr>
        <p:txBody>
          <a:bodyPr wrap="square" lIns="459000" tIns="35100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endParaRPr lang="en-US" sz="4050">
              <a:solidFill>
                <a:schemeClr val="accent4"/>
              </a:solidFill>
            </a:endParaRPr>
          </a:p>
        </p:txBody>
      </p:sp>
      <p:sp>
        <p:nvSpPr>
          <p:cNvPr id="9" name="TextBox 1"/>
          <p:cNvSpPr txBox="1"/>
          <p:nvPr/>
        </p:nvSpPr>
        <p:spPr>
          <a:xfrm>
            <a:off x="1412918" y="1115416"/>
            <a:ext cx="1882246" cy="68441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 sz="5400">
                <a:solidFill>
                  <a:schemeClr val="accent4"/>
                </a:solidFill>
                <a:latin typeface="+mj-lt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r>
              <a:rPr lang="en-US" sz="4050"/>
              <a:t>Agenda</a:t>
            </a:r>
          </a:p>
        </p:txBody>
      </p:sp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B27EE71F-EBBC-4095-991C-ED3BDB17DC1B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B27EE71F-EBBC-4095-991C-ED3BDB17DC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Copyright">
            <a:extLst>
              <a:ext uri="{FF2B5EF4-FFF2-40B4-BE49-F238E27FC236}">
                <a16:creationId xmlns:a16="http://schemas.microsoft.com/office/drawing/2014/main" id="{5F8039A2-D4A2-4229-BC97-C9DD8365A83E}"/>
              </a:ext>
            </a:extLst>
          </p:cNvPr>
          <p:cNvSpPr txBox="1"/>
          <p:nvPr/>
        </p:nvSpPr>
        <p:spPr>
          <a:xfrm rot="16200000">
            <a:off x="9486902" y="3934616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7F17D71-C927-4F71-AA0B-901133446463}"/>
              </a:ext>
            </a:extLst>
          </p:cNvPr>
          <p:cNvSpPr/>
          <p:nvPr/>
        </p:nvSpPr>
        <p:spPr bwMode="invGray">
          <a:xfrm>
            <a:off x="1388146" y="4691187"/>
            <a:ext cx="929337" cy="995874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endParaRPr lang="en-US" sz="1500">
              <a:solidFill>
                <a:prstClr val="white"/>
              </a:solidFill>
              <a:latin typeface="Trebuchet MS" panose="020B0603020202020204" pitchFamily="34" charset="0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CD0F58B0-4B8F-496C-A243-6420E9556493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2509483" y="4691187"/>
            <a:ext cx="1570152" cy="1468176"/>
          </a:xfrm>
          <a:prstGeom prst="rect">
            <a:avLst/>
          </a:prstGeom>
          <a:noFill/>
          <a:ln w="9525" cmpd="sng">
            <a:solidFill>
              <a:schemeClr val="accent4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5000" rIns="137160" bIns="13716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900">
              <a:solidFill>
                <a:srgbClr val="FFFFFF"/>
              </a:solidFill>
              <a:latin typeface="Trebuchet MS" panose="020B0603020202020204" pitchFamily="34" charset="0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9EB50631-14BC-4AFF-AE1D-B1F6FF125804}"/>
              </a:ext>
            </a:extLst>
          </p:cNvPr>
          <p:cNvSpPr txBox="1"/>
          <p:nvPr/>
        </p:nvSpPr>
        <p:spPr>
          <a:xfrm>
            <a:off x="630000" y="907200"/>
            <a:ext cx="3448800" cy="915351"/>
          </a:xfrm>
          <a:prstGeom prst="rect">
            <a:avLst/>
          </a:prstGeom>
          <a:noFill/>
          <a:ln>
            <a:solidFill>
              <a:schemeClr val="accent4"/>
            </a:solidFill>
          </a:ln>
        </p:spPr>
        <p:txBody>
          <a:bodyPr wrap="square" lIns="459000" tIns="35100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endParaRPr lang="en-US" sz="4050">
              <a:solidFill>
                <a:schemeClr val="accent4"/>
              </a:solidFill>
            </a:endParaRPr>
          </a:p>
        </p:txBody>
      </p:sp>
      <p:sp>
        <p:nvSpPr>
          <p:cNvPr id="16" name="TextBox 1">
            <a:extLst>
              <a:ext uri="{FF2B5EF4-FFF2-40B4-BE49-F238E27FC236}">
                <a16:creationId xmlns:a16="http://schemas.microsoft.com/office/drawing/2014/main" id="{9D2361A4-AD59-4853-BBF7-ABB27C0D9A25}"/>
              </a:ext>
            </a:extLst>
          </p:cNvPr>
          <p:cNvSpPr txBox="1"/>
          <p:nvPr/>
        </p:nvSpPr>
        <p:spPr>
          <a:xfrm>
            <a:off x="1412918" y="1115416"/>
            <a:ext cx="1882246" cy="68441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 sz="5400">
                <a:solidFill>
                  <a:schemeClr val="accent4"/>
                </a:solidFill>
                <a:latin typeface="+mj-lt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r>
              <a:rPr lang="en-US" sz="4050"/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13142627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99313881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900">
              <a:solidFill>
                <a:schemeClr val="bg1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1285200" y="2667600"/>
            <a:ext cx="9619200" cy="3200400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500">
              <a:solidFill>
                <a:prstClr val="white"/>
              </a:solidFill>
              <a:latin typeface="Trebuchet MS" panose="020B0603020202020204" pitchFamily="34" charset="0"/>
            </a:endParaRPr>
          </a:p>
        </p:txBody>
      </p:sp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1A75181E-4BC0-4F88-9F31-7F092E7182E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40061710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1A75181E-4BC0-4F88-9F31-7F092E7182E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Copyright">
            <a:extLst>
              <a:ext uri="{FF2B5EF4-FFF2-40B4-BE49-F238E27FC236}">
                <a16:creationId xmlns:a16="http://schemas.microsoft.com/office/drawing/2014/main" id="{7FEBB0FD-54E9-4F22-9B4F-E41A142A32EC}"/>
              </a:ext>
            </a:extLst>
          </p:cNvPr>
          <p:cNvSpPr txBox="1"/>
          <p:nvPr/>
        </p:nvSpPr>
        <p:spPr>
          <a:xfrm rot="16200000">
            <a:off x="9486902" y="3934616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AD56F49F-7D26-4449-BD9B-55461D7892E9}"/>
              </a:ext>
            </a:extLst>
          </p:cNvPr>
          <p:cNvSpPr/>
          <p:nvPr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900">
              <a:solidFill>
                <a:schemeClr val="bg1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B0BC4044-C092-4234-8D4C-1DE73826A2EE}"/>
              </a:ext>
            </a:extLst>
          </p:cNvPr>
          <p:cNvSpPr/>
          <p:nvPr/>
        </p:nvSpPr>
        <p:spPr>
          <a:xfrm>
            <a:off x="1285200" y="2667600"/>
            <a:ext cx="9619200" cy="3200400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500">
              <a:solidFill>
                <a:prstClr val="white"/>
              </a:solidFill>
              <a:latin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27576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Full Width Overvie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1"/>
          <p:cNvSpPr txBox="1">
            <a:spLocks/>
          </p:cNvSpPr>
          <p:nvPr/>
        </p:nvSpPr>
        <p:spPr>
          <a:xfrm>
            <a:off x="630001" y="622800"/>
            <a:ext cx="7189999" cy="353174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sz="2550">
                <a:solidFill>
                  <a:schemeClr val="accent4"/>
                </a:solidFill>
              </a:rPr>
              <a:t>Agenda</a:t>
            </a:r>
          </a:p>
        </p:txBody>
      </p:sp>
      <p:cxnSp>
        <p:nvCxnSpPr>
          <p:cNvPr id="9" name="Straight Connector 8"/>
          <p:cNvCxnSpPr/>
          <p:nvPr/>
        </p:nvCxnSpPr>
        <p:spPr bwMode="white">
          <a:xfrm>
            <a:off x="618899" y="1206000"/>
            <a:ext cx="11576304" cy="0"/>
          </a:xfrm>
          <a:prstGeom prst="line">
            <a:avLst/>
          </a:prstGeom>
          <a:ln w="9525" cmpd="sng">
            <a:solidFill>
              <a:schemeClr val="accent4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8B2E813F-9B7F-4E68-8DE6-FFF742B1692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8B2E813F-9B7F-4E68-8DE6-FFF742B1692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Copyright">
            <a:extLst>
              <a:ext uri="{FF2B5EF4-FFF2-40B4-BE49-F238E27FC236}">
                <a16:creationId xmlns:a16="http://schemas.microsoft.com/office/drawing/2014/main" id="{12242FE9-3A86-4265-8411-2B1E21DE908D}"/>
              </a:ext>
            </a:extLst>
          </p:cNvPr>
          <p:cNvSpPr txBox="1"/>
          <p:nvPr/>
        </p:nvSpPr>
        <p:spPr>
          <a:xfrm rot="16200000">
            <a:off x="9486902" y="3934616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70945525-5C4E-4277-8CE8-97A287CE2302}"/>
              </a:ext>
            </a:extLst>
          </p:cNvPr>
          <p:cNvSpPr txBox="1">
            <a:spLocks/>
          </p:cNvSpPr>
          <p:nvPr/>
        </p:nvSpPr>
        <p:spPr>
          <a:xfrm>
            <a:off x="630001" y="622800"/>
            <a:ext cx="7189999" cy="353174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sz="2550">
                <a:solidFill>
                  <a:schemeClr val="accent4"/>
                </a:solidFill>
              </a:rPr>
              <a:t>Agenda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4746E9DF-6F5D-4C88-8F98-717DC125B27A}"/>
              </a:ext>
            </a:extLst>
          </p:cNvPr>
          <p:cNvCxnSpPr/>
          <p:nvPr/>
        </p:nvCxnSpPr>
        <p:spPr bwMode="white">
          <a:xfrm>
            <a:off x="618899" y="1206000"/>
            <a:ext cx="11576304" cy="0"/>
          </a:xfrm>
          <a:prstGeom prst="line">
            <a:avLst/>
          </a:prstGeom>
          <a:ln w="9525" cmpd="sng">
            <a:solidFill>
              <a:schemeClr val="accent4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801096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935613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</a:pPr>
            <a:endParaRPr lang="en-US" sz="5400" b="0" i="0" baseline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11" name="Freeform: Shape 31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/>
        </p:nvSpPr>
        <p:spPr>
          <a:xfrm>
            <a:off x="0" y="6326127"/>
            <a:ext cx="12188952" cy="531873"/>
          </a:xfrm>
          <a:custGeom>
            <a:avLst/>
            <a:gdLst>
              <a:gd name="connsiteX0" fmla="*/ 8400285 w 12188952"/>
              <a:gd name="connsiteY0" fmla="*/ 0 h 531873"/>
              <a:gd name="connsiteX1" fmla="*/ 12188950 w 12188952"/>
              <a:gd name="connsiteY1" fmla="*/ 0 h 531873"/>
              <a:gd name="connsiteX2" fmla="*/ 12188950 w 12188952"/>
              <a:gd name="connsiteY2" fmla="*/ 239773 h 531873"/>
              <a:gd name="connsiteX3" fmla="*/ 12188952 w 12188952"/>
              <a:gd name="connsiteY3" fmla="*/ 239773 h 531873"/>
              <a:gd name="connsiteX4" fmla="*/ 12188952 w 12188952"/>
              <a:gd name="connsiteY4" fmla="*/ 531873 h 531873"/>
              <a:gd name="connsiteX5" fmla="*/ 0 w 12188952"/>
              <a:gd name="connsiteY5" fmla="*/ 531873 h 531873"/>
              <a:gd name="connsiteX6" fmla="*/ 0 w 12188952"/>
              <a:gd name="connsiteY6" fmla="*/ 239773 h 531873"/>
              <a:gd name="connsiteX7" fmla="*/ 8220629 w 12188952"/>
              <a:gd name="connsiteY7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88952" h="531873">
                <a:moveTo>
                  <a:pt x="8400285" y="0"/>
                </a:moveTo>
                <a:lnTo>
                  <a:pt x="12188950" y="0"/>
                </a:lnTo>
                <a:lnTo>
                  <a:pt x="12188950" y="239773"/>
                </a:lnTo>
                <a:lnTo>
                  <a:pt x="12188952" y="239773"/>
                </a:lnTo>
                <a:lnTo>
                  <a:pt x="12188952" y="531873"/>
                </a:lnTo>
                <a:lnTo>
                  <a:pt x="0" y="531873"/>
                </a:lnTo>
                <a:lnTo>
                  <a:pt x="0" y="239773"/>
                </a:lnTo>
                <a:lnTo>
                  <a:pt x="8220629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20" name="Title 1">
            <a:extLst>
              <a:ext uri="{FF2B5EF4-FFF2-40B4-BE49-F238E27FC236}">
                <a16:creationId xmlns:a16="http://schemas.microsoft.com/office/drawing/2014/main" id="{5256DD11-030E-4276-B7F9-8800AF6ADF2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1122363"/>
            <a:ext cx="9144000" cy="2387600"/>
          </a:xfrm>
        </p:spPr>
        <p:txBody>
          <a:bodyPr vert="horz" anchor="b">
            <a:noAutofit/>
          </a:bodyPr>
          <a:lstStyle>
            <a:lvl1pPr algn="ctr">
              <a:defRPr sz="6000" b="1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</a:t>
            </a:r>
            <a:br>
              <a:rPr lang="en-US"/>
            </a:br>
            <a:r>
              <a:rPr lang="en-US"/>
              <a:t>title style</a:t>
            </a:r>
            <a:endParaRPr lang="en-IN"/>
          </a:p>
        </p:txBody>
      </p:sp>
      <p:sp>
        <p:nvSpPr>
          <p:cNvPr id="21" name="Subtitle 2">
            <a:extLst>
              <a:ext uri="{FF2B5EF4-FFF2-40B4-BE49-F238E27FC236}">
                <a16:creationId xmlns:a16="http://schemas.microsoft.com/office/drawing/2014/main" id="{780C3700-E3C2-478C-8875-962D0768B72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IN"/>
          </a:p>
        </p:txBody>
      </p:sp>
      <p:pic>
        <p:nvPicPr>
          <p:cNvPr id="28" name="Picture 27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429217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genda D. Two-Thirds">
    <p:bg>
      <p:bgPr>
        <a:gradFill>
          <a:gsLst>
            <a:gs pos="0">
              <a:schemeClr val="tx2"/>
            </a:gs>
            <a:gs pos="100000">
              <a:schemeClr val="accent1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22"/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70" y="0"/>
            <a:ext cx="416951" cy="6858000"/>
          </a:xfrm>
          <a:prstGeom prst="rect">
            <a:avLst/>
          </a:prstGeom>
        </p:spPr>
      </p:pic>
      <p:sp>
        <p:nvSpPr>
          <p:cNvPr id="26" name="Rectangle 25"/>
          <p:cNvSpPr/>
          <p:nvPr/>
        </p:nvSpPr>
        <p:spPr bwMode="ltGray">
          <a:xfrm>
            <a:off x="4080764" y="-1309"/>
            <a:ext cx="8111237" cy="68593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9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11167872" y="6443508"/>
            <a:ext cx="38100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0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630002" y="3262147"/>
            <a:ext cx="1161047" cy="2492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1800">
                <a:solidFill>
                  <a:schemeClr val="bg1"/>
                </a:solidFill>
              </a:rPr>
              <a:t>Agenda</a:t>
            </a:r>
          </a:p>
        </p:txBody>
      </p:sp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61F70779-295E-497C-8BEC-31585D205F1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61F70779-295E-497C-8BEC-31585D205F1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>
            <a:extLst>
              <a:ext uri="{FF2B5EF4-FFF2-40B4-BE49-F238E27FC236}">
                <a16:creationId xmlns:a16="http://schemas.microsoft.com/office/drawing/2014/main" id="{199B4020-76AB-4136-97C9-A6CD854316F3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70" y="0"/>
            <a:ext cx="416951" cy="6858000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D522C366-DB6D-4C8D-9D59-4F9CC16C77C8}"/>
              </a:ext>
            </a:extLst>
          </p:cNvPr>
          <p:cNvSpPr/>
          <p:nvPr/>
        </p:nvSpPr>
        <p:spPr bwMode="ltGray">
          <a:xfrm>
            <a:off x="4080764" y="-1309"/>
            <a:ext cx="8111237" cy="68593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9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1" name="Copyright">
            <a:extLst>
              <a:ext uri="{FF2B5EF4-FFF2-40B4-BE49-F238E27FC236}">
                <a16:creationId xmlns:a16="http://schemas.microsoft.com/office/drawing/2014/main" id="{C5ECF22D-5202-47DF-9F52-697A4E902611}"/>
              </a:ext>
            </a:extLst>
          </p:cNvPr>
          <p:cNvSpPr txBox="1"/>
          <p:nvPr/>
        </p:nvSpPr>
        <p:spPr>
          <a:xfrm rot="16200000">
            <a:off x="9486902" y="3934616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BEAF7890-5214-4402-A605-63A74970BBD3}"/>
              </a:ext>
            </a:extLst>
          </p:cNvPr>
          <p:cNvSpPr txBox="1"/>
          <p:nvPr/>
        </p:nvSpPr>
        <p:spPr>
          <a:xfrm>
            <a:off x="11167872" y="6443508"/>
            <a:ext cx="38100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0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47CAA9D0-FFF9-45E7-8F92-6F51C6E4264A}"/>
              </a:ext>
            </a:extLst>
          </p:cNvPr>
          <p:cNvSpPr txBox="1"/>
          <p:nvPr/>
        </p:nvSpPr>
        <p:spPr>
          <a:xfrm>
            <a:off x="630002" y="3262147"/>
            <a:ext cx="1161047" cy="2492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1800">
                <a:solidFill>
                  <a:schemeClr val="bg1"/>
                </a:solidFill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37990851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genda D. Table of Contents">
    <p:bg>
      <p:bgPr>
        <a:gradFill>
          <a:gsLst>
            <a:gs pos="0">
              <a:schemeClr val="tx2"/>
            </a:gs>
            <a:gs pos="100000">
              <a:schemeClr val="accent1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 12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750"/>
              </a:spcAft>
            </a:pPr>
            <a:endParaRPr lang="en-US" sz="90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7" name="Freeform 12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750"/>
              </a:spcAft>
            </a:pPr>
            <a:endParaRPr lang="en-US" sz="90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630000" y="2821109"/>
            <a:ext cx="2819400" cy="127541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indent="0">
              <a:lnSpc>
                <a:spcPct val="106000"/>
              </a:lnSpc>
              <a:spcAft>
                <a:spcPts val="525"/>
              </a:spcAft>
              <a:buFontTx/>
              <a:buNone/>
            </a:pPr>
            <a:r>
              <a:rPr lang="en-US" sz="405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Table of contents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11167872" y="6443508"/>
            <a:ext cx="38100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0" kern="120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9" name="Picture 8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8637" y="3586748"/>
            <a:ext cx="1365251" cy="3382962"/>
          </a:xfrm>
          <a:custGeom>
            <a:avLst/>
            <a:gdLst>
              <a:gd name="connsiteX0" fmla="*/ 94280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28720 w 1365250"/>
              <a:gd name="connsiteY3" fmla="*/ 3382962 h 3382962"/>
              <a:gd name="connsiteX4" fmla="*/ 0 w 1365250"/>
              <a:gd name="connsiteY4" fmla="*/ 0 h 3382962"/>
              <a:gd name="connsiteX5" fmla="*/ 929501 w 1365250"/>
              <a:gd name="connsiteY5" fmla="*/ 0 h 3382962"/>
              <a:gd name="connsiteX6" fmla="*/ 0 w 1365250"/>
              <a:gd name="connsiteY6" fmla="*/ 2860398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65250" h="3382962">
                <a:moveTo>
                  <a:pt x="94280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28720" y="3382962"/>
                </a:lnTo>
                <a:close/>
                <a:moveTo>
                  <a:pt x="0" y="0"/>
                </a:moveTo>
                <a:lnTo>
                  <a:pt x="929501" y="0"/>
                </a:lnTo>
                <a:lnTo>
                  <a:pt x="0" y="2860398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E2176413-9331-4E98-93C6-0A18755077B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E2176413-9331-4E98-93C6-0A18755077B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Freeform 12">
            <a:extLst>
              <a:ext uri="{FF2B5EF4-FFF2-40B4-BE49-F238E27FC236}">
                <a16:creationId xmlns:a16="http://schemas.microsoft.com/office/drawing/2014/main" id="{1F2D7C13-FA3E-4A99-BD5A-546B6911020A}"/>
              </a:ext>
            </a:extLst>
          </p:cNvPr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750"/>
              </a:spcAft>
            </a:pPr>
            <a:endParaRPr lang="en-US" sz="90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6B05F8D7-75A5-46A3-9D59-BFD99446E69E}"/>
              </a:ext>
            </a:extLst>
          </p:cNvPr>
          <p:cNvSpPr txBox="1"/>
          <p:nvPr/>
        </p:nvSpPr>
        <p:spPr>
          <a:xfrm>
            <a:off x="630000" y="2821109"/>
            <a:ext cx="2819400" cy="127541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indent="0">
              <a:lnSpc>
                <a:spcPct val="106000"/>
              </a:lnSpc>
              <a:spcAft>
                <a:spcPts val="525"/>
              </a:spcAft>
              <a:buFontTx/>
              <a:buNone/>
            </a:pPr>
            <a:r>
              <a:rPr lang="en-US" sz="405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Table of contents</a:t>
            </a:r>
          </a:p>
        </p:txBody>
      </p:sp>
      <p:sp>
        <p:nvSpPr>
          <p:cNvPr id="12" name="Copyright">
            <a:extLst>
              <a:ext uri="{FF2B5EF4-FFF2-40B4-BE49-F238E27FC236}">
                <a16:creationId xmlns:a16="http://schemas.microsoft.com/office/drawing/2014/main" id="{3211B59C-E0AB-4FBB-975F-11C2AE15CB3E}"/>
              </a:ext>
            </a:extLst>
          </p:cNvPr>
          <p:cNvSpPr txBox="1"/>
          <p:nvPr/>
        </p:nvSpPr>
        <p:spPr>
          <a:xfrm rot="16200000">
            <a:off x="9486902" y="3934616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chemeClr val="bg1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DD3E13F1-F910-40CE-9631-B71A64244CCF}"/>
              </a:ext>
            </a:extLst>
          </p:cNvPr>
          <p:cNvSpPr txBox="1"/>
          <p:nvPr/>
        </p:nvSpPr>
        <p:spPr>
          <a:xfrm>
            <a:off x="11167872" y="6443508"/>
            <a:ext cx="38100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0" kern="120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57DA25A6-77F0-46F8-AA66-05E57BFB21C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8637" y="3586748"/>
            <a:ext cx="1365251" cy="3382962"/>
          </a:xfrm>
          <a:custGeom>
            <a:avLst/>
            <a:gdLst>
              <a:gd name="connsiteX0" fmla="*/ 94280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28720 w 1365250"/>
              <a:gd name="connsiteY3" fmla="*/ 3382962 h 3382962"/>
              <a:gd name="connsiteX4" fmla="*/ 0 w 1365250"/>
              <a:gd name="connsiteY4" fmla="*/ 0 h 3382962"/>
              <a:gd name="connsiteX5" fmla="*/ 929501 w 1365250"/>
              <a:gd name="connsiteY5" fmla="*/ 0 h 3382962"/>
              <a:gd name="connsiteX6" fmla="*/ 0 w 1365250"/>
              <a:gd name="connsiteY6" fmla="*/ 2860398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65250" h="3382962">
                <a:moveTo>
                  <a:pt x="94280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28720" y="3382962"/>
                </a:lnTo>
                <a:close/>
                <a:moveTo>
                  <a:pt x="0" y="0"/>
                </a:moveTo>
                <a:lnTo>
                  <a:pt x="929501" y="0"/>
                </a:lnTo>
                <a:lnTo>
                  <a:pt x="0" y="2860398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7332295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1BFB3C2-DAA7-41FF-B79A-519CB4418C4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A5C3BEC-9D51-43DF-91C1-61FA057E988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880D9A6-D3B3-4D37-825D-78C543C95C0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8E6A28-2C91-4631-B390-9FCD0226A1ED}" type="datetimeFigureOut">
              <a:rPr lang="en-IN" smtClean="0"/>
              <a:t>28-05-2025</a:t>
            </a:fld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328F374-EDC1-4CD5-BD60-E7BA01C16F1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561BB25-C4BC-4282-B8CF-559D61AF9DE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787163482"/>
      </p:ext>
    </p:extLst>
  </p:cSld>
  <p:clrMapOvr>
    <a:masterClrMapping/>
  </p:clrMapOvr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935613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</a:pPr>
            <a:endParaRPr lang="en-US" sz="5400" b="0" i="0" baseline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11" name="Freeform: Shape 31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/>
        </p:nvSpPr>
        <p:spPr>
          <a:xfrm>
            <a:off x="0" y="6326127"/>
            <a:ext cx="12188952" cy="531873"/>
          </a:xfrm>
          <a:custGeom>
            <a:avLst/>
            <a:gdLst>
              <a:gd name="connsiteX0" fmla="*/ 8400285 w 12188952"/>
              <a:gd name="connsiteY0" fmla="*/ 0 h 531873"/>
              <a:gd name="connsiteX1" fmla="*/ 12188950 w 12188952"/>
              <a:gd name="connsiteY1" fmla="*/ 0 h 531873"/>
              <a:gd name="connsiteX2" fmla="*/ 12188950 w 12188952"/>
              <a:gd name="connsiteY2" fmla="*/ 239773 h 531873"/>
              <a:gd name="connsiteX3" fmla="*/ 12188952 w 12188952"/>
              <a:gd name="connsiteY3" fmla="*/ 239773 h 531873"/>
              <a:gd name="connsiteX4" fmla="*/ 12188952 w 12188952"/>
              <a:gd name="connsiteY4" fmla="*/ 531873 h 531873"/>
              <a:gd name="connsiteX5" fmla="*/ 0 w 12188952"/>
              <a:gd name="connsiteY5" fmla="*/ 531873 h 531873"/>
              <a:gd name="connsiteX6" fmla="*/ 0 w 12188952"/>
              <a:gd name="connsiteY6" fmla="*/ 239773 h 531873"/>
              <a:gd name="connsiteX7" fmla="*/ 8220629 w 12188952"/>
              <a:gd name="connsiteY7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88952" h="531873">
                <a:moveTo>
                  <a:pt x="8400285" y="0"/>
                </a:moveTo>
                <a:lnTo>
                  <a:pt x="12188950" y="0"/>
                </a:lnTo>
                <a:lnTo>
                  <a:pt x="12188950" y="239773"/>
                </a:lnTo>
                <a:lnTo>
                  <a:pt x="12188952" y="239773"/>
                </a:lnTo>
                <a:lnTo>
                  <a:pt x="12188952" y="531873"/>
                </a:lnTo>
                <a:lnTo>
                  <a:pt x="0" y="531873"/>
                </a:lnTo>
                <a:lnTo>
                  <a:pt x="0" y="239773"/>
                </a:lnTo>
                <a:lnTo>
                  <a:pt x="8220629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20" name="Title 1">
            <a:extLst>
              <a:ext uri="{FF2B5EF4-FFF2-40B4-BE49-F238E27FC236}">
                <a16:creationId xmlns:a16="http://schemas.microsoft.com/office/drawing/2014/main" id="{5256DD11-030E-4276-B7F9-8800AF6ADF2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1122363"/>
            <a:ext cx="9144000" cy="2387600"/>
          </a:xfrm>
        </p:spPr>
        <p:txBody>
          <a:bodyPr vert="horz" anchor="b">
            <a:noAutofit/>
          </a:bodyPr>
          <a:lstStyle>
            <a:lvl1pPr algn="ctr">
              <a:defRPr sz="6000" b="1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</a:t>
            </a:r>
            <a:br>
              <a:rPr lang="en-US"/>
            </a:br>
            <a:r>
              <a:rPr lang="en-US"/>
              <a:t>title style</a:t>
            </a:r>
            <a:endParaRPr lang="en-IN"/>
          </a:p>
        </p:txBody>
      </p:sp>
      <p:sp>
        <p:nvSpPr>
          <p:cNvPr id="21" name="Subtitle 2">
            <a:extLst>
              <a:ext uri="{FF2B5EF4-FFF2-40B4-BE49-F238E27FC236}">
                <a16:creationId xmlns:a16="http://schemas.microsoft.com/office/drawing/2014/main" id="{780C3700-E3C2-478C-8875-962D0768B72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IN"/>
          </a:p>
        </p:txBody>
      </p:sp>
      <p:pic>
        <p:nvPicPr>
          <p:cNvPr id="28" name="Picture 27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648576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lient Agenda Section Header">
    <p:bg>
      <p:bgPr>
        <a:solidFill>
          <a:srgbClr val="ED1C2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6728278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/>
          <p:cNvSpPr/>
          <p:nvPr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1285200" y="2667600"/>
            <a:ext cx="9619200" cy="3200400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</a:endParaRPr>
          </a:p>
        </p:txBody>
      </p:sp>
      <p:sp>
        <p:nvSpPr>
          <p:cNvPr id="8" name="Copyright" hidden="1"/>
          <p:cNvSpPr txBox="1"/>
          <p:nvPr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8103544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690042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Copyright" hidden="1"/>
          <p:cNvSpPr txBox="1"/>
          <p:nvPr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2000250" y="622800"/>
            <a:ext cx="95631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FF000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0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871885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ex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59147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FCE4FFF-81B3-4CDA-B0A1-3363FFB22A6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000250" y="622800"/>
            <a:ext cx="9563100" cy="470898"/>
          </a:xfrm>
        </p:spPr>
        <p:txBody>
          <a:bodyPr vert="horz"/>
          <a:lstStyle>
            <a:lvl1pPr>
              <a:defRPr sz="3400"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1F54B2F8-C51F-4566-BAC0-8A0C8E57548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29399" y="2085628"/>
            <a:ext cx="10933801" cy="4089131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/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/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/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800"/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8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Copyright" hidden="1"/>
          <p:cNvSpPr txBox="1"/>
          <p:nvPr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0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499105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Gray slice head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/>
        </p:nvSpPr>
        <p:spPr bwMode="ltGray">
          <a:xfrm>
            <a:off x="1" y="-1309"/>
            <a:ext cx="46944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ltGray">
          <a:xfrm>
            <a:off x="630000" y="1544274"/>
            <a:ext cx="3452400" cy="1495794"/>
          </a:xfrm>
          <a:noFill/>
        </p:spPr>
        <p:txBody>
          <a:bodyPr vert="horz" wrap="square" lIns="0" tIns="0" rIns="320040" bIns="0" anchor="b">
            <a:noAutofit/>
          </a:bodyPr>
          <a:lstStyle>
            <a:lvl1pPr>
              <a:defRPr sz="3200">
                <a:solidFill>
                  <a:srgbClr val="FF0000"/>
                </a:solidFill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2" name="Copyright" hidden="1"/>
          <p:cNvSpPr txBox="1"/>
          <p:nvPr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3" name="Freeform: Shape 31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/>
        </p:nvSpPr>
        <p:spPr>
          <a:xfrm>
            <a:off x="0" y="6326127"/>
            <a:ext cx="12188952" cy="531873"/>
          </a:xfrm>
          <a:custGeom>
            <a:avLst/>
            <a:gdLst>
              <a:gd name="connsiteX0" fmla="*/ 8400285 w 12188952"/>
              <a:gd name="connsiteY0" fmla="*/ 0 h 531873"/>
              <a:gd name="connsiteX1" fmla="*/ 12188950 w 12188952"/>
              <a:gd name="connsiteY1" fmla="*/ 0 h 531873"/>
              <a:gd name="connsiteX2" fmla="*/ 12188950 w 12188952"/>
              <a:gd name="connsiteY2" fmla="*/ 239773 h 531873"/>
              <a:gd name="connsiteX3" fmla="*/ 12188952 w 12188952"/>
              <a:gd name="connsiteY3" fmla="*/ 239773 h 531873"/>
              <a:gd name="connsiteX4" fmla="*/ 12188952 w 12188952"/>
              <a:gd name="connsiteY4" fmla="*/ 531873 h 531873"/>
              <a:gd name="connsiteX5" fmla="*/ 0 w 12188952"/>
              <a:gd name="connsiteY5" fmla="*/ 531873 h 531873"/>
              <a:gd name="connsiteX6" fmla="*/ 0 w 12188952"/>
              <a:gd name="connsiteY6" fmla="*/ 239773 h 531873"/>
              <a:gd name="connsiteX7" fmla="*/ 8220629 w 12188952"/>
              <a:gd name="connsiteY7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88952" h="531873">
                <a:moveTo>
                  <a:pt x="8400285" y="0"/>
                </a:moveTo>
                <a:lnTo>
                  <a:pt x="12188950" y="0"/>
                </a:lnTo>
                <a:lnTo>
                  <a:pt x="12188950" y="239773"/>
                </a:lnTo>
                <a:lnTo>
                  <a:pt x="12188952" y="239773"/>
                </a:lnTo>
                <a:lnTo>
                  <a:pt x="12188952" y="531873"/>
                </a:lnTo>
                <a:lnTo>
                  <a:pt x="0" y="531873"/>
                </a:lnTo>
                <a:lnTo>
                  <a:pt x="0" y="239773"/>
                </a:lnTo>
                <a:lnTo>
                  <a:pt x="8220629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5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6" name="Picture 15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16616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box">
    <p:bg bwMode="grayWhite"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284742" y="2668041"/>
            <a:ext cx="9620491" cy="3201026"/>
          </a:xfrm>
          <a:prstGeom prst="rect">
            <a:avLst/>
          </a:prstGeom>
          <a:ln w="9525">
            <a:solidFill>
              <a:schemeClr val="bg1"/>
            </a:solidFill>
          </a:ln>
        </p:spPr>
        <p:txBody>
          <a:bodyPr lIns="274320" tIns="274320" rIns="274320" bIns="137160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sp>
        <p:nvSpPr>
          <p:cNvPr id="59" name="Rectangle 58"/>
          <p:cNvSpPr/>
          <p:nvPr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8" name="Copyright" hidden="1"/>
          <p:cNvSpPr txBox="1"/>
          <p:nvPr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054993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line">
    <p:bg bwMode="blackWhite"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3826800"/>
            <a:ext cx="10936800" cy="2041200"/>
          </a:xfrm>
        </p:spPr>
        <p:txBody>
          <a:bodyPr anchor="t">
            <a:noAutofit/>
          </a:bodyPr>
          <a:lstStyle>
            <a:lvl1pPr>
              <a:defRPr sz="5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cxnSp>
        <p:nvCxnSpPr>
          <p:cNvPr id="148" name="Straight Connector 147"/>
          <p:cNvCxnSpPr/>
          <p:nvPr/>
        </p:nvCxnSpPr>
        <p:spPr bwMode="white">
          <a:xfrm>
            <a:off x="618898" y="3680016"/>
            <a:ext cx="11576304" cy="0"/>
          </a:xfrm>
          <a:prstGeom prst="line">
            <a:avLst/>
          </a:prstGeom>
          <a:ln w="19050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Box 6"/>
          <p:cNvSpPr txBox="1"/>
          <p:nvPr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1607968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Client Agenda Section Header">
    <p:bg>
      <p:bgPr>
        <a:solidFill>
          <a:srgbClr val="ED1C2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0631016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/>
          <p:cNvSpPr/>
          <p:nvPr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1285200" y="2667600"/>
            <a:ext cx="9619200" cy="3200400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</a:endParaRPr>
          </a:p>
        </p:txBody>
      </p:sp>
      <p:sp>
        <p:nvSpPr>
          <p:cNvPr id="8" name="Copyright" hidden="1"/>
          <p:cNvSpPr txBox="1"/>
          <p:nvPr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0585859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White one third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Picture 15"/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4064994" y="0"/>
            <a:ext cx="416951" cy="6858000"/>
          </a:xfrm>
          <a:prstGeom prst="rect">
            <a:avLst/>
          </a:prstGeom>
        </p:spPr>
      </p:pic>
      <p:sp>
        <p:nvSpPr>
          <p:cNvPr id="26" name="Rectangle 25"/>
          <p:cNvSpPr/>
          <p:nvPr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7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3200">
                <a:solidFill>
                  <a:srgbClr val="FF000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2" name="Copyright" hidden="1"/>
          <p:cNvSpPr txBox="1"/>
          <p:nvPr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21" name="Freeform 20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/>
        </p:nvSpPr>
        <p:spPr>
          <a:xfrm>
            <a:off x="0" y="6565900"/>
            <a:ext cx="4008608" cy="292100"/>
          </a:xfrm>
          <a:custGeom>
            <a:avLst/>
            <a:gdLst>
              <a:gd name="connsiteX0" fmla="*/ 0 w 4008608"/>
              <a:gd name="connsiteY0" fmla="*/ 0 h 292100"/>
              <a:gd name="connsiteX1" fmla="*/ 4008608 w 4008608"/>
              <a:gd name="connsiteY1" fmla="*/ 0 h 292100"/>
              <a:gd name="connsiteX2" fmla="*/ 4008608 w 4008608"/>
              <a:gd name="connsiteY2" fmla="*/ 292100 h 292100"/>
              <a:gd name="connsiteX3" fmla="*/ 0 w 4008608"/>
              <a:gd name="connsiteY3" fmla="*/ 292100 h 292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08608" h="292100">
                <a:moveTo>
                  <a:pt x="0" y="0"/>
                </a:moveTo>
                <a:lnTo>
                  <a:pt x="4008608" y="0"/>
                </a:lnTo>
                <a:lnTo>
                  <a:pt x="4008608" y="292100"/>
                </a:lnTo>
                <a:lnTo>
                  <a:pt x="0" y="292100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5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796237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Green highlight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92177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7165606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/>
        </p:nvSpPr>
        <p:spPr bwMode="white">
          <a:xfrm>
            <a:off x="0" y="0"/>
            <a:ext cx="7171956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3" name="Title 3"/>
          <p:cNvSpPr>
            <a:spLocks noGrp="1"/>
          </p:cNvSpPr>
          <p:nvPr>
            <p:ph type="title" hasCustomPrompt="1"/>
          </p:nvPr>
        </p:nvSpPr>
        <p:spPr>
          <a:xfrm>
            <a:off x="2000250" y="622800"/>
            <a:ext cx="488655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FF000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2" name="Copyright" hidden="1"/>
          <p:cNvSpPr txBox="1"/>
          <p:nvPr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21" name="Freeform 20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/>
        </p:nvSpPr>
        <p:spPr>
          <a:xfrm>
            <a:off x="0" y="6565900"/>
            <a:ext cx="7101056" cy="292100"/>
          </a:xfrm>
          <a:custGeom>
            <a:avLst/>
            <a:gdLst>
              <a:gd name="connsiteX0" fmla="*/ 0 w 7101056"/>
              <a:gd name="connsiteY0" fmla="*/ 0 h 292100"/>
              <a:gd name="connsiteX1" fmla="*/ 7101056 w 7101056"/>
              <a:gd name="connsiteY1" fmla="*/ 0 h 292100"/>
              <a:gd name="connsiteX2" fmla="*/ 7101056 w 7101056"/>
              <a:gd name="connsiteY2" fmla="*/ 292100 h 292100"/>
              <a:gd name="connsiteX3" fmla="*/ 0 w 7101056"/>
              <a:gd name="connsiteY3" fmla="*/ 292100 h 292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101056" h="292100">
                <a:moveTo>
                  <a:pt x="0" y="0"/>
                </a:moveTo>
                <a:lnTo>
                  <a:pt x="7101056" y="0"/>
                </a:lnTo>
                <a:lnTo>
                  <a:pt x="7101056" y="292100"/>
                </a:lnTo>
                <a:lnTo>
                  <a:pt x="0" y="292100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8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717223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Green one third">
    <p:bg>
      <p:bgPr>
        <a:gradFill>
          <a:gsLst>
            <a:gs pos="39000">
              <a:srgbClr val="D81F30"/>
            </a:gs>
            <a:gs pos="100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11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3" name="Rectangle 12"/>
          <p:cNvSpPr/>
          <p:nvPr/>
        </p:nvSpPr>
        <p:spPr bwMode="white">
          <a:xfrm>
            <a:off x="4080763" y="-1309"/>
            <a:ext cx="8111237" cy="685930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9" name="Copyright" hidden="1"/>
          <p:cNvSpPr txBox="1"/>
          <p:nvPr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21" name="Freeform 20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/>
        </p:nvSpPr>
        <p:spPr>
          <a:xfrm>
            <a:off x="4151664" y="6326127"/>
            <a:ext cx="8037289" cy="531873"/>
          </a:xfrm>
          <a:custGeom>
            <a:avLst/>
            <a:gdLst>
              <a:gd name="connsiteX0" fmla="*/ 4248622 w 8037289"/>
              <a:gd name="connsiteY0" fmla="*/ 0 h 531873"/>
              <a:gd name="connsiteX1" fmla="*/ 8037287 w 8037289"/>
              <a:gd name="connsiteY1" fmla="*/ 0 h 531873"/>
              <a:gd name="connsiteX2" fmla="*/ 8037287 w 8037289"/>
              <a:gd name="connsiteY2" fmla="*/ 239773 h 531873"/>
              <a:gd name="connsiteX3" fmla="*/ 8037289 w 8037289"/>
              <a:gd name="connsiteY3" fmla="*/ 239773 h 531873"/>
              <a:gd name="connsiteX4" fmla="*/ 8037289 w 8037289"/>
              <a:gd name="connsiteY4" fmla="*/ 531873 h 531873"/>
              <a:gd name="connsiteX5" fmla="*/ 0 w 8037289"/>
              <a:gd name="connsiteY5" fmla="*/ 531873 h 531873"/>
              <a:gd name="connsiteX6" fmla="*/ 0 w 8037289"/>
              <a:gd name="connsiteY6" fmla="*/ 239773 h 531873"/>
              <a:gd name="connsiteX7" fmla="*/ 4068966 w 8037289"/>
              <a:gd name="connsiteY7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037289" h="531873">
                <a:moveTo>
                  <a:pt x="4248622" y="0"/>
                </a:moveTo>
                <a:lnTo>
                  <a:pt x="8037287" y="0"/>
                </a:lnTo>
                <a:lnTo>
                  <a:pt x="8037287" y="239773"/>
                </a:lnTo>
                <a:lnTo>
                  <a:pt x="8037289" y="239773"/>
                </a:lnTo>
                <a:lnTo>
                  <a:pt x="8037289" y="531873"/>
                </a:lnTo>
                <a:lnTo>
                  <a:pt x="0" y="531873"/>
                </a:lnTo>
                <a:lnTo>
                  <a:pt x="0" y="239773"/>
                </a:lnTo>
                <a:lnTo>
                  <a:pt x="4068966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9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732479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Green half">
    <p:bg bwMode="grayWhite">
      <p:bgPr>
        <a:gradFill>
          <a:gsLst>
            <a:gs pos="39000">
              <a:srgbClr val="D81F30"/>
            </a:gs>
            <a:gs pos="100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2" name="Rectangle 11"/>
          <p:cNvSpPr/>
          <p:nvPr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3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2021" y="0"/>
            <a:ext cx="6099977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baseline="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630000" y="1785600"/>
            <a:ext cx="4388400" cy="3286800"/>
          </a:xfrm>
          <a:prstGeom prst="rect">
            <a:avLst/>
          </a:prstGeom>
          <a:noFill/>
        </p:spPr>
        <p:txBody>
          <a:bodyPr wrap="square" lIns="0" tIns="0" rIns="320040" bIns="0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0" name="Copyright" hidden="1"/>
          <p:cNvSpPr txBox="1"/>
          <p:nvPr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23" name="Freeform 22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/>
        </p:nvSpPr>
        <p:spPr>
          <a:xfrm>
            <a:off x="6162922" y="6326127"/>
            <a:ext cx="6026031" cy="531873"/>
          </a:xfrm>
          <a:custGeom>
            <a:avLst/>
            <a:gdLst>
              <a:gd name="connsiteX0" fmla="*/ 2237364 w 6026031"/>
              <a:gd name="connsiteY0" fmla="*/ 0 h 531873"/>
              <a:gd name="connsiteX1" fmla="*/ 6026029 w 6026031"/>
              <a:gd name="connsiteY1" fmla="*/ 0 h 531873"/>
              <a:gd name="connsiteX2" fmla="*/ 6026029 w 6026031"/>
              <a:gd name="connsiteY2" fmla="*/ 239773 h 531873"/>
              <a:gd name="connsiteX3" fmla="*/ 6026031 w 6026031"/>
              <a:gd name="connsiteY3" fmla="*/ 239773 h 531873"/>
              <a:gd name="connsiteX4" fmla="*/ 6026031 w 6026031"/>
              <a:gd name="connsiteY4" fmla="*/ 531873 h 531873"/>
              <a:gd name="connsiteX5" fmla="*/ 0 w 6026031"/>
              <a:gd name="connsiteY5" fmla="*/ 531873 h 531873"/>
              <a:gd name="connsiteX6" fmla="*/ 0 w 6026031"/>
              <a:gd name="connsiteY6" fmla="*/ 239773 h 531873"/>
              <a:gd name="connsiteX7" fmla="*/ 2057708 w 6026031"/>
              <a:gd name="connsiteY7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026031" h="531873">
                <a:moveTo>
                  <a:pt x="2237364" y="0"/>
                </a:moveTo>
                <a:lnTo>
                  <a:pt x="6026029" y="0"/>
                </a:lnTo>
                <a:lnTo>
                  <a:pt x="6026029" y="239773"/>
                </a:lnTo>
                <a:lnTo>
                  <a:pt x="6026031" y="239773"/>
                </a:lnTo>
                <a:lnTo>
                  <a:pt x="6026031" y="531873"/>
                </a:lnTo>
                <a:lnTo>
                  <a:pt x="0" y="531873"/>
                </a:lnTo>
                <a:lnTo>
                  <a:pt x="0" y="239773"/>
                </a:lnTo>
                <a:lnTo>
                  <a:pt x="2057708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0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6" name="Picture 1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3611271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Green two third">
    <p:bg bwMode="grayWhite">
      <p:bgPr>
        <a:gradFill>
          <a:gsLst>
            <a:gs pos="39000">
              <a:srgbClr val="D81F30"/>
            </a:gs>
            <a:gs pos="100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7409849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/>
        </p:nvSpPr>
        <p:spPr bwMode="gray">
          <a:xfrm>
            <a:off x="7819543" y="0"/>
            <a:ext cx="4372457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1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20025" y="0"/>
            <a:ext cx="4371975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600">
                <a:solidFill>
                  <a:schemeClr val="tx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1804650"/>
            <a:ext cx="6247552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17" name="Copyright" hidden="1"/>
          <p:cNvSpPr txBox="1"/>
          <p:nvPr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22" name="Freeform 21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/>
        </p:nvSpPr>
        <p:spPr>
          <a:xfrm>
            <a:off x="7890926" y="6326127"/>
            <a:ext cx="4298027" cy="531873"/>
          </a:xfrm>
          <a:custGeom>
            <a:avLst/>
            <a:gdLst>
              <a:gd name="connsiteX0" fmla="*/ 509360 w 4298027"/>
              <a:gd name="connsiteY0" fmla="*/ 0 h 531873"/>
              <a:gd name="connsiteX1" fmla="*/ 4298025 w 4298027"/>
              <a:gd name="connsiteY1" fmla="*/ 0 h 531873"/>
              <a:gd name="connsiteX2" fmla="*/ 4298025 w 4298027"/>
              <a:gd name="connsiteY2" fmla="*/ 239773 h 531873"/>
              <a:gd name="connsiteX3" fmla="*/ 4298027 w 4298027"/>
              <a:gd name="connsiteY3" fmla="*/ 239773 h 531873"/>
              <a:gd name="connsiteX4" fmla="*/ 4298027 w 4298027"/>
              <a:gd name="connsiteY4" fmla="*/ 531873 h 531873"/>
              <a:gd name="connsiteX5" fmla="*/ 0 w 4298027"/>
              <a:gd name="connsiteY5" fmla="*/ 531873 h 531873"/>
              <a:gd name="connsiteX6" fmla="*/ 0 w 4298027"/>
              <a:gd name="connsiteY6" fmla="*/ 239773 h 531873"/>
              <a:gd name="connsiteX7" fmla="*/ 329704 w 4298027"/>
              <a:gd name="connsiteY7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298027" h="531873">
                <a:moveTo>
                  <a:pt x="509360" y="0"/>
                </a:moveTo>
                <a:lnTo>
                  <a:pt x="4298025" y="0"/>
                </a:lnTo>
                <a:lnTo>
                  <a:pt x="4298025" y="239773"/>
                </a:lnTo>
                <a:lnTo>
                  <a:pt x="4298027" y="239773"/>
                </a:lnTo>
                <a:lnTo>
                  <a:pt x="4298027" y="531873"/>
                </a:lnTo>
                <a:lnTo>
                  <a:pt x="0" y="531873"/>
                </a:lnTo>
                <a:lnTo>
                  <a:pt x="0" y="239773"/>
                </a:lnTo>
                <a:lnTo>
                  <a:pt x="329704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0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3" name="Picture 1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3788531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Left arrow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Freeform 14"/>
          <p:cNvSpPr/>
          <p:nvPr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pic>
        <p:nvPicPr>
          <p:cNvPr id="9" name="Picture 8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32442" y="3590399"/>
            <a:ext cx="1365250" cy="3382962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</p:spPr>
        <p:txBody>
          <a:bodyPr vert="horz" anchor="ctr" anchorCtr="0">
            <a:noAutofit/>
          </a:bodyPr>
          <a:lstStyle>
            <a:lvl1pPr>
              <a:defRPr sz="3200" baseline="0">
                <a:solidFill>
                  <a:srgbClr val="FF0000"/>
                </a:solidFill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8" name="Copyright" hidden="1"/>
          <p:cNvSpPr txBox="1"/>
          <p:nvPr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28" name="Freeform 27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/>
        </p:nvSpPr>
        <p:spPr>
          <a:xfrm>
            <a:off x="1" y="6565900"/>
            <a:ext cx="3266011" cy="292100"/>
          </a:xfrm>
          <a:custGeom>
            <a:avLst/>
            <a:gdLst>
              <a:gd name="connsiteX0" fmla="*/ 0 w 3266011"/>
              <a:gd name="connsiteY0" fmla="*/ 0 h 292100"/>
              <a:gd name="connsiteX1" fmla="*/ 3266011 w 3266011"/>
              <a:gd name="connsiteY1" fmla="*/ 0 h 292100"/>
              <a:gd name="connsiteX2" fmla="*/ 3195872 w 3266011"/>
              <a:gd name="connsiteY2" fmla="*/ 292100 h 292100"/>
              <a:gd name="connsiteX3" fmla="*/ 0 w 3266011"/>
              <a:gd name="connsiteY3" fmla="*/ 292100 h 292100"/>
              <a:gd name="connsiteX4" fmla="*/ 0 w 3266011"/>
              <a:gd name="connsiteY4" fmla="*/ 0 h 292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266011" h="292100">
                <a:moveTo>
                  <a:pt x="0" y="0"/>
                </a:moveTo>
                <a:lnTo>
                  <a:pt x="3266011" y="0"/>
                </a:lnTo>
                <a:lnTo>
                  <a:pt x="3195872" y="292100"/>
                </a:lnTo>
                <a:lnTo>
                  <a:pt x="0" y="292100"/>
                </a:lnTo>
                <a:lnTo>
                  <a:pt x="0" y="0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2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3257871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Green left arrow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14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gradFill flip="none" rotWithShape="1">
            <a:gsLst>
              <a:gs pos="0">
                <a:srgbClr val="403F85"/>
              </a:gs>
              <a:gs pos="81000">
                <a:srgbClr val="ED1B24"/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</p:spPr>
        <p:txBody>
          <a:bodyPr anchor="ctr" anchorCtr="0">
            <a:noAutofit/>
          </a:bodyPr>
          <a:lstStyle>
            <a:lvl1pPr>
              <a:defRPr sz="3200" baseline="0">
                <a:solidFill>
                  <a:srgbClr val="FFFFFF"/>
                </a:solidFill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216" b="7716"/>
          <a:stretch/>
        </p:blipFill>
        <p:spPr>
          <a:xfrm rot="120000">
            <a:off x="2174642" y="3402828"/>
            <a:ext cx="2694666" cy="3461745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  <p:sp>
        <p:nvSpPr>
          <p:cNvPr id="10" name="Copyright" hidden="1"/>
          <p:cNvSpPr txBox="1"/>
          <p:nvPr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22" name="Freeform 21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/>
        </p:nvSpPr>
        <p:spPr>
          <a:xfrm>
            <a:off x="3335834" y="6326127"/>
            <a:ext cx="8853119" cy="531873"/>
          </a:xfrm>
          <a:custGeom>
            <a:avLst/>
            <a:gdLst>
              <a:gd name="connsiteX0" fmla="*/ 5064452 w 8853119"/>
              <a:gd name="connsiteY0" fmla="*/ 0 h 531873"/>
              <a:gd name="connsiteX1" fmla="*/ 8853117 w 8853119"/>
              <a:gd name="connsiteY1" fmla="*/ 0 h 531873"/>
              <a:gd name="connsiteX2" fmla="*/ 8853117 w 8853119"/>
              <a:gd name="connsiteY2" fmla="*/ 239773 h 531873"/>
              <a:gd name="connsiteX3" fmla="*/ 8853119 w 8853119"/>
              <a:gd name="connsiteY3" fmla="*/ 239773 h 531873"/>
              <a:gd name="connsiteX4" fmla="*/ 8853119 w 8853119"/>
              <a:gd name="connsiteY4" fmla="*/ 531873 h 531873"/>
              <a:gd name="connsiteX5" fmla="*/ 0 w 8853119"/>
              <a:gd name="connsiteY5" fmla="*/ 531873 h 531873"/>
              <a:gd name="connsiteX6" fmla="*/ 70140 w 8853119"/>
              <a:gd name="connsiteY6" fmla="*/ 239773 h 531873"/>
              <a:gd name="connsiteX7" fmla="*/ 4884796 w 8853119"/>
              <a:gd name="connsiteY7" fmla="*/ 239773 h 531873"/>
              <a:gd name="connsiteX8" fmla="*/ 5064452 w 8853119"/>
              <a:gd name="connsiteY8" fmla="*/ 0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8853119" h="531873">
                <a:moveTo>
                  <a:pt x="5064452" y="0"/>
                </a:moveTo>
                <a:lnTo>
                  <a:pt x="8853117" y="0"/>
                </a:lnTo>
                <a:lnTo>
                  <a:pt x="8853117" y="239773"/>
                </a:lnTo>
                <a:lnTo>
                  <a:pt x="8853119" y="239773"/>
                </a:lnTo>
                <a:lnTo>
                  <a:pt x="8853119" y="531873"/>
                </a:lnTo>
                <a:lnTo>
                  <a:pt x="0" y="531873"/>
                </a:lnTo>
                <a:lnTo>
                  <a:pt x="70140" y="239773"/>
                </a:lnTo>
                <a:lnTo>
                  <a:pt x="4884796" y="239773"/>
                </a:lnTo>
                <a:lnTo>
                  <a:pt x="5064452" y="0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8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3" name="Picture 1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68703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rrow one third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24" imgH="324" progId="TCLayout.ActiveDocument.1">
                  <p:embed/>
                </p:oleObj>
              </mc:Choice>
              <mc:Fallback>
                <p:oleObj name="think-cell Slide" r:id="rId3" imgW="324" imgH="32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Pentagon 3"/>
          <p:cNvSpPr/>
          <p:nvPr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400" b="0">
                <a:solidFill>
                  <a:srgbClr val="FF000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5" name="Picture 14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81525" y="3394392"/>
            <a:ext cx="1298575" cy="3571875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Copyright" hidden="1"/>
          <p:cNvSpPr txBox="1"/>
          <p:nvPr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8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6" name="Freeform 25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/>
        </p:nvSpPr>
        <p:spPr>
          <a:xfrm>
            <a:off x="1" y="6565900"/>
            <a:ext cx="4713649" cy="292100"/>
          </a:xfrm>
          <a:custGeom>
            <a:avLst/>
            <a:gdLst>
              <a:gd name="connsiteX0" fmla="*/ 0 w 4713649"/>
              <a:gd name="connsiteY0" fmla="*/ 0 h 292100"/>
              <a:gd name="connsiteX1" fmla="*/ 4713649 w 4713649"/>
              <a:gd name="connsiteY1" fmla="*/ 0 h 292100"/>
              <a:gd name="connsiteX2" fmla="*/ 4653832 w 4713649"/>
              <a:gd name="connsiteY2" fmla="*/ 292100 h 292100"/>
              <a:gd name="connsiteX3" fmla="*/ 0 w 4713649"/>
              <a:gd name="connsiteY3" fmla="*/ 292100 h 292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713649" h="292100">
                <a:moveTo>
                  <a:pt x="0" y="0"/>
                </a:moveTo>
                <a:lnTo>
                  <a:pt x="4713649" y="0"/>
                </a:lnTo>
                <a:lnTo>
                  <a:pt x="4653832" y="292100"/>
                </a:lnTo>
                <a:lnTo>
                  <a:pt x="0" y="292100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2373181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Green arrow one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entagon 3"/>
          <p:cNvSpPr/>
          <p:nvPr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gradFill flip="none" rotWithShape="1">
            <a:gsLst>
              <a:gs pos="0">
                <a:srgbClr val="403F85"/>
              </a:gs>
              <a:gs pos="81000">
                <a:srgbClr val="ED1B24"/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562" b="6867"/>
          <a:stretch/>
        </p:blipFill>
        <p:spPr>
          <a:xfrm>
            <a:off x="3578059" y="3416300"/>
            <a:ext cx="2694666" cy="3441700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  <p:sp>
        <p:nvSpPr>
          <p:cNvPr id="10" name="Copyright" hidden="1"/>
          <p:cNvSpPr txBox="1"/>
          <p:nvPr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23" name="Freeform 22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/>
        </p:nvSpPr>
        <p:spPr>
          <a:xfrm>
            <a:off x="4795632" y="6326127"/>
            <a:ext cx="7393321" cy="531873"/>
          </a:xfrm>
          <a:custGeom>
            <a:avLst/>
            <a:gdLst>
              <a:gd name="connsiteX0" fmla="*/ 3604654 w 7393321"/>
              <a:gd name="connsiteY0" fmla="*/ 0 h 531873"/>
              <a:gd name="connsiteX1" fmla="*/ 7393319 w 7393321"/>
              <a:gd name="connsiteY1" fmla="*/ 0 h 531873"/>
              <a:gd name="connsiteX2" fmla="*/ 7393319 w 7393321"/>
              <a:gd name="connsiteY2" fmla="*/ 239773 h 531873"/>
              <a:gd name="connsiteX3" fmla="*/ 7393321 w 7393321"/>
              <a:gd name="connsiteY3" fmla="*/ 239773 h 531873"/>
              <a:gd name="connsiteX4" fmla="*/ 7393321 w 7393321"/>
              <a:gd name="connsiteY4" fmla="*/ 531873 h 531873"/>
              <a:gd name="connsiteX5" fmla="*/ 0 w 7393321"/>
              <a:gd name="connsiteY5" fmla="*/ 531873 h 531873"/>
              <a:gd name="connsiteX6" fmla="*/ 59817 w 7393321"/>
              <a:gd name="connsiteY6" fmla="*/ 239773 h 531873"/>
              <a:gd name="connsiteX7" fmla="*/ 3424998 w 7393321"/>
              <a:gd name="connsiteY7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393321" h="531873">
                <a:moveTo>
                  <a:pt x="3604654" y="0"/>
                </a:moveTo>
                <a:lnTo>
                  <a:pt x="7393319" y="0"/>
                </a:lnTo>
                <a:lnTo>
                  <a:pt x="7393319" y="239773"/>
                </a:lnTo>
                <a:lnTo>
                  <a:pt x="7393321" y="239773"/>
                </a:lnTo>
                <a:lnTo>
                  <a:pt x="7393321" y="531873"/>
                </a:lnTo>
                <a:lnTo>
                  <a:pt x="0" y="531873"/>
                </a:lnTo>
                <a:lnTo>
                  <a:pt x="59817" y="239773"/>
                </a:lnTo>
                <a:lnTo>
                  <a:pt x="3424998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9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263746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rrow half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765912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entagon 8"/>
          <p:cNvSpPr/>
          <p:nvPr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2000250" y="622800"/>
            <a:ext cx="3303396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FF000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7806" y="3589606"/>
            <a:ext cx="1365250" cy="3382962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Copyright" hidden="1"/>
          <p:cNvSpPr txBox="1"/>
          <p:nvPr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grpSp>
        <p:nvGrpSpPr>
          <p:cNvPr id="6" name="Group 5"/>
          <p:cNvGrpSpPr/>
          <p:nvPr/>
        </p:nvGrpSpPr>
        <p:grpSpPr>
          <a:xfrm>
            <a:off x="0" y="6565900"/>
            <a:ext cx="5538597" cy="292100"/>
            <a:chOff x="0" y="6565900"/>
            <a:chExt cx="5538597" cy="292100"/>
          </a:xfrm>
        </p:grpSpPr>
        <p:sp>
          <p:nvSpPr>
            <p:cNvPr id="34" name="Freeform 33">
              <a:extLst>
                <a:ext uri="{FF2B5EF4-FFF2-40B4-BE49-F238E27FC236}">
                  <a16:creationId xmlns:a16="http://schemas.microsoft.com/office/drawing/2014/main" id="{D6F1E491-2552-48AF-8871-FAF6B673CB54}"/>
                </a:ext>
              </a:extLst>
            </p:cNvPr>
            <p:cNvSpPr/>
            <p:nvPr/>
          </p:nvSpPr>
          <p:spPr>
            <a:xfrm>
              <a:off x="824948" y="6565900"/>
              <a:ext cx="4713649" cy="292100"/>
            </a:xfrm>
            <a:custGeom>
              <a:avLst/>
              <a:gdLst>
                <a:gd name="connsiteX0" fmla="*/ 0 w 4713649"/>
                <a:gd name="connsiteY0" fmla="*/ 0 h 292100"/>
                <a:gd name="connsiteX1" fmla="*/ 4713649 w 4713649"/>
                <a:gd name="connsiteY1" fmla="*/ 0 h 292100"/>
                <a:gd name="connsiteX2" fmla="*/ 4653832 w 4713649"/>
                <a:gd name="connsiteY2" fmla="*/ 292100 h 292100"/>
                <a:gd name="connsiteX3" fmla="*/ 0 w 4713649"/>
                <a:gd name="connsiteY3" fmla="*/ 292100 h 292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713649" h="292100">
                  <a:moveTo>
                    <a:pt x="0" y="0"/>
                  </a:moveTo>
                  <a:lnTo>
                    <a:pt x="4713649" y="0"/>
                  </a:lnTo>
                  <a:lnTo>
                    <a:pt x="4653832" y="292100"/>
                  </a:lnTo>
                  <a:lnTo>
                    <a:pt x="0" y="292100"/>
                  </a:lnTo>
                  <a:close/>
                </a:path>
              </a:pathLst>
            </a:custGeom>
            <a:solidFill>
              <a:srgbClr val="FF0000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1240B29-F687-4F45-9708-019B960494DF}">
                <a14:hiddenLine xmlns:a14="http://schemas.microsoft.com/office/drawing/2010/main" w="9525" cap="rnd" cmpd="sng" algn="ctr">
                  <a:solidFill>
                    <a:srgbClr val="29BA74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FFFFFF"/>
                </a:solidFill>
              </a:endParaRPr>
            </a:p>
          </p:txBody>
        </p:sp>
        <p:sp>
          <p:nvSpPr>
            <p:cNvPr id="5" name="Rectangle 4"/>
            <p:cNvSpPr/>
            <p:nvPr/>
          </p:nvSpPr>
          <p:spPr>
            <a:xfrm>
              <a:off x="0" y="6565900"/>
              <a:ext cx="1427967" cy="292100"/>
            </a:xfrm>
            <a:prstGeom prst="rect">
              <a:avLst/>
            </a:prstGeom>
            <a:solidFill>
              <a:srgbClr val="FF0000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1240B29-F687-4F45-9708-019B960494DF}">
                <a14:hiddenLine xmlns:a14="http://schemas.microsoft.com/office/drawing/2010/main" w="9525" cap="rnd" cmpd="sng" algn="ctr">
                  <a:solidFill>
                    <a:srgbClr val="29BA74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FFFFFF"/>
                </a:solidFill>
              </a:endParaRPr>
            </a:p>
          </p:txBody>
        </p:sp>
      </p:grpSp>
      <p:pic>
        <p:nvPicPr>
          <p:cNvPr id="12" name="Picture 11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298280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lient Agenda Section Header">
    <p:bg>
      <p:bgPr>
        <a:solidFill>
          <a:srgbClr val="ED1C2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2987095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/>
          <p:cNvSpPr/>
          <p:nvPr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1285200" y="2667600"/>
            <a:ext cx="9619200" cy="3200400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</a:endParaRPr>
          </a:p>
        </p:txBody>
      </p:sp>
      <p:sp>
        <p:nvSpPr>
          <p:cNvPr id="8" name="Copyright" hidden="1"/>
          <p:cNvSpPr txBox="1"/>
          <p:nvPr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4570743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Green arrow half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791809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entagon 8"/>
          <p:cNvSpPr/>
          <p:nvPr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gradFill flip="none" rotWithShape="1">
            <a:gsLst>
              <a:gs pos="0">
                <a:srgbClr val="403F85"/>
              </a:gs>
              <a:gs pos="81000">
                <a:srgbClr val="ED1B24"/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2000250" y="622800"/>
            <a:ext cx="3303396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4460172" y="3407803"/>
            <a:ext cx="2694666" cy="3456551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10" name="Copyright" hidden="1"/>
          <p:cNvSpPr txBox="1"/>
          <p:nvPr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23" name="Freeform 22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/>
        </p:nvSpPr>
        <p:spPr>
          <a:xfrm>
            <a:off x="914400" y="6326127"/>
            <a:ext cx="11274552" cy="531873"/>
          </a:xfrm>
          <a:custGeom>
            <a:avLst/>
            <a:gdLst>
              <a:gd name="connsiteX0" fmla="*/ 7485885 w 11274552"/>
              <a:gd name="connsiteY0" fmla="*/ 0 h 531873"/>
              <a:gd name="connsiteX1" fmla="*/ 11274550 w 11274552"/>
              <a:gd name="connsiteY1" fmla="*/ 0 h 531873"/>
              <a:gd name="connsiteX2" fmla="*/ 11274550 w 11274552"/>
              <a:gd name="connsiteY2" fmla="*/ 239773 h 531873"/>
              <a:gd name="connsiteX3" fmla="*/ 11274552 w 11274552"/>
              <a:gd name="connsiteY3" fmla="*/ 239773 h 531873"/>
              <a:gd name="connsiteX4" fmla="*/ 11274552 w 11274552"/>
              <a:gd name="connsiteY4" fmla="*/ 531873 h 531873"/>
              <a:gd name="connsiteX5" fmla="*/ 0 w 11274552"/>
              <a:gd name="connsiteY5" fmla="*/ 531873 h 531873"/>
              <a:gd name="connsiteX6" fmla="*/ 0 w 11274552"/>
              <a:gd name="connsiteY6" fmla="*/ 531872 h 531873"/>
              <a:gd name="connsiteX7" fmla="*/ 4696667 w 11274552"/>
              <a:gd name="connsiteY7" fmla="*/ 531872 h 531873"/>
              <a:gd name="connsiteX8" fmla="*/ 4766807 w 11274552"/>
              <a:gd name="connsiteY8" fmla="*/ 239773 h 531873"/>
              <a:gd name="connsiteX9" fmla="*/ 7306229 w 11274552"/>
              <a:gd name="connsiteY9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1274552" h="531873">
                <a:moveTo>
                  <a:pt x="7485885" y="0"/>
                </a:moveTo>
                <a:lnTo>
                  <a:pt x="11274550" y="0"/>
                </a:lnTo>
                <a:lnTo>
                  <a:pt x="11274550" y="239773"/>
                </a:lnTo>
                <a:lnTo>
                  <a:pt x="11274552" y="239773"/>
                </a:lnTo>
                <a:lnTo>
                  <a:pt x="11274552" y="531873"/>
                </a:lnTo>
                <a:lnTo>
                  <a:pt x="0" y="531873"/>
                </a:lnTo>
                <a:lnTo>
                  <a:pt x="0" y="531872"/>
                </a:lnTo>
                <a:lnTo>
                  <a:pt x="4696667" y="531872"/>
                </a:lnTo>
                <a:lnTo>
                  <a:pt x="4766807" y="239773"/>
                </a:lnTo>
                <a:lnTo>
                  <a:pt x="7306229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584024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rrow two third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359547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2000250" y="622800"/>
            <a:ext cx="488655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FF000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pic>
        <p:nvPicPr>
          <p:cNvPr id="16" name="Picture 15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90339" y="3589606"/>
            <a:ext cx="1365250" cy="3382962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Copyright" hidden="1"/>
          <p:cNvSpPr txBox="1"/>
          <p:nvPr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0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3" name="Freeform 22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/>
        </p:nvSpPr>
        <p:spPr>
          <a:xfrm>
            <a:off x="-1" y="6565900"/>
            <a:ext cx="7638826" cy="292100"/>
          </a:xfrm>
          <a:custGeom>
            <a:avLst/>
            <a:gdLst>
              <a:gd name="connsiteX0" fmla="*/ 0 w 7638826"/>
              <a:gd name="connsiteY0" fmla="*/ 0 h 292100"/>
              <a:gd name="connsiteX1" fmla="*/ 2925177 w 7638826"/>
              <a:gd name="connsiteY1" fmla="*/ 0 h 292100"/>
              <a:gd name="connsiteX2" fmla="*/ 6027750 w 7638826"/>
              <a:gd name="connsiteY2" fmla="*/ 0 h 292100"/>
              <a:gd name="connsiteX3" fmla="*/ 7638826 w 7638826"/>
              <a:gd name="connsiteY3" fmla="*/ 0 h 292100"/>
              <a:gd name="connsiteX4" fmla="*/ 7579009 w 7638826"/>
              <a:gd name="connsiteY4" fmla="*/ 292100 h 292100"/>
              <a:gd name="connsiteX5" fmla="*/ 5951257 w 7638826"/>
              <a:gd name="connsiteY5" fmla="*/ 292100 h 292100"/>
              <a:gd name="connsiteX6" fmla="*/ 2925177 w 7638826"/>
              <a:gd name="connsiteY6" fmla="*/ 292100 h 292100"/>
              <a:gd name="connsiteX7" fmla="*/ 0 w 7638826"/>
              <a:gd name="connsiteY7" fmla="*/ 292100 h 292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638826" h="292100">
                <a:moveTo>
                  <a:pt x="0" y="0"/>
                </a:moveTo>
                <a:lnTo>
                  <a:pt x="2925177" y="0"/>
                </a:lnTo>
                <a:lnTo>
                  <a:pt x="6027750" y="0"/>
                </a:lnTo>
                <a:lnTo>
                  <a:pt x="7638826" y="0"/>
                </a:lnTo>
                <a:lnTo>
                  <a:pt x="7579009" y="292100"/>
                </a:lnTo>
                <a:lnTo>
                  <a:pt x="5951257" y="292100"/>
                </a:lnTo>
                <a:lnTo>
                  <a:pt x="2925177" y="292100"/>
                </a:lnTo>
                <a:lnTo>
                  <a:pt x="0" y="292100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6473021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Green arrow two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210198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rgbClr val="403F85"/>
              </a:gs>
              <a:gs pos="81000">
                <a:srgbClr val="ED1B24"/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2000250" y="622800"/>
            <a:ext cx="488655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6567628" y="3407803"/>
            <a:ext cx="2694666" cy="3456551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10" name="Copyright" hidden="1"/>
          <p:cNvSpPr txBox="1"/>
          <p:nvPr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23" name="Freeform 22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/>
        </p:nvSpPr>
        <p:spPr>
          <a:xfrm>
            <a:off x="70900" y="6326127"/>
            <a:ext cx="12118052" cy="531873"/>
          </a:xfrm>
          <a:custGeom>
            <a:avLst/>
            <a:gdLst>
              <a:gd name="connsiteX0" fmla="*/ 8329385 w 12118052"/>
              <a:gd name="connsiteY0" fmla="*/ 0 h 531873"/>
              <a:gd name="connsiteX1" fmla="*/ 12118050 w 12118052"/>
              <a:gd name="connsiteY1" fmla="*/ 0 h 531873"/>
              <a:gd name="connsiteX2" fmla="*/ 12118050 w 12118052"/>
              <a:gd name="connsiteY2" fmla="*/ 239773 h 531873"/>
              <a:gd name="connsiteX3" fmla="*/ 12118052 w 12118052"/>
              <a:gd name="connsiteY3" fmla="*/ 239773 h 531873"/>
              <a:gd name="connsiteX4" fmla="*/ 12118052 w 12118052"/>
              <a:gd name="connsiteY4" fmla="*/ 531873 h 531873"/>
              <a:gd name="connsiteX5" fmla="*/ 0 w 12118052"/>
              <a:gd name="connsiteY5" fmla="*/ 531873 h 531873"/>
              <a:gd name="connsiteX6" fmla="*/ 0 w 12118052"/>
              <a:gd name="connsiteY6" fmla="*/ 531872 h 531873"/>
              <a:gd name="connsiteX7" fmla="*/ 7645979 w 12118052"/>
              <a:gd name="connsiteY7" fmla="*/ 531872 h 531873"/>
              <a:gd name="connsiteX8" fmla="*/ 7714149 w 12118052"/>
              <a:gd name="connsiteY8" fmla="*/ 239773 h 531873"/>
              <a:gd name="connsiteX9" fmla="*/ 8149729 w 12118052"/>
              <a:gd name="connsiteY9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118052" h="531873">
                <a:moveTo>
                  <a:pt x="8329385" y="0"/>
                </a:moveTo>
                <a:lnTo>
                  <a:pt x="12118050" y="0"/>
                </a:lnTo>
                <a:lnTo>
                  <a:pt x="12118050" y="239773"/>
                </a:lnTo>
                <a:lnTo>
                  <a:pt x="12118052" y="239773"/>
                </a:lnTo>
                <a:lnTo>
                  <a:pt x="12118052" y="531873"/>
                </a:lnTo>
                <a:lnTo>
                  <a:pt x="0" y="531873"/>
                </a:lnTo>
                <a:lnTo>
                  <a:pt x="0" y="531872"/>
                </a:lnTo>
                <a:lnTo>
                  <a:pt x="7645979" y="531872"/>
                </a:lnTo>
                <a:lnTo>
                  <a:pt x="7714149" y="239773"/>
                </a:lnTo>
                <a:lnTo>
                  <a:pt x="8149729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5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6" name="Picture 15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023848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ig statement green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sp>
        <p:nvSpPr>
          <p:cNvPr id="7" name="Copyright" hidden="1"/>
          <p:cNvSpPr txBox="1"/>
          <p:nvPr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831745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ig statement icon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/>
        </p:nvSpPr>
        <p:spPr bwMode="white">
          <a:xfrm>
            <a:off x="630000" y="1435623"/>
            <a:ext cx="932688" cy="932688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  <a:prstGeom prst="rect">
            <a:avLst/>
          </a:prstGeom>
        </p:spPr>
        <p:txBody>
          <a:bodyPr vert="horz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rgbClr val="FF0000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sp>
        <p:nvSpPr>
          <p:cNvPr id="11" name="Copyright" hidden="1"/>
          <p:cNvSpPr txBox="1"/>
          <p:nvPr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2" name="Freeform: Shape 31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/>
        </p:nvSpPr>
        <p:spPr>
          <a:xfrm>
            <a:off x="0" y="6326127"/>
            <a:ext cx="12188952" cy="531873"/>
          </a:xfrm>
          <a:custGeom>
            <a:avLst/>
            <a:gdLst>
              <a:gd name="connsiteX0" fmla="*/ 8400285 w 12188952"/>
              <a:gd name="connsiteY0" fmla="*/ 0 h 531873"/>
              <a:gd name="connsiteX1" fmla="*/ 12188950 w 12188952"/>
              <a:gd name="connsiteY1" fmla="*/ 0 h 531873"/>
              <a:gd name="connsiteX2" fmla="*/ 12188950 w 12188952"/>
              <a:gd name="connsiteY2" fmla="*/ 239773 h 531873"/>
              <a:gd name="connsiteX3" fmla="*/ 12188952 w 12188952"/>
              <a:gd name="connsiteY3" fmla="*/ 239773 h 531873"/>
              <a:gd name="connsiteX4" fmla="*/ 12188952 w 12188952"/>
              <a:gd name="connsiteY4" fmla="*/ 531873 h 531873"/>
              <a:gd name="connsiteX5" fmla="*/ 0 w 12188952"/>
              <a:gd name="connsiteY5" fmla="*/ 531873 h 531873"/>
              <a:gd name="connsiteX6" fmla="*/ 0 w 12188952"/>
              <a:gd name="connsiteY6" fmla="*/ 239773 h 531873"/>
              <a:gd name="connsiteX7" fmla="*/ 8220629 w 12188952"/>
              <a:gd name="connsiteY7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88952" h="531873">
                <a:moveTo>
                  <a:pt x="8400285" y="0"/>
                </a:moveTo>
                <a:lnTo>
                  <a:pt x="12188950" y="0"/>
                </a:lnTo>
                <a:lnTo>
                  <a:pt x="12188950" y="239773"/>
                </a:lnTo>
                <a:lnTo>
                  <a:pt x="12188952" y="239773"/>
                </a:lnTo>
                <a:lnTo>
                  <a:pt x="12188952" y="531873"/>
                </a:lnTo>
                <a:lnTo>
                  <a:pt x="0" y="531873"/>
                </a:lnTo>
                <a:lnTo>
                  <a:pt x="0" y="239773"/>
                </a:lnTo>
                <a:lnTo>
                  <a:pt x="8220629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4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52877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Quot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24" imgH="324" progId="TCLayout.ActiveDocument.1">
                  <p:embed/>
                </p:oleObj>
              </mc:Choice>
              <mc:Fallback>
                <p:oleObj name="think-cell Slide" r:id="rId3" imgW="324" imgH="32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34" b="1258"/>
          <a:stretch/>
        </p:blipFill>
        <p:spPr>
          <a:xfrm rot="16200000" flipH="1">
            <a:off x="6797461" y="101443"/>
            <a:ext cx="769257" cy="10019821"/>
          </a:xfrm>
          <a:custGeom>
            <a:avLst/>
            <a:gdLst>
              <a:gd name="connsiteX0" fmla="*/ 0 w 769257"/>
              <a:gd name="connsiteY0" fmla="*/ 0 h 10019821"/>
              <a:gd name="connsiteX1" fmla="*/ 0 w 769257"/>
              <a:gd name="connsiteY1" fmla="*/ 4631160 h 10019821"/>
              <a:gd name="connsiteX2" fmla="*/ 216750 w 769257"/>
              <a:gd name="connsiteY2" fmla="*/ 999646 h 10019821"/>
              <a:gd name="connsiteX3" fmla="*/ 197800 w 769257"/>
              <a:gd name="connsiteY3" fmla="*/ 10019821 h 10019821"/>
              <a:gd name="connsiteX4" fmla="*/ 769257 w 769257"/>
              <a:gd name="connsiteY4" fmla="*/ 10019821 h 10019821"/>
              <a:gd name="connsiteX5" fmla="*/ 769257 w 769257"/>
              <a:gd name="connsiteY5" fmla="*/ 0 h 10019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69257" h="10019821">
                <a:moveTo>
                  <a:pt x="0" y="0"/>
                </a:moveTo>
                <a:lnTo>
                  <a:pt x="0" y="4631160"/>
                </a:lnTo>
                <a:lnTo>
                  <a:pt x="216750" y="999646"/>
                </a:lnTo>
                <a:lnTo>
                  <a:pt x="197800" y="10019821"/>
                </a:lnTo>
                <a:lnTo>
                  <a:pt x="769257" y="10019821"/>
                </a:lnTo>
                <a:lnTo>
                  <a:pt x="769257" y="0"/>
                </a:lnTo>
                <a:close/>
              </a:path>
            </a:pathLst>
          </a:cu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0"/>
            <a:ext cx="12192000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619741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pecial gray">
    <p:bg>
      <p:bgPr>
        <a:solidFill>
          <a:schemeClr val="tx1">
            <a:lumMod val="85000"/>
            <a:lumOff val="1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238470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2000250" y="622800"/>
            <a:ext cx="9562950" cy="470898"/>
          </a:xfrm>
        </p:spPr>
        <p:txBody>
          <a:bodyPr vert="horz"/>
          <a:lstStyle>
            <a:lvl1pPr>
              <a:defRPr sz="3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7" name="Copyright" hidden="1"/>
          <p:cNvSpPr txBox="1"/>
          <p:nvPr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997400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pyright" hidden="1"/>
          <p:cNvSpPr txBox="1"/>
          <p:nvPr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723336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lank green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pyright" hidden="1"/>
          <p:cNvSpPr txBox="1"/>
          <p:nvPr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8033390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sclaim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pyright" hidden="1"/>
          <p:cNvSpPr txBox="1"/>
          <p:nvPr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4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357858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690042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Copyright" hidden="1"/>
          <p:cNvSpPr txBox="1"/>
          <p:nvPr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2000250" y="622800"/>
            <a:ext cx="95631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FF000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0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494541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4" name="Picture 13"/>
          <p:cNvPicPr>
            <a:picLocks noChangeAspect="1"/>
          </p:cNvPicPr>
          <p:nvPr/>
        </p:nvPicPr>
        <p:blipFill rotWithShape="1">
          <a:blip r:embed="rId5"/>
          <a:srcRect l="1079" t="8722" r="1079" b="8722"/>
          <a:stretch/>
        </p:blipFill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</p:spPr>
      </p:pic>
      <p:sp>
        <p:nvSpPr>
          <p:cNvPr id="11" name="Rectangle 10"/>
          <p:cNvSpPr/>
          <p:nvPr/>
        </p:nvSpPr>
        <p:spPr bwMode="black">
          <a:xfrm>
            <a:off x="630936" y="626200"/>
            <a:ext cx="8125200" cy="5529600"/>
          </a:xfrm>
          <a:prstGeom prst="rect">
            <a:avLst/>
          </a:prstGeom>
          <a:gradFill flip="none" rotWithShape="1">
            <a:gsLst>
              <a:gs pos="0">
                <a:srgbClr val="EF2427">
                  <a:shade val="30000"/>
                  <a:satMod val="115000"/>
                  <a:alpha val="76000"/>
                </a:srgbClr>
              </a:gs>
              <a:gs pos="100000">
                <a:srgbClr val="ED1B24">
                  <a:alpha val="61000"/>
                </a:srgb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62328" y="2992637"/>
            <a:ext cx="3062417" cy="7967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7362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8" name="Group 47"/>
          <p:cNvGrpSpPr/>
          <p:nvPr/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sp>
          <p:nvSpPr>
            <p:cNvPr id="55" name="Freeform 54"/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5678521 h 6858000"/>
                <a:gd name="connsiteX2" fmla="*/ 629400 w 12193200"/>
                <a:gd name="connsiteY2" fmla="*/ 5678521 h 6858000"/>
                <a:gd name="connsiteX3" fmla="*/ 629400 w 12193200"/>
                <a:gd name="connsiteY3" fmla="*/ 6583680 h 6858000"/>
                <a:gd name="connsiteX4" fmla="*/ 11562600 w 12193200"/>
                <a:gd name="connsiteY4" fmla="*/ 6583680 h 6858000"/>
                <a:gd name="connsiteX5" fmla="*/ 11562600 w 12193200"/>
                <a:gd name="connsiteY5" fmla="*/ 5678521 h 6858000"/>
                <a:gd name="connsiteX6" fmla="*/ 11562000 w 12193200"/>
                <a:gd name="connsiteY6" fmla="*/ 5678521 h 6858000"/>
                <a:gd name="connsiteX7" fmla="*/ 11562000 w 12193200"/>
                <a:gd name="connsiteY7" fmla="*/ 622800 h 6858000"/>
                <a:gd name="connsiteX8" fmla="*/ 0 w 12193200"/>
                <a:gd name="connsiteY8" fmla="*/ 0 h 6858000"/>
                <a:gd name="connsiteX9" fmla="*/ 12193200 w 12193200"/>
                <a:gd name="connsiteY9" fmla="*/ 0 h 6858000"/>
                <a:gd name="connsiteX10" fmla="*/ 12193200 w 12193200"/>
                <a:gd name="connsiteY10" fmla="*/ 622800 h 6858000"/>
                <a:gd name="connsiteX11" fmla="*/ 12192000 w 12193200"/>
                <a:gd name="connsiteY11" fmla="*/ 622800 h 6858000"/>
                <a:gd name="connsiteX12" fmla="*/ 12192000 w 12193200"/>
                <a:gd name="connsiteY12" fmla="*/ 6160597 h 6858000"/>
                <a:gd name="connsiteX13" fmla="*/ 12193200 w 12193200"/>
                <a:gd name="connsiteY13" fmla="*/ 6160597 h 6858000"/>
                <a:gd name="connsiteX14" fmla="*/ 12193200 w 12193200"/>
                <a:gd name="connsiteY14" fmla="*/ 6858000 h 6858000"/>
                <a:gd name="connsiteX15" fmla="*/ 12192000 w 12193200"/>
                <a:gd name="connsiteY15" fmla="*/ 6858000 h 6858000"/>
                <a:gd name="connsiteX16" fmla="*/ 11562000 w 12193200"/>
                <a:gd name="connsiteY16" fmla="*/ 6858000 h 6858000"/>
                <a:gd name="connsiteX17" fmla="*/ 630001 w 12193200"/>
                <a:gd name="connsiteY17" fmla="*/ 6858000 h 6858000"/>
                <a:gd name="connsiteX18" fmla="*/ 1 w 12193200"/>
                <a:gd name="connsiteY18" fmla="*/ 6858000 h 6858000"/>
                <a:gd name="connsiteX19" fmla="*/ 1 w 12193200"/>
                <a:gd name="connsiteY19" fmla="*/ 6160597 h 6858000"/>
                <a:gd name="connsiteX20" fmla="*/ 1 w 12193200"/>
                <a:gd name="connsiteY20" fmla="*/ 622800 h 6858000"/>
                <a:gd name="connsiteX21" fmla="*/ 0 w 12193200"/>
                <a:gd name="connsiteY21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5678521"/>
                  </a:lnTo>
                  <a:lnTo>
                    <a:pt x="629400" y="5678521"/>
                  </a:lnTo>
                  <a:lnTo>
                    <a:pt x="629400" y="6583680"/>
                  </a:lnTo>
                  <a:lnTo>
                    <a:pt x="11562600" y="6583680"/>
                  </a:lnTo>
                  <a:lnTo>
                    <a:pt x="11562600" y="5678521"/>
                  </a:lnTo>
                  <a:lnTo>
                    <a:pt x="11562000" y="5678521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chemeClr val="accent4">
                <a:lumMod val="20000"/>
                <a:lumOff val="80000"/>
                <a:alpha val="57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>
                <a:solidFill>
                  <a:schemeClr val="tx1"/>
                </a:solidFill>
              </a:endParaRPr>
            </a:p>
          </p:txBody>
        </p:sp>
        <p:grpSp>
          <p:nvGrpSpPr>
            <p:cNvPr id="56" name="Group 55"/>
            <p:cNvGrpSpPr/>
            <p:nvPr/>
          </p:nvGrpSpPr>
          <p:grpSpPr>
            <a:xfrm>
              <a:off x="-600" y="622800"/>
              <a:ext cx="12193200" cy="5055720"/>
              <a:chOff x="-600" y="622800"/>
              <a:chExt cx="12193200" cy="5055720"/>
            </a:xfrm>
          </p:grpSpPr>
          <p:cxnSp>
            <p:nvCxnSpPr>
              <p:cNvPr id="116" name="Straight Connector 115"/>
              <p:cNvCxnSpPr/>
              <p:nvPr/>
            </p:nvCxnSpPr>
            <p:spPr>
              <a:xfrm>
                <a:off x="-600" y="622800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7" name="Straight Connector 116"/>
              <p:cNvCxnSpPr/>
              <p:nvPr/>
            </p:nvCxnSpPr>
            <p:spPr>
              <a:xfrm>
                <a:off x="-600" y="920195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8" name="Straight Connector 117"/>
              <p:cNvCxnSpPr/>
              <p:nvPr/>
            </p:nvCxnSpPr>
            <p:spPr>
              <a:xfrm>
                <a:off x="-600" y="1217590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9" name="Straight Connector 118"/>
              <p:cNvCxnSpPr/>
              <p:nvPr/>
            </p:nvCxnSpPr>
            <p:spPr>
              <a:xfrm>
                <a:off x="-600" y="1514985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0" name="Straight Connector 119"/>
              <p:cNvCxnSpPr/>
              <p:nvPr/>
            </p:nvCxnSpPr>
            <p:spPr>
              <a:xfrm>
                <a:off x="-600" y="1812380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1" name="Straight Connector 120"/>
              <p:cNvCxnSpPr/>
              <p:nvPr/>
            </p:nvCxnSpPr>
            <p:spPr>
              <a:xfrm>
                <a:off x="-600" y="2109775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2" name="Straight Connector 121"/>
              <p:cNvCxnSpPr/>
              <p:nvPr/>
            </p:nvCxnSpPr>
            <p:spPr>
              <a:xfrm>
                <a:off x="-600" y="2407170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3" name="Straight Connector 122"/>
              <p:cNvCxnSpPr/>
              <p:nvPr/>
            </p:nvCxnSpPr>
            <p:spPr>
              <a:xfrm>
                <a:off x="-600" y="2704565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4" name="Straight Connector 123"/>
              <p:cNvCxnSpPr/>
              <p:nvPr/>
            </p:nvCxnSpPr>
            <p:spPr>
              <a:xfrm>
                <a:off x="-600" y="3001960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5" name="Straight Connector 124"/>
              <p:cNvCxnSpPr/>
              <p:nvPr/>
            </p:nvCxnSpPr>
            <p:spPr>
              <a:xfrm>
                <a:off x="-600" y="3299355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6" name="Straight Connector 125"/>
              <p:cNvCxnSpPr/>
              <p:nvPr/>
            </p:nvCxnSpPr>
            <p:spPr>
              <a:xfrm>
                <a:off x="-600" y="3596750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7" name="Straight Connector 126"/>
              <p:cNvCxnSpPr/>
              <p:nvPr/>
            </p:nvCxnSpPr>
            <p:spPr>
              <a:xfrm>
                <a:off x="-600" y="3894145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8" name="Straight Connector 127"/>
              <p:cNvCxnSpPr/>
              <p:nvPr/>
            </p:nvCxnSpPr>
            <p:spPr>
              <a:xfrm>
                <a:off x="-600" y="4191540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9" name="Straight Connector 128"/>
              <p:cNvCxnSpPr/>
              <p:nvPr/>
            </p:nvCxnSpPr>
            <p:spPr>
              <a:xfrm>
                <a:off x="-600" y="4488935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0" name="Straight Connector 129"/>
              <p:cNvCxnSpPr/>
              <p:nvPr/>
            </p:nvCxnSpPr>
            <p:spPr>
              <a:xfrm>
                <a:off x="-600" y="4786330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1" name="Straight Connector 130"/>
              <p:cNvCxnSpPr/>
              <p:nvPr/>
            </p:nvCxnSpPr>
            <p:spPr>
              <a:xfrm>
                <a:off x="-600" y="5083725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2" name="Straight Connector 131"/>
              <p:cNvCxnSpPr/>
              <p:nvPr/>
            </p:nvCxnSpPr>
            <p:spPr>
              <a:xfrm>
                <a:off x="-600" y="5381120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3" name="Straight Connector 132"/>
              <p:cNvCxnSpPr/>
              <p:nvPr/>
            </p:nvCxnSpPr>
            <p:spPr>
              <a:xfrm>
                <a:off x="-600" y="5678520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93" name="Group 92"/>
            <p:cNvGrpSpPr/>
            <p:nvPr/>
          </p:nvGrpSpPr>
          <p:grpSpPr>
            <a:xfrm>
              <a:off x="629400" y="623550"/>
              <a:ext cx="10933200" cy="5054970"/>
              <a:chOff x="629400" y="623550"/>
              <a:chExt cx="10933200" cy="5537047"/>
            </a:xfrm>
          </p:grpSpPr>
          <p:sp>
            <p:nvSpPr>
              <p:cNvPr id="100" name="Rectangle 34"/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1" name="Rectangle 35"/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2" name="Rectangle 36"/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3" name="Rectangle 37"/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4" name="Rectangle 38"/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5" name="Rectangle 39"/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6" name="Rectangle 40"/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7" name="Rectangle 41"/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8" name="Rectangle 42"/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9" name="Rectangle 43"/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0" name="Rectangle 44"/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1" name="Rectangle 5"/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2" name="Rectangle 7"/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3" name="Rectangle 9"/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4" name="Rectangle 11"/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5" name="Rectangle 13"/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94" name="Group 93"/>
            <p:cNvGrpSpPr/>
            <p:nvPr/>
          </p:nvGrpSpPr>
          <p:grpSpPr>
            <a:xfrm>
              <a:off x="-600" y="0"/>
              <a:ext cx="12193200" cy="6858000"/>
              <a:chOff x="-600" y="0"/>
              <a:chExt cx="12193200" cy="6858000"/>
            </a:xfrm>
          </p:grpSpPr>
          <p:sp>
            <p:nvSpPr>
              <p:cNvPr id="95" name="Slide edges"/>
              <p:cNvSpPr>
                <a:spLocks/>
              </p:cNvSpPr>
              <p:nvPr/>
            </p:nvSpPr>
            <p:spPr bwMode="auto">
              <a:xfrm>
                <a:off x="-600" y="0"/>
                <a:ext cx="12193200" cy="6858000"/>
              </a:xfrm>
              <a:custGeom>
                <a:avLst/>
                <a:gdLst>
                  <a:gd name="T0" fmla="*/ 6024 w 6026"/>
                  <a:gd name="T1" fmla="*/ 3394 h 3396"/>
                  <a:gd name="T2" fmla="*/ 6024 w 6026"/>
                  <a:gd name="T3" fmla="*/ 3391 h 3396"/>
                  <a:gd name="T4" fmla="*/ 5 w 6026"/>
                  <a:gd name="T5" fmla="*/ 3391 h 3396"/>
                  <a:gd name="T6" fmla="*/ 5 w 6026"/>
                  <a:gd name="T7" fmla="*/ 5 h 3396"/>
                  <a:gd name="T8" fmla="*/ 6021 w 6026"/>
                  <a:gd name="T9" fmla="*/ 5 h 3396"/>
                  <a:gd name="T10" fmla="*/ 6021 w 6026"/>
                  <a:gd name="T11" fmla="*/ 3394 h 3396"/>
                  <a:gd name="T12" fmla="*/ 6024 w 6026"/>
                  <a:gd name="T13" fmla="*/ 3394 h 3396"/>
                  <a:gd name="T14" fmla="*/ 6024 w 6026"/>
                  <a:gd name="T15" fmla="*/ 3391 h 3396"/>
                  <a:gd name="T16" fmla="*/ 6024 w 6026"/>
                  <a:gd name="T17" fmla="*/ 3394 h 3396"/>
                  <a:gd name="T18" fmla="*/ 6026 w 6026"/>
                  <a:gd name="T19" fmla="*/ 3394 h 3396"/>
                  <a:gd name="T20" fmla="*/ 6026 w 6026"/>
                  <a:gd name="T21" fmla="*/ 0 h 3396"/>
                  <a:gd name="T22" fmla="*/ 0 w 6026"/>
                  <a:gd name="T23" fmla="*/ 0 h 3396"/>
                  <a:gd name="T24" fmla="*/ 0 w 6026"/>
                  <a:gd name="T25" fmla="*/ 3396 h 3396"/>
                  <a:gd name="T26" fmla="*/ 6026 w 6026"/>
                  <a:gd name="T27" fmla="*/ 3396 h 3396"/>
                  <a:gd name="T28" fmla="*/ 6026 w 6026"/>
                  <a:gd name="T29" fmla="*/ 3394 h 3396"/>
                  <a:gd name="T30" fmla="*/ 6024 w 6026"/>
                  <a:gd name="T31" fmla="*/ 3394 h 33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6026" h="3396">
                    <a:moveTo>
                      <a:pt x="6024" y="3394"/>
                    </a:moveTo>
                    <a:lnTo>
                      <a:pt x="6024" y="3391"/>
                    </a:lnTo>
                    <a:lnTo>
                      <a:pt x="5" y="3391"/>
                    </a:lnTo>
                    <a:lnTo>
                      <a:pt x="5" y="5"/>
                    </a:lnTo>
                    <a:lnTo>
                      <a:pt x="6021" y="5"/>
                    </a:lnTo>
                    <a:lnTo>
                      <a:pt x="6021" y="3394"/>
                    </a:lnTo>
                    <a:lnTo>
                      <a:pt x="6024" y="3394"/>
                    </a:lnTo>
                    <a:lnTo>
                      <a:pt x="6024" y="3391"/>
                    </a:lnTo>
                    <a:lnTo>
                      <a:pt x="6024" y="3394"/>
                    </a:lnTo>
                    <a:lnTo>
                      <a:pt x="6026" y="3394"/>
                    </a:lnTo>
                    <a:lnTo>
                      <a:pt x="6026" y="0"/>
                    </a:lnTo>
                    <a:lnTo>
                      <a:pt x="0" y="0"/>
                    </a:lnTo>
                    <a:lnTo>
                      <a:pt x="0" y="3396"/>
                    </a:lnTo>
                    <a:lnTo>
                      <a:pt x="6026" y="3396"/>
                    </a:lnTo>
                    <a:lnTo>
                      <a:pt x="6026" y="3394"/>
                    </a:lnTo>
                    <a:lnTo>
                      <a:pt x="6024" y="3394"/>
                    </a:lnTo>
                    <a:close/>
                  </a:path>
                </a:pathLst>
              </a:custGeom>
              <a:solidFill>
                <a:schemeClr val="accent5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575757"/>
                  </a:solidFill>
                  <a:effectLst/>
                  <a:uLnTx/>
                  <a:uFillTx/>
                  <a:ea typeface="+mn-ea"/>
                  <a:cs typeface="+mn-cs"/>
                </a:endParaRPr>
              </a:p>
            </p:txBody>
          </p:sp>
          <p:sp>
            <p:nvSpPr>
              <p:cNvPr id="96" name="Footnote measure"/>
              <p:cNvSpPr>
                <a:spLocks noChangeArrowheads="1"/>
              </p:cNvSpPr>
              <p:nvPr/>
            </p:nvSpPr>
            <p:spPr bwMode="auto">
              <a:xfrm>
                <a:off x="629400" y="5678521"/>
                <a:ext cx="10933200" cy="905159"/>
              </a:xfrm>
              <a:prstGeom prst="rect">
                <a:avLst/>
              </a:prstGeom>
              <a:solidFill>
                <a:schemeClr val="accent3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7" name="Whitespace measure"/>
              <p:cNvSpPr>
                <a:spLocks noChangeArrowheads="1"/>
              </p:cNvSpPr>
              <p:nvPr/>
            </p:nvSpPr>
            <p:spPr bwMode="auto">
              <a:xfrm>
                <a:off x="629400" y="1514985"/>
                <a:ext cx="10932229" cy="594790"/>
              </a:xfrm>
              <a:prstGeom prst="rect">
                <a:avLst/>
              </a:prstGeom>
              <a:solidFill>
                <a:schemeClr val="accent3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8" name="Live area"/>
              <p:cNvSpPr/>
              <p:nvPr/>
            </p:nvSpPr>
            <p:spPr>
              <a:xfrm>
                <a:off x="629400" y="2109775"/>
                <a:ext cx="10933200" cy="3568747"/>
              </a:xfrm>
              <a:custGeom>
                <a:avLst/>
                <a:gdLst>
                  <a:gd name="connsiteX0" fmla="*/ 0 w 10931999"/>
                  <a:gd name="connsiteY0" fmla="*/ 0 h 5537797"/>
                  <a:gd name="connsiteX1" fmla="*/ 10931999 w 10931999"/>
                  <a:gd name="connsiteY1" fmla="*/ 0 h 5537797"/>
                  <a:gd name="connsiteX2" fmla="*/ 10931999 w 10931999"/>
                  <a:gd name="connsiteY2" fmla="*/ 5537797 h 5537797"/>
                  <a:gd name="connsiteX3" fmla="*/ 0 w 10931999"/>
                  <a:gd name="connsiteY3" fmla="*/ 5537797 h 55377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0931999" h="5537797">
                    <a:moveTo>
                      <a:pt x="0" y="0"/>
                    </a:moveTo>
                    <a:lnTo>
                      <a:pt x="10931999" y="0"/>
                    </a:lnTo>
                    <a:lnTo>
                      <a:pt x="10931999" y="5537797"/>
                    </a:lnTo>
                    <a:lnTo>
                      <a:pt x="0" y="5537797"/>
                    </a:lnTo>
                    <a:close/>
                  </a:path>
                </a:pathLst>
              </a:custGeom>
              <a:noFill/>
              <a:ln w="9525">
                <a:solidFill>
                  <a:srgbClr val="ED1B24">
                    <a:alpha val="35000"/>
                  </a:srgbClr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>
                  <a:lnSpc>
                    <a:spcPct val="90000"/>
                  </a:lnSpc>
                  <a:spcAft>
                    <a:spcPts val="1000"/>
                  </a:spcAft>
                </a:pPr>
                <a:endParaRPr lang="en-US" sz="1200">
                  <a:solidFill>
                    <a:schemeClr val="bg1"/>
                  </a:solidFill>
                </a:endParaRPr>
              </a:p>
            </p:txBody>
          </p:sp>
          <p:sp>
            <p:nvSpPr>
              <p:cNvPr id="99" name="Footnote example"/>
              <p:cNvSpPr txBox="1"/>
              <p:nvPr/>
            </p:nvSpPr>
            <p:spPr>
              <a:xfrm>
                <a:off x="630000" y="5678521"/>
                <a:ext cx="9030914" cy="332399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b">
                <a:spAutoFit/>
              </a:bodyPr>
              <a:lstStyle/>
              <a:p>
                <a:pPr lvl="0">
                  <a:lnSpc>
                    <a:spcPct val="90000"/>
                  </a:lnSpc>
                  <a:defRPr/>
                </a:pPr>
                <a:r>
                  <a:rPr lang="en-US" sz="800">
                    <a:solidFill>
                      <a:prstClr val="white">
                        <a:lumMod val="65000"/>
                      </a:prstClr>
                    </a:solidFill>
                    <a:sym typeface="Trebuchet MS" panose="020B0603020202020204" pitchFamily="34" charset="0"/>
                  </a:rPr>
                  <a:t>1. xxxx  2. xxxx  3. List footnotes in numerical order. Footnote numbers are not bracketed. Use 8pt font</a:t>
                </a:r>
              </a:p>
              <a:p>
                <a:pPr lvl="0">
                  <a:lnSpc>
                    <a:spcPct val="90000"/>
                  </a:lnSpc>
                  <a:defRPr/>
                </a:pPr>
                <a:r>
                  <a:rPr lang="en-US" sz="800">
                    <a:solidFill>
                      <a:prstClr val="white">
                        <a:lumMod val="65000"/>
                      </a:prstClr>
                    </a:solidFill>
                    <a:sym typeface="Trebuchet MS" panose="020B0603020202020204" pitchFamily="34" charset="0"/>
                  </a:rPr>
                  <a:t>Note: Do not put a period at the end of the note or the source</a:t>
                </a:r>
              </a:p>
              <a:p>
                <a:pPr lvl="0">
                  <a:lnSpc>
                    <a:spcPct val="90000"/>
                  </a:lnSpc>
                  <a:defRPr/>
                </a:pPr>
                <a:r>
                  <a:rPr lang="en-US" sz="800">
                    <a:solidFill>
                      <a:prstClr val="white">
                        <a:lumMod val="65000"/>
                      </a:prstClr>
                    </a:solidFill>
                    <a:sym typeface="Trebuchet MS" panose="020B0603020202020204" pitchFamily="34" charset="0"/>
                  </a:rPr>
                  <a:t>Source: Include a source for every chart that you use. Separate sources with a semicolon; BCG-related sources go at the end</a:t>
                </a:r>
                <a:endParaRPr kumimoji="0" lang="en-US" sz="800" b="0" i="0" u="none" strike="noStrike" kern="1200" cap="none" spc="0" normalizeH="0" baseline="0" noProof="0">
                  <a:ln>
                    <a:noFill/>
                  </a:ln>
                  <a:solidFill>
                    <a:prstClr val="white">
                      <a:lumMod val="65000"/>
                    </a:prstClr>
                  </a:solidFill>
                  <a:effectLst/>
                  <a:uLnTx/>
                  <a:uFillTx/>
                  <a:sym typeface="Trebuchet MS" panose="020B0603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6193082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780440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</a:pPr>
            <a:endParaRPr lang="en-US" sz="5400" b="0" i="0" baseline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11" name="Freeform: Shape 31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/>
        </p:nvSpPr>
        <p:spPr>
          <a:xfrm>
            <a:off x="0" y="6326127"/>
            <a:ext cx="12188952" cy="531873"/>
          </a:xfrm>
          <a:custGeom>
            <a:avLst/>
            <a:gdLst>
              <a:gd name="connsiteX0" fmla="*/ 8400285 w 12188952"/>
              <a:gd name="connsiteY0" fmla="*/ 0 h 531873"/>
              <a:gd name="connsiteX1" fmla="*/ 12188950 w 12188952"/>
              <a:gd name="connsiteY1" fmla="*/ 0 h 531873"/>
              <a:gd name="connsiteX2" fmla="*/ 12188950 w 12188952"/>
              <a:gd name="connsiteY2" fmla="*/ 239773 h 531873"/>
              <a:gd name="connsiteX3" fmla="*/ 12188952 w 12188952"/>
              <a:gd name="connsiteY3" fmla="*/ 239773 h 531873"/>
              <a:gd name="connsiteX4" fmla="*/ 12188952 w 12188952"/>
              <a:gd name="connsiteY4" fmla="*/ 531873 h 531873"/>
              <a:gd name="connsiteX5" fmla="*/ 0 w 12188952"/>
              <a:gd name="connsiteY5" fmla="*/ 531873 h 531873"/>
              <a:gd name="connsiteX6" fmla="*/ 0 w 12188952"/>
              <a:gd name="connsiteY6" fmla="*/ 239773 h 531873"/>
              <a:gd name="connsiteX7" fmla="*/ 8220629 w 12188952"/>
              <a:gd name="connsiteY7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88952" h="531873">
                <a:moveTo>
                  <a:pt x="8400285" y="0"/>
                </a:moveTo>
                <a:lnTo>
                  <a:pt x="12188950" y="0"/>
                </a:lnTo>
                <a:lnTo>
                  <a:pt x="12188950" y="239773"/>
                </a:lnTo>
                <a:lnTo>
                  <a:pt x="12188952" y="239773"/>
                </a:lnTo>
                <a:lnTo>
                  <a:pt x="12188952" y="531873"/>
                </a:lnTo>
                <a:lnTo>
                  <a:pt x="0" y="531873"/>
                </a:lnTo>
                <a:lnTo>
                  <a:pt x="0" y="239773"/>
                </a:lnTo>
                <a:lnTo>
                  <a:pt x="8220629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5256DD11-030E-4276-B7F9-8800AF6ADF2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1122363"/>
            <a:ext cx="9144000" cy="2387600"/>
          </a:xfrm>
        </p:spPr>
        <p:txBody>
          <a:bodyPr vert="horz" anchor="b">
            <a:noAutofit/>
          </a:bodyPr>
          <a:lstStyle>
            <a:lvl1pPr algn="ctr">
              <a:defRPr sz="6000" b="1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</a:t>
            </a:r>
            <a:br>
              <a:rPr lang="en-US"/>
            </a:br>
            <a:r>
              <a:rPr lang="en-US"/>
              <a:t>title style</a:t>
            </a:r>
            <a:endParaRPr lang="en-IN"/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780C3700-E3C2-478C-8875-962D0768B72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IN"/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808447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089218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2000250" y="622800"/>
            <a:ext cx="9563100" cy="332399"/>
          </a:xfrm>
        </p:spPr>
        <p:txBody>
          <a:bodyPr vert="horz"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6" name="Copyright" hidden="1"/>
          <p:cNvSpPr txBox="1"/>
          <p:nvPr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127160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</p15:sldGuideLst>
    </p:ext>
  </p:extLst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B083126-25E7-42D8-B799-608CFD4DF6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add titl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AD1DA01-0E73-44DE-A132-B4FF1E70A31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29400" y="2085628"/>
            <a:ext cx="10933950" cy="4072976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Copyright" hidden="1"/>
          <p:cNvSpPr txBox="1"/>
          <p:nvPr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350766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Gray slice head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 bwMode="white">
          <a:xfrm>
            <a:off x="1" y="-1309"/>
            <a:ext cx="46944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8" name="Subtitle 2"/>
          <p:cNvSpPr>
            <a:spLocks noGrp="1"/>
          </p:cNvSpPr>
          <p:nvPr>
            <p:ph type="subTitle" idx="13" hasCustomPrompt="1"/>
          </p:nvPr>
        </p:nvSpPr>
        <p:spPr>
          <a:xfrm>
            <a:off x="630000" y="2158987"/>
            <a:ext cx="3744000" cy="541687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1600">
                <a:solidFill>
                  <a:srgbClr val="FF0000"/>
                </a:solidFill>
                <a:latin typeface="+mn-lt"/>
                <a:sym typeface="Trebuchet MS" panose="020B0603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add subtitle</a:t>
            </a:r>
          </a:p>
        </p:txBody>
      </p:sp>
      <p:sp>
        <p:nvSpPr>
          <p:cNvPr id="9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1227048"/>
            <a:ext cx="3744000" cy="664797"/>
          </a:xfrm>
        </p:spPr>
        <p:txBody>
          <a:bodyPr anchor="t">
            <a:noAutofit/>
          </a:bodyPr>
          <a:lstStyle>
            <a:lvl1pPr>
              <a:defRPr sz="2400">
                <a:solidFill>
                  <a:srgbClr val="FF000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2" name="Copyright" hidden="1"/>
          <p:cNvSpPr txBox="1"/>
          <p:nvPr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3" name="Freeform: Shape 31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/>
        </p:nvSpPr>
        <p:spPr>
          <a:xfrm>
            <a:off x="0" y="6326127"/>
            <a:ext cx="12188952" cy="531873"/>
          </a:xfrm>
          <a:custGeom>
            <a:avLst/>
            <a:gdLst>
              <a:gd name="connsiteX0" fmla="*/ 8400285 w 12188952"/>
              <a:gd name="connsiteY0" fmla="*/ 0 h 531873"/>
              <a:gd name="connsiteX1" fmla="*/ 12188950 w 12188952"/>
              <a:gd name="connsiteY1" fmla="*/ 0 h 531873"/>
              <a:gd name="connsiteX2" fmla="*/ 12188950 w 12188952"/>
              <a:gd name="connsiteY2" fmla="*/ 239773 h 531873"/>
              <a:gd name="connsiteX3" fmla="*/ 12188952 w 12188952"/>
              <a:gd name="connsiteY3" fmla="*/ 239773 h 531873"/>
              <a:gd name="connsiteX4" fmla="*/ 12188952 w 12188952"/>
              <a:gd name="connsiteY4" fmla="*/ 531873 h 531873"/>
              <a:gd name="connsiteX5" fmla="*/ 0 w 12188952"/>
              <a:gd name="connsiteY5" fmla="*/ 531873 h 531873"/>
              <a:gd name="connsiteX6" fmla="*/ 0 w 12188952"/>
              <a:gd name="connsiteY6" fmla="*/ 239773 h 531873"/>
              <a:gd name="connsiteX7" fmla="*/ 8220629 w 12188952"/>
              <a:gd name="connsiteY7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88952" h="531873">
                <a:moveTo>
                  <a:pt x="8400285" y="0"/>
                </a:moveTo>
                <a:lnTo>
                  <a:pt x="12188950" y="0"/>
                </a:lnTo>
                <a:lnTo>
                  <a:pt x="12188950" y="239773"/>
                </a:lnTo>
                <a:lnTo>
                  <a:pt x="12188952" y="239773"/>
                </a:lnTo>
                <a:lnTo>
                  <a:pt x="12188952" y="531873"/>
                </a:lnTo>
                <a:lnTo>
                  <a:pt x="0" y="531873"/>
                </a:lnTo>
                <a:lnTo>
                  <a:pt x="0" y="239773"/>
                </a:lnTo>
                <a:lnTo>
                  <a:pt x="8220629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5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193988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Section header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284742" y="2668041"/>
            <a:ext cx="9620491" cy="3201026"/>
          </a:xfrm>
          <a:prstGeom prst="rect">
            <a:avLst/>
          </a:prstGeom>
          <a:ln w="9525"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</a14:hiddenLine>
            </a:ext>
          </a:extLst>
        </p:spPr>
        <p:txBody>
          <a:bodyPr vert="horz" lIns="274320" tIns="274320" rIns="274320" bIns="137160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rgbClr val="FF0000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section title</a:t>
            </a:r>
          </a:p>
        </p:txBody>
      </p:sp>
      <p:sp>
        <p:nvSpPr>
          <p:cNvPr id="11" name="Rectangle 10"/>
          <p:cNvSpPr/>
          <p:nvPr/>
        </p:nvSpPr>
        <p:spPr bwMode="white">
          <a:xfrm>
            <a:off x="1280693" y="1424081"/>
            <a:ext cx="951721" cy="951721"/>
          </a:xfrm>
          <a:prstGeom prst="rect">
            <a:avLst/>
          </a:prstGeom>
          <a:noFill/>
          <a:ln>
            <a:solidFill>
              <a:schemeClr val="tx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3" name="Copyright" hidden="1"/>
          <p:cNvSpPr txBox="1"/>
          <p:nvPr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6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693042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Section header line">
    <p:bg bwMode="blackWhite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3826800"/>
            <a:ext cx="10936800" cy="2041200"/>
          </a:xfrm>
        </p:spPr>
        <p:txBody>
          <a:bodyPr vert="horz" anchor="t">
            <a:noAutofit/>
          </a:bodyPr>
          <a:lstStyle>
            <a:lvl1pPr>
              <a:defRPr sz="5400">
                <a:solidFill>
                  <a:srgbClr val="FF000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section title</a:t>
            </a:r>
          </a:p>
        </p:txBody>
      </p:sp>
      <p:cxnSp>
        <p:nvCxnSpPr>
          <p:cNvPr id="10" name="Straight Connector 9"/>
          <p:cNvCxnSpPr/>
          <p:nvPr/>
        </p:nvCxnSpPr>
        <p:spPr bwMode="white">
          <a:xfrm>
            <a:off x="630000" y="3680016"/>
            <a:ext cx="11558587" cy="0"/>
          </a:xfrm>
          <a:prstGeom prst="line">
            <a:avLst/>
          </a:prstGeom>
          <a:ln w="19050" cmpd="sng">
            <a:solidFill>
              <a:schemeClr val="tx2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782371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White one third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4064994" y="0"/>
            <a:ext cx="416951" cy="6858000"/>
          </a:xfrm>
          <a:prstGeom prst="rect">
            <a:avLst/>
          </a:prstGeom>
        </p:spPr>
      </p:pic>
      <p:sp>
        <p:nvSpPr>
          <p:cNvPr id="24" name="Rectangle 23"/>
          <p:cNvSpPr/>
          <p:nvPr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2400">
                <a:solidFill>
                  <a:srgbClr val="FF000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1" name="Copyright" hidden="1"/>
          <p:cNvSpPr txBox="1"/>
          <p:nvPr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5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6" name="Freeform 15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/>
        </p:nvSpPr>
        <p:spPr>
          <a:xfrm>
            <a:off x="0" y="6565900"/>
            <a:ext cx="4008608" cy="292100"/>
          </a:xfrm>
          <a:custGeom>
            <a:avLst/>
            <a:gdLst>
              <a:gd name="connsiteX0" fmla="*/ 0 w 4008608"/>
              <a:gd name="connsiteY0" fmla="*/ 0 h 292100"/>
              <a:gd name="connsiteX1" fmla="*/ 4008608 w 4008608"/>
              <a:gd name="connsiteY1" fmla="*/ 0 h 292100"/>
              <a:gd name="connsiteX2" fmla="*/ 4008608 w 4008608"/>
              <a:gd name="connsiteY2" fmla="*/ 292100 h 292100"/>
              <a:gd name="connsiteX3" fmla="*/ 0 w 4008608"/>
              <a:gd name="connsiteY3" fmla="*/ 292100 h 292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08608" h="292100">
                <a:moveTo>
                  <a:pt x="0" y="0"/>
                </a:moveTo>
                <a:lnTo>
                  <a:pt x="4008608" y="0"/>
                </a:lnTo>
                <a:lnTo>
                  <a:pt x="4008608" y="292100"/>
                </a:lnTo>
                <a:lnTo>
                  <a:pt x="0" y="292100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7044058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Green highlight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073607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7165606" y="0"/>
            <a:ext cx="416951" cy="6858000"/>
          </a:xfrm>
          <a:prstGeom prst="rect">
            <a:avLst/>
          </a:prstGeom>
        </p:spPr>
      </p:pic>
      <p:sp>
        <p:nvSpPr>
          <p:cNvPr id="14" name="Rectangle 13"/>
          <p:cNvSpPr/>
          <p:nvPr/>
        </p:nvSpPr>
        <p:spPr bwMode="white">
          <a:xfrm>
            <a:off x="0" y="0"/>
            <a:ext cx="7171956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000250" y="622800"/>
            <a:ext cx="4906279" cy="332399"/>
          </a:xfrm>
          <a:prstGeom prst="rect">
            <a:avLst/>
          </a:prstGeom>
        </p:spPr>
        <p:txBody>
          <a:bodyPr vert="horz"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9" name="Copyright" hidden="1"/>
          <p:cNvSpPr txBox="1"/>
          <p:nvPr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5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6" name="Freeform 15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/>
        </p:nvSpPr>
        <p:spPr>
          <a:xfrm>
            <a:off x="0" y="6565900"/>
            <a:ext cx="7101056" cy="292100"/>
          </a:xfrm>
          <a:custGeom>
            <a:avLst/>
            <a:gdLst>
              <a:gd name="connsiteX0" fmla="*/ 0 w 7101056"/>
              <a:gd name="connsiteY0" fmla="*/ 0 h 292100"/>
              <a:gd name="connsiteX1" fmla="*/ 7101056 w 7101056"/>
              <a:gd name="connsiteY1" fmla="*/ 0 h 292100"/>
              <a:gd name="connsiteX2" fmla="*/ 7101056 w 7101056"/>
              <a:gd name="connsiteY2" fmla="*/ 292100 h 292100"/>
              <a:gd name="connsiteX3" fmla="*/ 0 w 7101056"/>
              <a:gd name="connsiteY3" fmla="*/ 292100 h 292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101056" h="292100">
                <a:moveTo>
                  <a:pt x="0" y="0"/>
                </a:moveTo>
                <a:lnTo>
                  <a:pt x="7101056" y="0"/>
                </a:lnTo>
                <a:lnTo>
                  <a:pt x="7101056" y="292100"/>
                </a:lnTo>
                <a:lnTo>
                  <a:pt x="0" y="292100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047410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848D734-64F7-4EAD-848D-BBE864C7ACA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845320AC-DD4B-443B-9124-A76A02BBF0F0}" type="datetimeFigureOut">
              <a:rPr lang="en-IN" smtClean="0"/>
              <a:t>28-05-2025</a:t>
            </a:fld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DC0E4C3-45EC-41CA-A181-267F66D5881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CA1A946-C4A7-49E2-996F-99E68C7F5C9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E7FF1D80-0C43-4B56-BCBD-119C695EDC96}" type="slidenum">
              <a:rPr lang="en-IN" smtClean="0"/>
              <a:t>‹#›</a:t>
            </a:fld>
            <a:endParaRPr lang="en-IN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ECEFFEE-453C-7FB4-4EE2-E031AC05DC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603682"/>
            <a:ext cx="10515600" cy="1087006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2E8B2B89-7C98-0C7F-0DA1-A1B84F3BB001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838200" y="1819922"/>
            <a:ext cx="10515600" cy="435893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95306683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ex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59147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FCE4FFF-81B3-4CDA-B0A1-3363FFB22A6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000250" y="622800"/>
            <a:ext cx="9563100" cy="470898"/>
          </a:xfrm>
        </p:spPr>
        <p:txBody>
          <a:bodyPr vert="horz"/>
          <a:lstStyle>
            <a:lvl1pPr>
              <a:defRPr sz="3400"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1F54B2F8-C51F-4566-BAC0-8A0C8E57548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29399" y="2085628"/>
            <a:ext cx="10933801" cy="4089131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/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/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/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800"/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8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Copyright" hidden="1"/>
          <p:cNvSpPr txBox="1"/>
          <p:nvPr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0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622737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Four column green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348864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Picture 15"/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9029246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/>
        </p:nvSpPr>
        <p:spPr bwMode="white">
          <a:xfrm>
            <a:off x="0" y="0"/>
            <a:ext cx="9034272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000250" y="622800"/>
            <a:ext cx="6731334" cy="332399"/>
          </a:xfrm>
          <a:prstGeom prst="rect">
            <a:avLst/>
          </a:prstGeom>
        </p:spPr>
        <p:txBody>
          <a:bodyPr vert="horz"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9" name="Copyright" hidden="1"/>
          <p:cNvSpPr txBox="1"/>
          <p:nvPr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9" name="Freeform 18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/>
        </p:nvSpPr>
        <p:spPr>
          <a:xfrm>
            <a:off x="-1" y="6565900"/>
            <a:ext cx="8963372" cy="292100"/>
          </a:xfrm>
          <a:custGeom>
            <a:avLst/>
            <a:gdLst>
              <a:gd name="connsiteX0" fmla="*/ 0 w 8963372"/>
              <a:gd name="connsiteY0" fmla="*/ 0 h 292100"/>
              <a:gd name="connsiteX1" fmla="*/ 8963372 w 8963372"/>
              <a:gd name="connsiteY1" fmla="*/ 0 h 292100"/>
              <a:gd name="connsiteX2" fmla="*/ 8963372 w 8963372"/>
              <a:gd name="connsiteY2" fmla="*/ 292100 h 292100"/>
              <a:gd name="connsiteX3" fmla="*/ 0 w 8963372"/>
              <a:gd name="connsiteY3" fmla="*/ 292100 h 292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963372" h="292100">
                <a:moveTo>
                  <a:pt x="0" y="0"/>
                </a:moveTo>
                <a:lnTo>
                  <a:pt x="8963372" y="0"/>
                </a:lnTo>
                <a:lnTo>
                  <a:pt x="8963372" y="292100"/>
                </a:lnTo>
                <a:lnTo>
                  <a:pt x="0" y="292100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136054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Green one third">
    <p:bg>
      <p:bgPr>
        <a:gradFill>
          <a:gsLst>
            <a:gs pos="39000">
              <a:srgbClr val="D81F30"/>
            </a:gs>
            <a:gs pos="100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22"/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24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2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26" name="Rectangle 25"/>
          <p:cNvSpPr/>
          <p:nvPr/>
        </p:nvSpPr>
        <p:spPr bwMode="ltGray">
          <a:xfrm>
            <a:off x="4080763" y="-1309"/>
            <a:ext cx="8111237" cy="68593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9" name="Copyright" hidden="1"/>
          <p:cNvSpPr txBox="1"/>
          <p:nvPr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4" name="Freeform 13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/>
        </p:nvSpPr>
        <p:spPr>
          <a:xfrm>
            <a:off x="4151664" y="6326127"/>
            <a:ext cx="8037289" cy="531873"/>
          </a:xfrm>
          <a:custGeom>
            <a:avLst/>
            <a:gdLst>
              <a:gd name="connsiteX0" fmla="*/ 4248622 w 8037289"/>
              <a:gd name="connsiteY0" fmla="*/ 0 h 531873"/>
              <a:gd name="connsiteX1" fmla="*/ 8037287 w 8037289"/>
              <a:gd name="connsiteY1" fmla="*/ 0 h 531873"/>
              <a:gd name="connsiteX2" fmla="*/ 8037287 w 8037289"/>
              <a:gd name="connsiteY2" fmla="*/ 239773 h 531873"/>
              <a:gd name="connsiteX3" fmla="*/ 8037289 w 8037289"/>
              <a:gd name="connsiteY3" fmla="*/ 239773 h 531873"/>
              <a:gd name="connsiteX4" fmla="*/ 8037289 w 8037289"/>
              <a:gd name="connsiteY4" fmla="*/ 531873 h 531873"/>
              <a:gd name="connsiteX5" fmla="*/ 0 w 8037289"/>
              <a:gd name="connsiteY5" fmla="*/ 531873 h 531873"/>
              <a:gd name="connsiteX6" fmla="*/ 0 w 8037289"/>
              <a:gd name="connsiteY6" fmla="*/ 239773 h 531873"/>
              <a:gd name="connsiteX7" fmla="*/ 4068966 w 8037289"/>
              <a:gd name="connsiteY7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037289" h="531873">
                <a:moveTo>
                  <a:pt x="4248622" y="0"/>
                </a:moveTo>
                <a:lnTo>
                  <a:pt x="8037287" y="0"/>
                </a:lnTo>
                <a:lnTo>
                  <a:pt x="8037287" y="239773"/>
                </a:lnTo>
                <a:lnTo>
                  <a:pt x="8037289" y="239773"/>
                </a:lnTo>
                <a:lnTo>
                  <a:pt x="8037289" y="531873"/>
                </a:lnTo>
                <a:lnTo>
                  <a:pt x="0" y="531873"/>
                </a:lnTo>
                <a:lnTo>
                  <a:pt x="0" y="239773"/>
                </a:lnTo>
                <a:lnTo>
                  <a:pt x="4068966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12" name="TextBox 11"/>
          <p:cNvSpPr txBox="1"/>
          <p:nvPr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7314539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Green half">
    <p:bg>
      <p:bgPr>
        <a:gradFill>
          <a:gsLst>
            <a:gs pos="39000">
              <a:srgbClr val="D81F30"/>
            </a:gs>
            <a:gs pos="100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1" name="Rectangle 10"/>
          <p:cNvSpPr/>
          <p:nvPr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2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2021" y="0"/>
            <a:ext cx="6099977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baseline="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1785600"/>
            <a:ext cx="4388400" cy="3286800"/>
          </a:xfrm>
          <a:prstGeom prst="rect">
            <a:avLst/>
          </a:prstGeom>
          <a:noFill/>
        </p:spPr>
        <p:txBody>
          <a:bodyPr vert="horz" wrap="square" lIns="0" tIns="0" rIns="320040" bIns="0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6" name="Copyright" hidden="1"/>
          <p:cNvSpPr txBox="1"/>
          <p:nvPr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22" name="Freeform 21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/>
        </p:nvSpPr>
        <p:spPr>
          <a:xfrm>
            <a:off x="6162922" y="6326127"/>
            <a:ext cx="6026031" cy="531873"/>
          </a:xfrm>
          <a:custGeom>
            <a:avLst/>
            <a:gdLst>
              <a:gd name="connsiteX0" fmla="*/ 2237364 w 6026031"/>
              <a:gd name="connsiteY0" fmla="*/ 0 h 531873"/>
              <a:gd name="connsiteX1" fmla="*/ 6026029 w 6026031"/>
              <a:gd name="connsiteY1" fmla="*/ 0 h 531873"/>
              <a:gd name="connsiteX2" fmla="*/ 6026029 w 6026031"/>
              <a:gd name="connsiteY2" fmla="*/ 239773 h 531873"/>
              <a:gd name="connsiteX3" fmla="*/ 6026031 w 6026031"/>
              <a:gd name="connsiteY3" fmla="*/ 239773 h 531873"/>
              <a:gd name="connsiteX4" fmla="*/ 6026031 w 6026031"/>
              <a:gd name="connsiteY4" fmla="*/ 531873 h 531873"/>
              <a:gd name="connsiteX5" fmla="*/ 0 w 6026031"/>
              <a:gd name="connsiteY5" fmla="*/ 531873 h 531873"/>
              <a:gd name="connsiteX6" fmla="*/ 0 w 6026031"/>
              <a:gd name="connsiteY6" fmla="*/ 239773 h 531873"/>
              <a:gd name="connsiteX7" fmla="*/ 2057708 w 6026031"/>
              <a:gd name="connsiteY7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026031" h="531873">
                <a:moveTo>
                  <a:pt x="2237364" y="0"/>
                </a:moveTo>
                <a:lnTo>
                  <a:pt x="6026029" y="0"/>
                </a:lnTo>
                <a:lnTo>
                  <a:pt x="6026029" y="239773"/>
                </a:lnTo>
                <a:lnTo>
                  <a:pt x="6026031" y="239773"/>
                </a:lnTo>
                <a:lnTo>
                  <a:pt x="6026031" y="531873"/>
                </a:lnTo>
                <a:lnTo>
                  <a:pt x="0" y="531873"/>
                </a:lnTo>
                <a:lnTo>
                  <a:pt x="0" y="239773"/>
                </a:lnTo>
                <a:lnTo>
                  <a:pt x="2057708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4458302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Green two third">
    <p:bg>
      <p:bgPr>
        <a:gradFill>
          <a:gsLst>
            <a:gs pos="39000">
              <a:srgbClr val="D81F30"/>
            </a:gs>
            <a:gs pos="100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7409849" y="0"/>
            <a:ext cx="416951" cy="6858000"/>
          </a:xfrm>
          <a:prstGeom prst="rect">
            <a:avLst/>
          </a:prstGeom>
        </p:spPr>
      </p:pic>
      <p:sp>
        <p:nvSpPr>
          <p:cNvPr id="11" name="Rectangle 10"/>
          <p:cNvSpPr/>
          <p:nvPr/>
        </p:nvSpPr>
        <p:spPr bwMode="gray">
          <a:xfrm>
            <a:off x="7819543" y="0"/>
            <a:ext cx="4372457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2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20025" y="0"/>
            <a:ext cx="4371975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600">
                <a:solidFill>
                  <a:schemeClr val="tx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630936" y="1785600"/>
            <a:ext cx="6247552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7" name="Copyright" hidden="1"/>
          <p:cNvSpPr txBox="1"/>
          <p:nvPr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21" name="Freeform 20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/>
        </p:nvSpPr>
        <p:spPr>
          <a:xfrm>
            <a:off x="7890926" y="6326127"/>
            <a:ext cx="4298027" cy="531873"/>
          </a:xfrm>
          <a:custGeom>
            <a:avLst/>
            <a:gdLst>
              <a:gd name="connsiteX0" fmla="*/ 509360 w 4298027"/>
              <a:gd name="connsiteY0" fmla="*/ 0 h 531873"/>
              <a:gd name="connsiteX1" fmla="*/ 4298025 w 4298027"/>
              <a:gd name="connsiteY1" fmla="*/ 0 h 531873"/>
              <a:gd name="connsiteX2" fmla="*/ 4298025 w 4298027"/>
              <a:gd name="connsiteY2" fmla="*/ 239773 h 531873"/>
              <a:gd name="connsiteX3" fmla="*/ 4298027 w 4298027"/>
              <a:gd name="connsiteY3" fmla="*/ 239773 h 531873"/>
              <a:gd name="connsiteX4" fmla="*/ 4298027 w 4298027"/>
              <a:gd name="connsiteY4" fmla="*/ 531873 h 531873"/>
              <a:gd name="connsiteX5" fmla="*/ 0 w 4298027"/>
              <a:gd name="connsiteY5" fmla="*/ 531873 h 531873"/>
              <a:gd name="connsiteX6" fmla="*/ 0 w 4298027"/>
              <a:gd name="connsiteY6" fmla="*/ 239773 h 531873"/>
              <a:gd name="connsiteX7" fmla="*/ 329704 w 4298027"/>
              <a:gd name="connsiteY7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298027" h="531873">
                <a:moveTo>
                  <a:pt x="509360" y="0"/>
                </a:moveTo>
                <a:lnTo>
                  <a:pt x="4298025" y="0"/>
                </a:lnTo>
                <a:lnTo>
                  <a:pt x="4298025" y="239773"/>
                </a:lnTo>
                <a:lnTo>
                  <a:pt x="4298027" y="239773"/>
                </a:lnTo>
                <a:lnTo>
                  <a:pt x="4298027" y="531873"/>
                </a:lnTo>
                <a:lnTo>
                  <a:pt x="0" y="531873"/>
                </a:lnTo>
                <a:lnTo>
                  <a:pt x="0" y="239773"/>
                </a:lnTo>
                <a:lnTo>
                  <a:pt x="329704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0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3" name="Picture 12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1301073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Left arrow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24" imgH="324" progId="TCLayout.ActiveDocument.1">
                  <p:embed/>
                </p:oleObj>
              </mc:Choice>
              <mc:Fallback>
                <p:oleObj name="think-cell Slide" r:id="rId3" imgW="324" imgH="32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Freeform 14"/>
          <p:cNvSpPr/>
          <p:nvPr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pic>
        <p:nvPicPr>
          <p:cNvPr id="12" name="Picture 11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32442" y="3590399"/>
            <a:ext cx="1365250" cy="3382962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</p:spPr>
        <p:txBody>
          <a:bodyPr vert="horz" anchor="ctr" anchorCtr="0">
            <a:noAutofit/>
          </a:bodyPr>
          <a:lstStyle>
            <a:lvl1pPr>
              <a:defRPr>
                <a:solidFill>
                  <a:srgbClr val="FF0000"/>
                </a:solidFill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6" name="Copyright" hidden="1"/>
          <p:cNvSpPr txBox="1"/>
          <p:nvPr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2" name="Freeform 21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/>
        </p:nvSpPr>
        <p:spPr>
          <a:xfrm>
            <a:off x="1" y="6565900"/>
            <a:ext cx="3266011" cy="292100"/>
          </a:xfrm>
          <a:custGeom>
            <a:avLst/>
            <a:gdLst>
              <a:gd name="connsiteX0" fmla="*/ 0 w 3266011"/>
              <a:gd name="connsiteY0" fmla="*/ 0 h 292100"/>
              <a:gd name="connsiteX1" fmla="*/ 3266011 w 3266011"/>
              <a:gd name="connsiteY1" fmla="*/ 0 h 292100"/>
              <a:gd name="connsiteX2" fmla="*/ 3195872 w 3266011"/>
              <a:gd name="connsiteY2" fmla="*/ 292100 h 292100"/>
              <a:gd name="connsiteX3" fmla="*/ 0 w 3266011"/>
              <a:gd name="connsiteY3" fmla="*/ 292100 h 292100"/>
              <a:gd name="connsiteX4" fmla="*/ 0 w 3266011"/>
              <a:gd name="connsiteY4" fmla="*/ 0 h 292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266011" h="292100">
                <a:moveTo>
                  <a:pt x="0" y="0"/>
                </a:moveTo>
                <a:lnTo>
                  <a:pt x="3266011" y="0"/>
                </a:lnTo>
                <a:lnTo>
                  <a:pt x="3195872" y="292100"/>
                </a:lnTo>
                <a:lnTo>
                  <a:pt x="0" y="292100"/>
                </a:lnTo>
                <a:lnTo>
                  <a:pt x="0" y="0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466815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Green left arro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Freeform 14"/>
          <p:cNvSpPr/>
          <p:nvPr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gradFill flip="none" rotWithShape="1">
            <a:gsLst>
              <a:gs pos="0">
                <a:srgbClr val="403F85"/>
              </a:gs>
              <a:gs pos="81000">
                <a:srgbClr val="ED1B24"/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</p:spPr>
        <p:txBody>
          <a:bodyPr vert="horz" anchor="ctr" anchorCtr="0">
            <a:noAutofit/>
          </a:bodyPr>
          <a:lstStyle>
            <a:lvl1pPr>
              <a:defRPr>
                <a:solidFill>
                  <a:srgbClr val="FFFFFF"/>
                </a:solidFill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216" b="7716"/>
          <a:stretch/>
        </p:blipFill>
        <p:spPr>
          <a:xfrm rot="120000">
            <a:off x="2174642" y="3402828"/>
            <a:ext cx="2694666" cy="3461745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  <p:sp>
        <p:nvSpPr>
          <p:cNvPr id="11" name="Copyright" hidden="1"/>
          <p:cNvSpPr txBox="1"/>
          <p:nvPr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8" name="Freeform 17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/>
        </p:nvSpPr>
        <p:spPr>
          <a:xfrm>
            <a:off x="3335834" y="6326127"/>
            <a:ext cx="8853119" cy="531873"/>
          </a:xfrm>
          <a:custGeom>
            <a:avLst/>
            <a:gdLst>
              <a:gd name="connsiteX0" fmla="*/ 5064452 w 8853119"/>
              <a:gd name="connsiteY0" fmla="*/ 0 h 531873"/>
              <a:gd name="connsiteX1" fmla="*/ 8853117 w 8853119"/>
              <a:gd name="connsiteY1" fmla="*/ 0 h 531873"/>
              <a:gd name="connsiteX2" fmla="*/ 8853117 w 8853119"/>
              <a:gd name="connsiteY2" fmla="*/ 239773 h 531873"/>
              <a:gd name="connsiteX3" fmla="*/ 8853119 w 8853119"/>
              <a:gd name="connsiteY3" fmla="*/ 239773 h 531873"/>
              <a:gd name="connsiteX4" fmla="*/ 8853119 w 8853119"/>
              <a:gd name="connsiteY4" fmla="*/ 531873 h 531873"/>
              <a:gd name="connsiteX5" fmla="*/ 0 w 8853119"/>
              <a:gd name="connsiteY5" fmla="*/ 531873 h 531873"/>
              <a:gd name="connsiteX6" fmla="*/ 70140 w 8853119"/>
              <a:gd name="connsiteY6" fmla="*/ 239773 h 531873"/>
              <a:gd name="connsiteX7" fmla="*/ 4884796 w 8853119"/>
              <a:gd name="connsiteY7" fmla="*/ 239773 h 531873"/>
              <a:gd name="connsiteX8" fmla="*/ 5064452 w 8853119"/>
              <a:gd name="connsiteY8" fmla="*/ 0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8853119" h="531873">
                <a:moveTo>
                  <a:pt x="5064452" y="0"/>
                </a:moveTo>
                <a:lnTo>
                  <a:pt x="8853117" y="0"/>
                </a:lnTo>
                <a:lnTo>
                  <a:pt x="8853117" y="239773"/>
                </a:lnTo>
                <a:lnTo>
                  <a:pt x="8853119" y="239773"/>
                </a:lnTo>
                <a:lnTo>
                  <a:pt x="8853119" y="531873"/>
                </a:lnTo>
                <a:lnTo>
                  <a:pt x="0" y="531873"/>
                </a:lnTo>
                <a:lnTo>
                  <a:pt x="70140" y="239773"/>
                </a:lnTo>
                <a:lnTo>
                  <a:pt x="4884796" y="239773"/>
                </a:lnTo>
                <a:lnTo>
                  <a:pt x="5064452" y="0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4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812248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Arrow one third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Pentagon 3"/>
          <p:cNvSpPr/>
          <p:nvPr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400" b="0">
                <a:solidFill>
                  <a:srgbClr val="FF000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1" name="Picture 10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81525" y="3394392"/>
            <a:ext cx="1298575" cy="3571875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Copyright" hidden="1"/>
          <p:cNvSpPr txBox="1"/>
          <p:nvPr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6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8" name="Freeform 17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/>
        </p:nvSpPr>
        <p:spPr>
          <a:xfrm>
            <a:off x="1" y="6565900"/>
            <a:ext cx="4713649" cy="292100"/>
          </a:xfrm>
          <a:custGeom>
            <a:avLst/>
            <a:gdLst>
              <a:gd name="connsiteX0" fmla="*/ 0 w 4713649"/>
              <a:gd name="connsiteY0" fmla="*/ 0 h 292100"/>
              <a:gd name="connsiteX1" fmla="*/ 4713649 w 4713649"/>
              <a:gd name="connsiteY1" fmla="*/ 0 h 292100"/>
              <a:gd name="connsiteX2" fmla="*/ 4653832 w 4713649"/>
              <a:gd name="connsiteY2" fmla="*/ 292100 h 292100"/>
              <a:gd name="connsiteX3" fmla="*/ 0 w 4713649"/>
              <a:gd name="connsiteY3" fmla="*/ 292100 h 292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713649" h="292100">
                <a:moveTo>
                  <a:pt x="0" y="0"/>
                </a:moveTo>
                <a:lnTo>
                  <a:pt x="4713649" y="0"/>
                </a:lnTo>
                <a:lnTo>
                  <a:pt x="4653832" y="292100"/>
                </a:lnTo>
                <a:lnTo>
                  <a:pt x="0" y="292100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8993426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Green arrow one thir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Pentagon 3"/>
          <p:cNvSpPr/>
          <p:nvPr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gradFill flip="none" rotWithShape="1">
            <a:gsLst>
              <a:gs pos="0">
                <a:srgbClr val="403F85"/>
              </a:gs>
              <a:gs pos="81000">
                <a:srgbClr val="ED1B24"/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400" b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562" b="6867"/>
          <a:stretch/>
        </p:blipFill>
        <p:spPr>
          <a:xfrm>
            <a:off x="3578059" y="3416300"/>
            <a:ext cx="2694666" cy="3441700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  <p:sp>
        <p:nvSpPr>
          <p:cNvPr id="10" name="Copyright" hidden="1"/>
          <p:cNvSpPr txBox="1"/>
          <p:nvPr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8" name="Freeform 17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/>
        </p:nvSpPr>
        <p:spPr>
          <a:xfrm>
            <a:off x="4795632" y="6326127"/>
            <a:ext cx="7393321" cy="531873"/>
          </a:xfrm>
          <a:custGeom>
            <a:avLst/>
            <a:gdLst>
              <a:gd name="connsiteX0" fmla="*/ 3604654 w 7393321"/>
              <a:gd name="connsiteY0" fmla="*/ 0 h 531873"/>
              <a:gd name="connsiteX1" fmla="*/ 7393319 w 7393321"/>
              <a:gd name="connsiteY1" fmla="*/ 0 h 531873"/>
              <a:gd name="connsiteX2" fmla="*/ 7393319 w 7393321"/>
              <a:gd name="connsiteY2" fmla="*/ 239773 h 531873"/>
              <a:gd name="connsiteX3" fmla="*/ 7393321 w 7393321"/>
              <a:gd name="connsiteY3" fmla="*/ 239773 h 531873"/>
              <a:gd name="connsiteX4" fmla="*/ 7393321 w 7393321"/>
              <a:gd name="connsiteY4" fmla="*/ 531873 h 531873"/>
              <a:gd name="connsiteX5" fmla="*/ 0 w 7393321"/>
              <a:gd name="connsiteY5" fmla="*/ 531873 h 531873"/>
              <a:gd name="connsiteX6" fmla="*/ 59817 w 7393321"/>
              <a:gd name="connsiteY6" fmla="*/ 239773 h 531873"/>
              <a:gd name="connsiteX7" fmla="*/ 3424998 w 7393321"/>
              <a:gd name="connsiteY7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393321" h="531873">
                <a:moveTo>
                  <a:pt x="3604654" y="0"/>
                </a:moveTo>
                <a:lnTo>
                  <a:pt x="7393319" y="0"/>
                </a:lnTo>
                <a:lnTo>
                  <a:pt x="7393319" y="239773"/>
                </a:lnTo>
                <a:lnTo>
                  <a:pt x="7393321" y="239773"/>
                </a:lnTo>
                <a:lnTo>
                  <a:pt x="7393321" y="531873"/>
                </a:lnTo>
                <a:lnTo>
                  <a:pt x="0" y="531873"/>
                </a:lnTo>
                <a:lnTo>
                  <a:pt x="59817" y="239773"/>
                </a:lnTo>
                <a:lnTo>
                  <a:pt x="3424998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93838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Arrow half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274833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entagon 8"/>
          <p:cNvSpPr/>
          <p:nvPr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2000250" y="622800"/>
            <a:ext cx="3377572" cy="332399"/>
          </a:xfrm>
          <a:prstGeom prst="rect">
            <a:avLst/>
          </a:prstGeom>
        </p:spPr>
        <p:txBody>
          <a:bodyPr vert="horz"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0" name="Picture 9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7806" y="3589606"/>
            <a:ext cx="1365250" cy="3382962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Copyright" hidden="1"/>
          <p:cNvSpPr txBox="1"/>
          <p:nvPr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grpSp>
        <p:nvGrpSpPr>
          <p:cNvPr id="12" name="Group 11"/>
          <p:cNvGrpSpPr/>
          <p:nvPr/>
        </p:nvGrpSpPr>
        <p:grpSpPr>
          <a:xfrm>
            <a:off x="0" y="6565900"/>
            <a:ext cx="5538597" cy="292100"/>
            <a:chOff x="0" y="6565900"/>
            <a:chExt cx="5538597" cy="292100"/>
          </a:xfrm>
        </p:grpSpPr>
        <p:sp>
          <p:nvSpPr>
            <p:cNvPr id="13" name="Freeform 12">
              <a:extLst>
                <a:ext uri="{FF2B5EF4-FFF2-40B4-BE49-F238E27FC236}">
                  <a16:creationId xmlns:a16="http://schemas.microsoft.com/office/drawing/2014/main" id="{D6F1E491-2552-48AF-8871-FAF6B673CB54}"/>
                </a:ext>
              </a:extLst>
            </p:cNvPr>
            <p:cNvSpPr/>
            <p:nvPr/>
          </p:nvSpPr>
          <p:spPr>
            <a:xfrm>
              <a:off x="824948" y="6565900"/>
              <a:ext cx="4713649" cy="292100"/>
            </a:xfrm>
            <a:custGeom>
              <a:avLst/>
              <a:gdLst>
                <a:gd name="connsiteX0" fmla="*/ 0 w 4713649"/>
                <a:gd name="connsiteY0" fmla="*/ 0 h 292100"/>
                <a:gd name="connsiteX1" fmla="*/ 4713649 w 4713649"/>
                <a:gd name="connsiteY1" fmla="*/ 0 h 292100"/>
                <a:gd name="connsiteX2" fmla="*/ 4653832 w 4713649"/>
                <a:gd name="connsiteY2" fmla="*/ 292100 h 292100"/>
                <a:gd name="connsiteX3" fmla="*/ 0 w 4713649"/>
                <a:gd name="connsiteY3" fmla="*/ 292100 h 292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713649" h="292100">
                  <a:moveTo>
                    <a:pt x="0" y="0"/>
                  </a:moveTo>
                  <a:lnTo>
                    <a:pt x="4713649" y="0"/>
                  </a:lnTo>
                  <a:lnTo>
                    <a:pt x="4653832" y="292100"/>
                  </a:lnTo>
                  <a:lnTo>
                    <a:pt x="0" y="292100"/>
                  </a:lnTo>
                  <a:close/>
                </a:path>
              </a:pathLst>
            </a:custGeom>
            <a:solidFill>
              <a:srgbClr val="FF0000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1240B29-F687-4F45-9708-019B960494DF}">
                <a14:hiddenLine xmlns:a14="http://schemas.microsoft.com/office/drawing/2010/main" w="9525" cap="rnd" cmpd="sng" algn="ctr">
                  <a:solidFill>
                    <a:srgbClr val="29BA74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FFFFFF"/>
                </a:solidFill>
              </a:endParaRPr>
            </a:p>
          </p:txBody>
        </p:sp>
        <p:sp>
          <p:nvSpPr>
            <p:cNvPr id="16" name="Rectangle 15"/>
            <p:cNvSpPr/>
            <p:nvPr/>
          </p:nvSpPr>
          <p:spPr>
            <a:xfrm>
              <a:off x="0" y="6565900"/>
              <a:ext cx="1427967" cy="292100"/>
            </a:xfrm>
            <a:prstGeom prst="rect">
              <a:avLst/>
            </a:prstGeom>
            <a:solidFill>
              <a:srgbClr val="FF0000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1240B29-F687-4F45-9708-019B960494DF}">
                <a14:hiddenLine xmlns:a14="http://schemas.microsoft.com/office/drawing/2010/main" w="9525" cap="rnd" cmpd="sng" algn="ctr">
                  <a:solidFill>
                    <a:srgbClr val="29BA74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FFFFFF"/>
                </a:solidFill>
              </a:endParaRPr>
            </a:p>
          </p:txBody>
        </p:sp>
      </p:grpSp>
      <p:pic>
        <p:nvPicPr>
          <p:cNvPr id="14" name="Picture 13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7203592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Green arrow half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401162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entagon 8"/>
          <p:cNvSpPr/>
          <p:nvPr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gradFill flip="none" rotWithShape="1">
            <a:gsLst>
              <a:gs pos="0">
                <a:srgbClr val="403F85"/>
              </a:gs>
              <a:gs pos="81000">
                <a:srgbClr val="ED1B24"/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2000250" y="622800"/>
            <a:ext cx="3377572" cy="332399"/>
          </a:xfrm>
          <a:prstGeom prst="rect">
            <a:avLst/>
          </a:prstGeom>
        </p:spPr>
        <p:txBody>
          <a:bodyPr vert="horz"/>
          <a:lstStyle>
            <a:lvl1pPr>
              <a:defRPr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4460172" y="3407803"/>
            <a:ext cx="2694666" cy="3456551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12" name="Copyright" hidden="1"/>
          <p:cNvSpPr txBox="1"/>
          <p:nvPr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1" name="Freeform 10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/>
        </p:nvSpPr>
        <p:spPr>
          <a:xfrm>
            <a:off x="914400" y="6326127"/>
            <a:ext cx="11274552" cy="531873"/>
          </a:xfrm>
          <a:custGeom>
            <a:avLst/>
            <a:gdLst>
              <a:gd name="connsiteX0" fmla="*/ 7485885 w 11274552"/>
              <a:gd name="connsiteY0" fmla="*/ 0 h 531873"/>
              <a:gd name="connsiteX1" fmla="*/ 11274550 w 11274552"/>
              <a:gd name="connsiteY1" fmla="*/ 0 h 531873"/>
              <a:gd name="connsiteX2" fmla="*/ 11274550 w 11274552"/>
              <a:gd name="connsiteY2" fmla="*/ 239773 h 531873"/>
              <a:gd name="connsiteX3" fmla="*/ 11274552 w 11274552"/>
              <a:gd name="connsiteY3" fmla="*/ 239773 h 531873"/>
              <a:gd name="connsiteX4" fmla="*/ 11274552 w 11274552"/>
              <a:gd name="connsiteY4" fmla="*/ 531873 h 531873"/>
              <a:gd name="connsiteX5" fmla="*/ 0 w 11274552"/>
              <a:gd name="connsiteY5" fmla="*/ 531873 h 531873"/>
              <a:gd name="connsiteX6" fmla="*/ 0 w 11274552"/>
              <a:gd name="connsiteY6" fmla="*/ 531872 h 531873"/>
              <a:gd name="connsiteX7" fmla="*/ 4696667 w 11274552"/>
              <a:gd name="connsiteY7" fmla="*/ 531872 h 531873"/>
              <a:gd name="connsiteX8" fmla="*/ 4766807 w 11274552"/>
              <a:gd name="connsiteY8" fmla="*/ 239773 h 531873"/>
              <a:gd name="connsiteX9" fmla="*/ 7306229 w 11274552"/>
              <a:gd name="connsiteY9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1274552" h="531873">
                <a:moveTo>
                  <a:pt x="7485885" y="0"/>
                </a:moveTo>
                <a:lnTo>
                  <a:pt x="11274550" y="0"/>
                </a:lnTo>
                <a:lnTo>
                  <a:pt x="11274550" y="239773"/>
                </a:lnTo>
                <a:lnTo>
                  <a:pt x="11274552" y="239773"/>
                </a:lnTo>
                <a:lnTo>
                  <a:pt x="11274552" y="531873"/>
                </a:lnTo>
                <a:lnTo>
                  <a:pt x="0" y="531873"/>
                </a:lnTo>
                <a:lnTo>
                  <a:pt x="0" y="531872"/>
                </a:lnTo>
                <a:lnTo>
                  <a:pt x="4696667" y="531872"/>
                </a:lnTo>
                <a:lnTo>
                  <a:pt x="4766807" y="239773"/>
                </a:lnTo>
                <a:lnTo>
                  <a:pt x="7306229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8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3" name="Picture 12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702914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Gray slice head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/>
        </p:nvSpPr>
        <p:spPr bwMode="ltGray">
          <a:xfrm>
            <a:off x="1" y="-1309"/>
            <a:ext cx="46944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ltGray">
          <a:xfrm>
            <a:off x="630000" y="1544274"/>
            <a:ext cx="3452400" cy="1495794"/>
          </a:xfrm>
          <a:noFill/>
        </p:spPr>
        <p:txBody>
          <a:bodyPr vert="horz" wrap="square" lIns="0" tIns="0" rIns="320040" bIns="0" anchor="b">
            <a:noAutofit/>
          </a:bodyPr>
          <a:lstStyle>
            <a:lvl1pPr>
              <a:defRPr sz="3200">
                <a:solidFill>
                  <a:srgbClr val="FF0000"/>
                </a:solidFill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2" name="Copyright" hidden="1"/>
          <p:cNvSpPr txBox="1"/>
          <p:nvPr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3" name="Freeform: Shape 31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/>
        </p:nvSpPr>
        <p:spPr>
          <a:xfrm>
            <a:off x="0" y="6326127"/>
            <a:ext cx="12188952" cy="531873"/>
          </a:xfrm>
          <a:custGeom>
            <a:avLst/>
            <a:gdLst>
              <a:gd name="connsiteX0" fmla="*/ 8400285 w 12188952"/>
              <a:gd name="connsiteY0" fmla="*/ 0 h 531873"/>
              <a:gd name="connsiteX1" fmla="*/ 12188950 w 12188952"/>
              <a:gd name="connsiteY1" fmla="*/ 0 h 531873"/>
              <a:gd name="connsiteX2" fmla="*/ 12188950 w 12188952"/>
              <a:gd name="connsiteY2" fmla="*/ 239773 h 531873"/>
              <a:gd name="connsiteX3" fmla="*/ 12188952 w 12188952"/>
              <a:gd name="connsiteY3" fmla="*/ 239773 h 531873"/>
              <a:gd name="connsiteX4" fmla="*/ 12188952 w 12188952"/>
              <a:gd name="connsiteY4" fmla="*/ 531873 h 531873"/>
              <a:gd name="connsiteX5" fmla="*/ 0 w 12188952"/>
              <a:gd name="connsiteY5" fmla="*/ 531873 h 531873"/>
              <a:gd name="connsiteX6" fmla="*/ 0 w 12188952"/>
              <a:gd name="connsiteY6" fmla="*/ 239773 h 531873"/>
              <a:gd name="connsiteX7" fmla="*/ 8220629 w 12188952"/>
              <a:gd name="connsiteY7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88952" h="531873">
                <a:moveTo>
                  <a:pt x="8400285" y="0"/>
                </a:moveTo>
                <a:lnTo>
                  <a:pt x="12188950" y="0"/>
                </a:lnTo>
                <a:lnTo>
                  <a:pt x="12188950" y="239773"/>
                </a:lnTo>
                <a:lnTo>
                  <a:pt x="12188952" y="239773"/>
                </a:lnTo>
                <a:lnTo>
                  <a:pt x="12188952" y="531873"/>
                </a:lnTo>
                <a:lnTo>
                  <a:pt x="0" y="531873"/>
                </a:lnTo>
                <a:lnTo>
                  <a:pt x="0" y="239773"/>
                </a:lnTo>
                <a:lnTo>
                  <a:pt x="8220629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5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6" name="Picture 15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222162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Arrow two third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13017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000250" y="622800"/>
            <a:ext cx="4884246" cy="332399"/>
          </a:xfrm>
          <a:prstGeom prst="rect">
            <a:avLst/>
          </a:prstGeom>
        </p:spPr>
        <p:txBody>
          <a:bodyPr vert="horz"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1" name="Picture 10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90339" y="3589606"/>
            <a:ext cx="1365250" cy="3382962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Copyright" hidden="1"/>
          <p:cNvSpPr txBox="1"/>
          <p:nvPr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8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9" name="Freeform 8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/>
        </p:nvSpPr>
        <p:spPr>
          <a:xfrm>
            <a:off x="-1" y="6565900"/>
            <a:ext cx="7638826" cy="292100"/>
          </a:xfrm>
          <a:custGeom>
            <a:avLst/>
            <a:gdLst>
              <a:gd name="connsiteX0" fmla="*/ 0 w 7638826"/>
              <a:gd name="connsiteY0" fmla="*/ 0 h 292100"/>
              <a:gd name="connsiteX1" fmla="*/ 2925177 w 7638826"/>
              <a:gd name="connsiteY1" fmla="*/ 0 h 292100"/>
              <a:gd name="connsiteX2" fmla="*/ 6027750 w 7638826"/>
              <a:gd name="connsiteY2" fmla="*/ 0 h 292100"/>
              <a:gd name="connsiteX3" fmla="*/ 7638826 w 7638826"/>
              <a:gd name="connsiteY3" fmla="*/ 0 h 292100"/>
              <a:gd name="connsiteX4" fmla="*/ 7579009 w 7638826"/>
              <a:gd name="connsiteY4" fmla="*/ 292100 h 292100"/>
              <a:gd name="connsiteX5" fmla="*/ 5951257 w 7638826"/>
              <a:gd name="connsiteY5" fmla="*/ 292100 h 292100"/>
              <a:gd name="connsiteX6" fmla="*/ 2925177 w 7638826"/>
              <a:gd name="connsiteY6" fmla="*/ 292100 h 292100"/>
              <a:gd name="connsiteX7" fmla="*/ 0 w 7638826"/>
              <a:gd name="connsiteY7" fmla="*/ 292100 h 292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638826" h="292100">
                <a:moveTo>
                  <a:pt x="0" y="0"/>
                </a:moveTo>
                <a:lnTo>
                  <a:pt x="2925177" y="0"/>
                </a:lnTo>
                <a:lnTo>
                  <a:pt x="6027750" y="0"/>
                </a:lnTo>
                <a:lnTo>
                  <a:pt x="7638826" y="0"/>
                </a:lnTo>
                <a:lnTo>
                  <a:pt x="7579009" y="292100"/>
                </a:lnTo>
                <a:lnTo>
                  <a:pt x="5951257" y="292100"/>
                </a:lnTo>
                <a:lnTo>
                  <a:pt x="2925177" y="292100"/>
                </a:lnTo>
                <a:lnTo>
                  <a:pt x="0" y="292100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pic>
        <p:nvPicPr>
          <p:cNvPr id="13" name="Picture 12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8557399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Green arrow two thir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63291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rgbClr val="403F85"/>
              </a:gs>
              <a:gs pos="81000">
                <a:srgbClr val="ED1B24"/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000250" y="622800"/>
            <a:ext cx="4884246" cy="332399"/>
          </a:xfrm>
          <a:prstGeom prst="rect">
            <a:avLst/>
          </a:prstGeom>
        </p:spPr>
        <p:txBody>
          <a:bodyPr vert="horz"/>
          <a:lstStyle>
            <a:lvl1pPr>
              <a:defRPr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6567628" y="3407803"/>
            <a:ext cx="2694666" cy="3456551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10" name="Copyright" hidden="1"/>
          <p:cNvSpPr txBox="1"/>
          <p:nvPr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5" name="Freeform 14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/>
        </p:nvSpPr>
        <p:spPr>
          <a:xfrm>
            <a:off x="70900" y="6326127"/>
            <a:ext cx="12118052" cy="531873"/>
          </a:xfrm>
          <a:custGeom>
            <a:avLst/>
            <a:gdLst>
              <a:gd name="connsiteX0" fmla="*/ 8329385 w 12118052"/>
              <a:gd name="connsiteY0" fmla="*/ 0 h 531873"/>
              <a:gd name="connsiteX1" fmla="*/ 12118050 w 12118052"/>
              <a:gd name="connsiteY1" fmla="*/ 0 h 531873"/>
              <a:gd name="connsiteX2" fmla="*/ 12118050 w 12118052"/>
              <a:gd name="connsiteY2" fmla="*/ 239773 h 531873"/>
              <a:gd name="connsiteX3" fmla="*/ 12118052 w 12118052"/>
              <a:gd name="connsiteY3" fmla="*/ 239773 h 531873"/>
              <a:gd name="connsiteX4" fmla="*/ 12118052 w 12118052"/>
              <a:gd name="connsiteY4" fmla="*/ 531873 h 531873"/>
              <a:gd name="connsiteX5" fmla="*/ 0 w 12118052"/>
              <a:gd name="connsiteY5" fmla="*/ 531873 h 531873"/>
              <a:gd name="connsiteX6" fmla="*/ 0 w 12118052"/>
              <a:gd name="connsiteY6" fmla="*/ 531872 h 531873"/>
              <a:gd name="connsiteX7" fmla="*/ 7645979 w 12118052"/>
              <a:gd name="connsiteY7" fmla="*/ 531872 h 531873"/>
              <a:gd name="connsiteX8" fmla="*/ 7714149 w 12118052"/>
              <a:gd name="connsiteY8" fmla="*/ 239773 h 531873"/>
              <a:gd name="connsiteX9" fmla="*/ 8149729 w 12118052"/>
              <a:gd name="connsiteY9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118052" h="531873">
                <a:moveTo>
                  <a:pt x="8329385" y="0"/>
                </a:moveTo>
                <a:lnTo>
                  <a:pt x="12118050" y="0"/>
                </a:lnTo>
                <a:lnTo>
                  <a:pt x="12118050" y="239773"/>
                </a:lnTo>
                <a:lnTo>
                  <a:pt x="12118052" y="239773"/>
                </a:lnTo>
                <a:lnTo>
                  <a:pt x="12118052" y="531873"/>
                </a:lnTo>
                <a:lnTo>
                  <a:pt x="0" y="531873"/>
                </a:lnTo>
                <a:lnTo>
                  <a:pt x="0" y="531872"/>
                </a:lnTo>
                <a:lnTo>
                  <a:pt x="7645979" y="531872"/>
                </a:lnTo>
                <a:lnTo>
                  <a:pt x="7714149" y="239773"/>
                </a:lnTo>
                <a:lnTo>
                  <a:pt x="8149729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4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604597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Big statement green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sp>
        <p:nvSpPr>
          <p:cNvPr id="12" name="Copyright" hidden="1"/>
          <p:cNvSpPr txBox="1"/>
          <p:nvPr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5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5302405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Big statement ic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/>
        </p:nvSpPr>
        <p:spPr bwMode="white">
          <a:xfrm>
            <a:off x="630000" y="1435623"/>
            <a:ext cx="932688" cy="932688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  <a:prstGeom prst="rect">
            <a:avLst/>
          </a:prstGeom>
        </p:spPr>
        <p:txBody>
          <a:bodyPr vert="horz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rgbClr val="FF0000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sp>
        <p:nvSpPr>
          <p:cNvPr id="14" name="Copyright" hidden="1"/>
          <p:cNvSpPr txBox="1"/>
          <p:nvPr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5" name="Freeform: Shape 31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/>
        </p:nvSpPr>
        <p:spPr>
          <a:xfrm>
            <a:off x="0" y="6326127"/>
            <a:ext cx="12188952" cy="531873"/>
          </a:xfrm>
          <a:custGeom>
            <a:avLst/>
            <a:gdLst>
              <a:gd name="connsiteX0" fmla="*/ 8400285 w 12188952"/>
              <a:gd name="connsiteY0" fmla="*/ 0 h 531873"/>
              <a:gd name="connsiteX1" fmla="*/ 12188950 w 12188952"/>
              <a:gd name="connsiteY1" fmla="*/ 0 h 531873"/>
              <a:gd name="connsiteX2" fmla="*/ 12188950 w 12188952"/>
              <a:gd name="connsiteY2" fmla="*/ 239773 h 531873"/>
              <a:gd name="connsiteX3" fmla="*/ 12188952 w 12188952"/>
              <a:gd name="connsiteY3" fmla="*/ 239773 h 531873"/>
              <a:gd name="connsiteX4" fmla="*/ 12188952 w 12188952"/>
              <a:gd name="connsiteY4" fmla="*/ 531873 h 531873"/>
              <a:gd name="connsiteX5" fmla="*/ 0 w 12188952"/>
              <a:gd name="connsiteY5" fmla="*/ 531873 h 531873"/>
              <a:gd name="connsiteX6" fmla="*/ 0 w 12188952"/>
              <a:gd name="connsiteY6" fmla="*/ 239773 h 531873"/>
              <a:gd name="connsiteX7" fmla="*/ 8220629 w 12188952"/>
              <a:gd name="connsiteY7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88952" h="531873">
                <a:moveTo>
                  <a:pt x="8400285" y="0"/>
                </a:moveTo>
                <a:lnTo>
                  <a:pt x="12188950" y="0"/>
                </a:lnTo>
                <a:lnTo>
                  <a:pt x="12188950" y="239773"/>
                </a:lnTo>
                <a:lnTo>
                  <a:pt x="12188952" y="239773"/>
                </a:lnTo>
                <a:lnTo>
                  <a:pt x="12188952" y="531873"/>
                </a:lnTo>
                <a:lnTo>
                  <a:pt x="0" y="531873"/>
                </a:lnTo>
                <a:lnTo>
                  <a:pt x="0" y="239773"/>
                </a:lnTo>
                <a:lnTo>
                  <a:pt x="8220629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804364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Quot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34" b="1258"/>
          <a:stretch/>
        </p:blipFill>
        <p:spPr>
          <a:xfrm rot="16200000" flipH="1">
            <a:off x="6797461" y="101443"/>
            <a:ext cx="769257" cy="10019821"/>
          </a:xfrm>
          <a:custGeom>
            <a:avLst/>
            <a:gdLst>
              <a:gd name="connsiteX0" fmla="*/ 0 w 769257"/>
              <a:gd name="connsiteY0" fmla="*/ 0 h 10019821"/>
              <a:gd name="connsiteX1" fmla="*/ 0 w 769257"/>
              <a:gd name="connsiteY1" fmla="*/ 4631160 h 10019821"/>
              <a:gd name="connsiteX2" fmla="*/ 216750 w 769257"/>
              <a:gd name="connsiteY2" fmla="*/ 999646 h 10019821"/>
              <a:gd name="connsiteX3" fmla="*/ 197800 w 769257"/>
              <a:gd name="connsiteY3" fmla="*/ 10019821 h 10019821"/>
              <a:gd name="connsiteX4" fmla="*/ 769257 w 769257"/>
              <a:gd name="connsiteY4" fmla="*/ 10019821 h 10019821"/>
              <a:gd name="connsiteX5" fmla="*/ 769257 w 769257"/>
              <a:gd name="connsiteY5" fmla="*/ 0 h 10019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69257" h="10019821">
                <a:moveTo>
                  <a:pt x="0" y="0"/>
                </a:moveTo>
                <a:lnTo>
                  <a:pt x="0" y="4631160"/>
                </a:lnTo>
                <a:lnTo>
                  <a:pt x="216750" y="999646"/>
                </a:lnTo>
                <a:lnTo>
                  <a:pt x="197800" y="10019821"/>
                </a:lnTo>
                <a:lnTo>
                  <a:pt x="769257" y="10019821"/>
                </a:lnTo>
                <a:lnTo>
                  <a:pt x="769257" y="0"/>
                </a:lnTo>
                <a:close/>
              </a:path>
            </a:pathLst>
          </a:cu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0"/>
            <a:ext cx="12192000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429757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Special gray">
    <p:bg>
      <p:bgPr>
        <a:solidFill>
          <a:schemeClr val="tx1">
            <a:lumMod val="85000"/>
            <a:lumOff val="1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442779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000250" y="622800"/>
            <a:ext cx="9562950" cy="332399"/>
          </a:xfrm>
        </p:spPr>
        <p:txBody>
          <a:bodyPr vert="horz"/>
          <a:lstStyle>
            <a:lvl1pPr>
              <a:defRPr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7" name="Copyright" hidden="1"/>
          <p:cNvSpPr txBox="1"/>
          <p:nvPr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73364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Table of contents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Freeform 12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7" name="Freeform 12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630000" y="2577934"/>
            <a:ext cx="2819400" cy="17617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indent="0">
              <a:lnSpc>
                <a:spcPct val="106000"/>
              </a:lnSpc>
              <a:spcAft>
                <a:spcPts val="700"/>
              </a:spcAft>
              <a:buFontTx/>
              <a:buNone/>
            </a:pPr>
            <a:r>
              <a:rPr lang="en-US" sz="5400">
                <a:solidFill>
                  <a:srgbClr val="FF0000"/>
                </a:solidFill>
                <a:latin typeface="+mn-lt"/>
                <a:sym typeface="Trebuchet MS" panose="020B0603020202020204" pitchFamily="34" charset="0"/>
              </a:rPr>
              <a:t>Table of contents</a:t>
            </a:r>
          </a:p>
        </p:txBody>
      </p:sp>
      <p:pic>
        <p:nvPicPr>
          <p:cNvPr id="10" name="Picture 9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8638" y="3586748"/>
            <a:ext cx="1365250" cy="3382962"/>
          </a:xfrm>
          <a:custGeom>
            <a:avLst/>
            <a:gdLst>
              <a:gd name="connsiteX0" fmla="*/ 94280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28720 w 1365250"/>
              <a:gd name="connsiteY3" fmla="*/ 3382962 h 3382962"/>
              <a:gd name="connsiteX4" fmla="*/ 0 w 1365250"/>
              <a:gd name="connsiteY4" fmla="*/ 0 h 3382962"/>
              <a:gd name="connsiteX5" fmla="*/ 929501 w 1365250"/>
              <a:gd name="connsiteY5" fmla="*/ 0 h 3382962"/>
              <a:gd name="connsiteX6" fmla="*/ 0 w 1365250"/>
              <a:gd name="connsiteY6" fmla="*/ 2860398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65250" h="3382962">
                <a:moveTo>
                  <a:pt x="94280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28720" y="3382962"/>
                </a:lnTo>
                <a:close/>
                <a:moveTo>
                  <a:pt x="0" y="0"/>
                </a:moveTo>
                <a:lnTo>
                  <a:pt x="929501" y="0"/>
                </a:lnTo>
                <a:lnTo>
                  <a:pt x="0" y="2860398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Copyright" hidden="1"/>
          <p:cNvSpPr txBox="1"/>
          <p:nvPr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8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4" name="Freeform 13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/>
        </p:nvSpPr>
        <p:spPr>
          <a:xfrm>
            <a:off x="1" y="6565900"/>
            <a:ext cx="3266011" cy="292100"/>
          </a:xfrm>
          <a:custGeom>
            <a:avLst/>
            <a:gdLst>
              <a:gd name="connsiteX0" fmla="*/ 0 w 3266011"/>
              <a:gd name="connsiteY0" fmla="*/ 0 h 292100"/>
              <a:gd name="connsiteX1" fmla="*/ 3266011 w 3266011"/>
              <a:gd name="connsiteY1" fmla="*/ 0 h 292100"/>
              <a:gd name="connsiteX2" fmla="*/ 3195872 w 3266011"/>
              <a:gd name="connsiteY2" fmla="*/ 292100 h 292100"/>
              <a:gd name="connsiteX3" fmla="*/ 0 w 3266011"/>
              <a:gd name="connsiteY3" fmla="*/ 292100 h 292100"/>
              <a:gd name="connsiteX4" fmla="*/ 0 w 3266011"/>
              <a:gd name="connsiteY4" fmla="*/ 0 h 292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266011" h="292100">
                <a:moveTo>
                  <a:pt x="0" y="0"/>
                </a:moveTo>
                <a:lnTo>
                  <a:pt x="3266011" y="0"/>
                </a:lnTo>
                <a:lnTo>
                  <a:pt x="3195872" y="292100"/>
                </a:lnTo>
                <a:lnTo>
                  <a:pt x="0" y="292100"/>
                </a:lnTo>
                <a:lnTo>
                  <a:pt x="0" y="0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9089154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Blank green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pyright" hidden="1"/>
          <p:cNvSpPr txBox="1"/>
          <p:nvPr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5423036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pyright" hidden="1"/>
          <p:cNvSpPr txBox="1"/>
          <p:nvPr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4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778483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Copyright" hidden="1"/>
          <p:cNvSpPr txBox="1"/>
          <p:nvPr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031992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box">
    <p:bg bwMode="grayWhite"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284742" y="2668041"/>
            <a:ext cx="9620491" cy="3201026"/>
          </a:xfrm>
          <a:prstGeom prst="rect">
            <a:avLst/>
          </a:prstGeom>
          <a:ln w="9525">
            <a:solidFill>
              <a:schemeClr val="bg1"/>
            </a:solidFill>
          </a:ln>
        </p:spPr>
        <p:txBody>
          <a:bodyPr lIns="274320" tIns="274320" rIns="274320" bIns="137160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sp>
        <p:nvSpPr>
          <p:cNvPr id="59" name="Rectangle 58"/>
          <p:cNvSpPr/>
          <p:nvPr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8" name="Copyright" hidden="1"/>
          <p:cNvSpPr txBox="1"/>
          <p:nvPr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426032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D.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5"/>
          <a:srcRect l="1079" t="8722" r="1079" b="8722"/>
          <a:stretch/>
        </p:blipFill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</p:spPr>
      </p:pic>
      <p:sp>
        <p:nvSpPr>
          <p:cNvPr id="11" name="Rectangle 10"/>
          <p:cNvSpPr/>
          <p:nvPr/>
        </p:nvSpPr>
        <p:spPr bwMode="black">
          <a:xfrm>
            <a:off x="630936" y="626200"/>
            <a:ext cx="8125200" cy="5529600"/>
          </a:xfrm>
          <a:prstGeom prst="rect">
            <a:avLst/>
          </a:prstGeom>
          <a:gradFill flip="none" rotWithShape="1">
            <a:gsLst>
              <a:gs pos="0">
                <a:srgbClr val="EF2427">
                  <a:shade val="30000"/>
                  <a:satMod val="115000"/>
                  <a:alpha val="76000"/>
                </a:srgbClr>
              </a:gs>
              <a:gs pos="100000">
                <a:srgbClr val="ED1B24">
                  <a:alpha val="61000"/>
                </a:srgb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62328" y="2992637"/>
            <a:ext cx="3062417" cy="7967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567301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8" name="Group 47"/>
          <p:cNvGrpSpPr/>
          <p:nvPr/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sp>
          <p:nvSpPr>
            <p:cNvPr id="49" name="Freeform 48"/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5678521 h 6858000"/>
                <a:gd name="connsiteX2" fmla="*/ 629400 w 12193200"/>
                <a:gd name="connsiteY2" fmla="*/ 5678521 h 6858000"/>
                <a:gd name="connsiteX3" fmla="*/ 629400 w 12193200"/>
                <a:gd name="connsiteY3" fmla="*/ 6583680 h 6858000"/>
                <a:gd name="connsiteX4" fmla="*/ 11562600 w 12193200"/>
                <a:gd name="connsiteY4" fmla="*/ 6583680 h 6858000"/>
                <a:gd name="connsiteX5" fmla="*/ 11562600 w 12193200"/>
                <a:gd name="connsiteY5" fmla="*/ 5678521 h 6858000"/>
                <a:gd name="connsiteX6" fmla="*/ 11562000 w 12193200"/>
                <a:gd name="connsiteY6" fmla="*/ 5678521 h 6858000"/>
                <a:gd name="connsiteX7" fmla="*/ 11562000 w 12193200"/>
                <a:gd name="connsiteY7" fmla="*/ 622800 h 6858000"/>
                <a:gd name="connsiteX8" fmla="*/ 0 w 12193200"/>
                <a:gd name="connsiteY8" fmla="*/ 0 h 6858000"/>
                <a:gd name="connsiteX9" fmla="*/ 12193200 w 12193200"/>
                <a:gd name="connsiteY9" fmla="*/ 0 h 6858000"/>
                <a:gd name="connsiteX10" fmla="*/ 12193200 w 12193200"/>
                <a:gd name="connsiteY10" fmla="*/ 622800 h 6858000"/>
                <a:gd name="connsiteX11" fmla="*/ 12192000 w 12193200"/>
                <a:gd name="connsiteY11" fmla="*/ 622800 h 6858000"/>
                <a:gd name="connsiteX12" fmla="*/ 12192000 w 12193200"/>
                <a:gd name="connsiteY12" fmla="*/ 6160597 h 6858000"/>
                <a:gd name="connsiteX13" fmla="*/ 12193200 w 12193200"/>
                <a:gd name="connsiteY13" fmla="*/ 6160597 h 6858000"/>
                <a:gd name="connsiteX14" fmla="*/ 12193200 w 12193200"/>
                <a:gd name="connsiteY14" fmla="*/ 6858000 h 6858000"/>
                <a:gd name="connsiteX15" fmla="*/ 12192000 w 12193200"/>
                <a:gd name="connsiteY15" fmla="*/ 6858000 h 6858000"/>
                <a:gd name="connsiteX16" fmla="*/ 11562000 w 12193200"/>
                <a:gd name="connsiteY16" fmla="*/ 6858000 h 6858000"/>
                <a:gd name="connsiteX17" fmla="*/ 630001 w 12193200"/>
                <a:gd name="connsiteY17" fmla="*/ 6858000 h 6858000"/>
                <a:gd name="connsiteX18" fmla="*/ 1 w 12193200"/>
                <a:gd name="connsiteY18" fmla="*/ 6858000 h 6858000"/>
                <a:gd name="connsiteX19" fmla="*/ 1 w 12193200"/>
                <a:gd name="connsiteY19" fmla="*/ 6160597 h 6858000"/>
                <a:gd name="connsiteX20" fmla="*/ 1 w 12193200"/>
                <a:gd name="connsiteY20" fmla="*/ 622800 h 6858000"/>
                <a:gd name="connsiteX21" fmla="*/ 0 w 12193200"/>
                <a:gd name="connsiteY21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5678521"/>
                  </a:lnTo>
                  <a:lnTo>
                    <a:pt x="629400" y="5678521"/>
                  </a:lnTo>
                  <a:lnTo>
                    <a:pt x="629400" y="6583680"/>
                  </a:lnTo>
                  <a:lnTo>
                    <a:pt x="11562600" y="6583680"/>
                  </a:lnTo>
                  <a:lnTo>
                    <a:pt x="11562600" y="5678521"/>
                  </a:lnTo>
                  <a:lnTo>
                    <a:pt x="11562000" y="5678521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chemeClr val="accent4">
                <a:lumMod val="20000"/>
                <a:lumOff val="80000"/>
                <a:alpha val="57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>
                <a:solidFill>
                  <a:schemeClr val="tx1"/>
                </a:solidFill>
              </a:endParaRPr>
            </a:p>
          </p:txBody>
        </p:sp>
        <p:grpSp>
          <p:nvGrpSpPr>
            <p:cNvPr id="50" name="Group 49"/>
            <p:cNvGrpSpPr/>
            <p:nvPr/>
          </p:nvGrpSpPr>
          <p:grpSpPr>
            <a:xfrm>
              <a:off x="-600" y="622800"/>
              <a:ext cx="12193200" cy="5055720"/>
              <a:chOff x="-600" y="622800"/>
              <a:chExt cx="12193200" cy="5055720"/>
            </a:xfrm>
          </p:grpSpPr>
          <p:cxnSp>
            <p:nvCxnSpPr>
              <p:cNvPr id="74" name="Straight Connector 73"/>
              <p:cNvCxnSpPr/>
              <p:nvPr/>
            </p:nvCxnSpPr>
            <p:spPr>
              <a:xfrm>
                <a:off x="-600" y="622800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5" name="Straight Connector 74"/>
              <p:cNvCxnSpPr/>
              <p:nvPr/>
            </p:nvCxnSpPr>
            <p:spPr>
              <a:xfrm>
                <a:off x="-600" y="920195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6" name="Straight Connector 75"/>
              <p:cNvCxnSpPr/>
              <p:nvPr/>
            </p:nvCxnSpPr>
            <p:spPr>
              <a:xfrm>
                <a:off x="-600" y="1217590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7" name="Straight Connector 76"/>
              <p:cNvCxnSpPr/>
              <p:nvPr/>
            </p:nvCxnSpPr>
            <p:spPr>
              <a:xfrm>
                <a:off x="-600" y="1514985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8" name="Straight Connector 77"/>
              <p:cNvCxnSpPr/>
              <p:nvPr/>
            </p:nvCxnSpPr>
            <p:spPr>
              <a:xfrm>
                <a:off x="-600" y="1812380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9" name="Straight Connector 78"/>
              <p:cNvCxnSpPr/>
              <p:nvPr/>
            </p:nvCxnSpPr>
            <p:spPr>
              <a:xfrm>
                <a:off x="-600" y="2109775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0" name="Straight Connector 79"/>
              <p:cNvCxnSpPr/>
              <p:nvPr/>
            </p:nvCxnSpPr>
            <p:spPr>
              <a:xfrm>
                <a:off x="-600" y="2407170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1" name="Straight Connector 80"/>
              <p:cNvCxnSpPr/>
              <p:nvPr/>
            </p:nvCxnSpPr>
            <p:spPr>
              <a:xfrm>
                <a:off x="-600" y="2704565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2" name="Straight Connector 81"/>
              <p:cNvCxnSpPr/>
              <p:nvPr/>
            </p:nvCxnSpPr>
            <p:spPr>
              <a:xfrm>
                <a:off x="-600" y="3001960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3" name="Straight Connector 82"/>
              <p:cNvCxnSpPr/>
              <p:nvPr/>
            </p:nvCxnSpPr>
            <p:spPr>
              <a:xfrm>
                <a:off x="-600" y="3299355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4" name="Straight Connector 83"/>
              <p:cNvCxnSpPr/>
              <p:nvPr/>
            </p:nvCxnSpPr>
            <p:spPr>
              <a:xfrm>
                <a:off x="-600" y="3596750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5" name="Straight Connector 84"/>
              <p:cNvCxnSpPr/>
              <p:nvPr/>
            </p:nvCxnSpPr>
            <p:spPr>
              <a:xfrm>
                <a:off x="-600" y="3894145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6" name="Straight Connector 85"/>
              <p:cNvCxnSpPr/>
              <p:nvPr/>
            </p:nvCxnSpPr>
            <p:spPr>
              <a:xfrm>
                <a:off x="-600" y="4191540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7" name="Straight Connector 86"/>
              <p:cNvCxnSpPr/>
              <p:nvPr/>
            </p:nvCxnSpPr>
            <p:spPr>
              <a:xfrm>
                <a:off x="-600" y="4488935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8" name="Straight Connector 87"/>
              <p:cNvCxnSpPr/>
              <p:nvPr/>
            </p:nvCxnSpPr>
            <p:spPr>
              <a:xfrm>
                <a:off x="-600" y="4786330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9" name="Straight Connector 88"/>
              <p:cNvCxnSpPr/>
              <p:nvPr/>
            </p:nvCxnSpPr>
            <p:spPr>
              <a:xfrm>
                <a:off x="-600" y="5083725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0" name="Straight Connector 89"/>
              <p:cNvCxnSpPr/>
              <p:nvPr/>
            </p:nvCxnSpPr>
            <p:spPr>
              <a:xfrm>
                <a:off x="-600" y="5381120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1" name="Straight Connector 90"/>
              <p:cNvCxnSpPr/>
              <p:nvPr/>
            </p:nvCxnSpPr>
            <p:spPr>
              <a:xfrm>
                <a:off x="-600" y="5678520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1" name="Group 50"/>
            <p:cNvGrpSpPr/>
            <p:nvPr/>
          </p:nvGrpSpPr>
          <p:grpSpPr>
            <a:xfrm>
              <a:off x="629400" y="623550"/>
              <a:ext cx="10933200" cy="5054970"/>
              <a:chOff x="629400" y="623550"/>
              <a:chExt cx="10933200" cy="5537047"/>
            </a:xfrm>
          </p:grpSpPr>
          <p:sp>
            <p:nvSpPr>
              <p:cNvPr id="58" name="Rectangle 34"/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9" name="Rectangle 35"/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0" name="Rectangle 36"/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1" name="Rectangle 37"/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2" name="Rectangle 38"/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3" name="Rectangle 39"/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4" name="Rectangle 40"/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5" name="Rectangle 41"/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6" name="Rectangle 42"/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7" name="Rectangle 43"/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8" name="Rectangle 44"/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9" name="Rectangle 5"/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0" name="Rectangle 7"/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1" name="Rectangle 9"/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2" name="Rectangle 11"/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3" name="Rectangle 13"/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52" name="Group 51"/>
            <p:cNvGrpSpPr/>
            <p:nvPr/>
          </p:nvGrpSpPr>
          <p:grpSpPr>
            <a:xfrm>
              <a:off x="-600" y="0"/>
              <a:ext cx="12193200" cy="6858000"/>
              <a:chOff x="-600" y="0"/>
              <a:chExt cx="12193200" cy="6858000"/>
            </a:xfrm>
          </p:grpSpPr>
          <p:sp>
            <p:nvSpPr>
              <p:cNvPr id="53" name="Slide edges"/>
              <p:cNvSpPr>
                <a:spLocks/>
              </p:cNvSpPr>
              <p:nvPr/>
            </p:nvSpPr>
            <p:spPr bwMode="auto">
              <a:xfrm>
                <a:off x="-600" y="0"/>
                <a:ext cx="12193200" cy="6858000"/>
              </a:xfrm>
              <a:custGeom>
                <a:avLst/>
                <a:gdLst>
                  <a:gd name="T0" fmla="*/ 6024 w 6026"/>
                  <a:gd name="T1" fmla="*/ 3394 h 3396"/>
                  <a:gd name="T2" fmla="*/ 6024 w 6026"/>
                  <a:gd name="T3" fmla="*/ 3391 h 3396"/>
                  <a:gd name="T4" fmla="*/ 5 w 6026"/>
                  <a:gd name="T5" fmla="*/ 3391 h 3396"/>
                  <a:gd name="T6" fmla="*/ 5 w 6026"/>
                  <a:gd name="T7" fmla="*/ 5 h 3396"/>
                  <a:gd name="T8" fmla="*/ 6021 w 6026"/>
                  <a:gd name="T9" fmla="*/ 5 h 3396"/>
                  <a:gd name="T10" fmla="*/ 6021 w 6026"/>
                  <a:gd name="T11" fmla="*/ 3394 h 3396"/>
                  <a:gd name="T12" fmla="*/ 6024 w 6026"/>
                  <a:gd name="T13" fmla="*/ 3394 h 3396"/>
                  <a:gd name="T14" fmla="*/ 6024 w 6026"/>
                  <a:gd name="T15" fmla="*/ 3391 h 3396"/>
                  <a:gd name="T16" fmla="*/ 6024 w 6026"/>
                  <a:gd name="T17" fmla="*/ 3394 h 3396"/>
                  <a:gd name="T18" fmla="*/ 6026 w 6026"/>
                  <a:gd name="T19" fmla="*/ 3394 h 3396"/>
                  <a:gd name="T20" fmla="*/ 6026 w 6026"/>
                  <a:gd name="T21" fmla="*/ 0 h 3396"/>
                  <a:gd name="T22" fmla="*/ 0 w 6026"/>
                  <a:gd name="T23" fmla="*/ 0 h 3396"/>
                  <a:gd name="T24" fmla="*/ 0 w 6026"/>
                  <a:gd name="T25" fmla="*/ 3396 h 3396"/>
                  <a:gd name="T26" fmla="*/ 6026 w 6026"/>
                  <a:gd name="T27" fmla="*/ 3396 h 3396"/>
                  <a:gd name="T28" fmla="*/ 6026 w 6026"/>
                  <a:gd name="T29" fmla="*/ 3394 h 3396"/>
                  <a:gd name="T30" fmla="*/ 6024 w 6026"/>
                  <a:gd name="T31" fmla="*/ 3394 h 33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6026" h="3396">
                    <a:moveTo>
                      <a:pt x="6024" y="3394"/>
                    </a:moveTo>
                    <a:lnTo>
                      <a:pt x="6024" y="3391"/>
                    </a:lnTo>
                    <a:lnTo>
                      <a:pt x="5" y="3391"/>
                    </a:lnTo>
                    <a:lnTo>
                      <a:pt x="5" y="5"/>
                    </a:lnTo>
                    <a:lnTo>
                      <a:pt x="6021" y="5"/>
                    </a:lnTo>
                    <a:lnTo>
                      <a:pt x="6021" y="3394"/>
                    </a:lnTo>
                    <a:lnTo>
                      <a:pt x="6024" y="3394"/>
                    </a:lnTo>
                    <a:lnTo>
                      <a:pt x="6024" y="3391"/>
                    </a:lnTo>
                    <a:lnTo>
                      <a:pt x="6024" y="3394"/>
                    </a:lnTo>
                    <a:lnTo>
                      <a:pt x="6026" y="3394"/>
                    </a:lnTo>
                    <a:lnTo>
                      <a:pt x="6026" y="0"/>
                    </a:lnTo>
                    <a:lnTo>
                      <a:pt x="0" y="0"/>
                    </a:lnTo>
                    <a:lnTo>
                      <a:pt x="0" y="3396"/>
                    </a:lnTo>
                    <a:lnTo>
                      <a:pt x="6026" y="3396"/>
                    </a:lnTo>
                    <a:lnTo>
                      <a:pt x="6026" y="3394"/>
                    </a:lnTo>
                    <a:lnTo>
                      <a:pt x="6024" y="3394"/>
                    </a:lnTo>
                    <a:close/>
                  </a:path>
                </a:pathLst>
              </a:custGeom>
              <a:solidFill>
                <a:schemeClr val="accent5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575757"/>
                  </a:solidFill>
                  <a:effectLst/>
                  <a:uLnTx/>
                  <a:uFillTx/>
                  <a:ea typeface="+mn-ea"/>
                  <a:cs typeface="+mn-cs"/>
                </a:endParaRPr>
              </a:p>
            </p:txBody>
          </p:sp>
          <p:sp>
            <p:nvSpPr>
              <p:cNvPr id="54" name="Footnote measure"/>
              <p:cNvSpPr>
                <a:spLocks noChangeArrowheads="1"/>
              </p:cNvSpPr>
              <p:nvPr/>
            </p:nvSpPr>
            <p:spPr bwMode="auto">
              <a:xfrm>
                <a:off x="629400" y="5678521"/>
                <a:ext cx="10933200" cy="905159"/>
              </a:xfrm>
              <a:prstGeom prst="rect">
                <a:avLst/>
              </a:prstGeom>
              <a:solidFill>
                <a:schemeClr val="accent3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5" name="Whitespace measure"/>
              <p:cNvSpPr>
                <a:spLocks noChangeArrowheads="1"/>
              </p:cNvSpPr>
              <p:nvPr/>
            </p:nvSpPr>
            <p:spPr bwMode="auto">
              <a:xfrm>
                <a:off x="629400" y="1514985"/>
                <a:ext cx="10932229" cy="594790"/>
              </a:xfrm>
              <a:prstGeom prst="rect">
                <a:avLst/>
              </a:prstGeom>
              <a:solidFill>
                <a:schemeClr val="accent3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6" name="Live area"/>
              <p:cNvSpPr/>
              <p:nvPr/>
            </p:nvSpPr>
            <p:spPr>
              <a:xfrm>
                <a:off x="629400" y="2109775"/>
                <a:ext cx="10933200" cy="3568747"/>
              </a:xfrm>
              <a:custGeom>
                <a:avLst/>
                <a:gdLst>
                  <a:gd name="connsiteX0" fmla="*/ 0 w 10931999"/>
                  <a:gd name="connsiteY0" fmla="*/ 0 h 5537797"/>
                  <a:gd name="connsiteX1" fmla="*/ 10931999 w 10931999"/>
                  <a:gd name="connsiteY1" fmla="*/ 0 h 5537797"/>
                  <a:gd name="connsiteX2" fmla="*/ 10931999 w 10931999"/>
                  <a:gd name="connsiteY2" fmla="*/ 5537797 h 5537797"/>
                  <a:gd name="connsiteX3" fmla="*/ 0 w 10931999"/>
                  <a:gd name="connsiteY3" fmla="*/ 5537797 h 55377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0931999" h="5537797">
                    <a:moveTo>
                      <a:pt x="0" y="0"/>
                    </a:moveTo>
                    <a:lnTo>
                      <a:pt x="10931999" y="0"/>
                    </a:lnTo>
                    <a:lnTo>
                      <a:pt x="10931999" y="5537797"/>
                    </a:lnTo>
                    <a:lnTo>
                      <a:pt x="0" y="5537797"/>
                    </a:lnTo>
                    <a:close/>
                  </a:path>
                </a:pathLst>
              </a:custGeom>
              <a:noFill/>
              <a:ln w="9525">
                <a:solidFill>
                  <a:srgbClr val="ED1B24">
                    <a:alpha val="35000"/>
                  </a:srgbClr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>
                  <a:lnSpc>
                    <a:spcPct val="90000"/>
                  </a:lnSpc>
                  <a:spcAft>
                    <a:spcPts val="1000"/>
                  </a:spcAft>
                </a:pPr>
                <a:endParaRPr lang="en-US" sz="1200">
                  <a:solidFill>
                    <a:schemeClr val="bg1"/>
                  </a:solidFill>
                </a:endParaRPr>
              </a:p>
            </p:txBody>
          </p:sp>
          <p:sp>
            <p:nvSpPr>
              <p:cNvPr id="57" name="Footnote example"/>
              <p:cNvSpPr txBox="1"/>
              <p:nvPr/>
            </p:nvSpPr>
            <p:spPr>
              <a:xfrm>
                <a:off x="630000" y="5678521"/>
                <a:ext cx="9030914" cy="332399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b">
                <a:spAutoFit/>
              </a:bodyPr>
              <a:lstStyle/>
              <a:p>
                <a:pPr lvl="0">
                  <a:lnSpc>
                    <a:spcPct val="90000"/>
                  </a:lnSpc>
                  <a:defRPr/>
                </a:pPr>
                <a:r>
                  <a:rPr lang="en-US" sz="800">
                    <a:solidFill>
                      <a:prstClr val="white">
                        <a:lumMod val="65000"/>
                      </a:prstClr>
                    </a:solidFill>
                    <a:sym typeface="Trebuchet MS" panose="020B0603020202020204" pitchFamily="34" charset="0"/>
                  </a:rPr>
                  <a:t>1. xxxx  2. xxxx  3. List footnotes in numerical order. Footnote numbers are not bracketed. Use 8pt font</a:t>
                </a:r>
              </a:p>
              <a:p>
                <a:pPr lvl="0">
                  <a:lnSpc>
                    <a:spcPct val="90000"/>
                  </a:lnSpc>
                  <a:defRPr/>
                </a:pPr>
                <a:r>
                  <a:rPr lang="en-US" sz="800">
                    <a:solidFill>
                      <a:prstClr val="white">
                        <a:lumMod val="65000"/>
                      </a:prstClr>
                    </a:solidFill>
                    <a:sym typeface="Trebuchet MS" panose="020B0603020202020204" pitchFamily="34" charset="0"/>
                  </a:rPr>
                  <a:t>Note: Do not put a period at the end of the note or the source</a:t>
                </a:r>
              </a:p>
              <a:p>
                <a:pPr lvl="0">
                  <a:lnSpc>
                    <a:spcPct val="90000"/>
                  </a:lnSpc>
                  <a:defRPr/>
                </a:pPr>
                <a:r>
                  <a:rPr lang="en-US" sz="800">
                    <a:solidFill>
                      <a:prstClr val="white">
                        <a:lumMod val="65000"/>
                      </a:prstClr>
                    </a:solidFill>
                    <a:sym typeface="Trebuchet MS" panose="020B0603020202020204" pitchFamily="34" charset="0"/>
                  </a:rPr>
                  <a:t>Source: Include a source for every chart that you use. Separate sources with a semicolon; BCG-related sources go at the end</a:t>
                </a:r>
                <a:endParaRPr kumimoji="0" lang="en-US" sz="800" b="0" i="0" u="none" strike="noStrike" kern="1200" cap="none" spc="0" normalizeH="0" baseline="0" noProof="0">
                  <a:ln>
                    <a:noFill/>
                  </a:ln>
                  <a:solidFill>
                    <a:prstClr val="white">
                      <a:lumMod val="65000"/>
                    </a:prstClr>
                  </a:solidFill>
                  <a:effectLst/>
                  <a:uLnTx/>
                  <a:uFillTx/>
                  <a:sym typeface="Trebuchet MS" panose="020B0603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0512698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genda Section Header Overview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9719737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/>
          <p:cNvSpPr/>
          <p:nvPr/>
        </p:nvSpPr>
        <p:spPr bwMode="invGray">
          <a:xfrm>
            <a:off x="1388145" y="4691187"/>
            <a:ext cx="929337" cy="995874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</a:endParaRPr>
          </a:p>
        </p:txBody>
      </p:sp>
      <p:sp>
        <p:nvSpPr>
          <p:cNvPr id="12" name="Rectangle 11"/>
          <p:cNvSpPr/>
          <p:nvPr>
            <p:custDataLst>
              <p:tags r:id="rId2"/>
            </p:custDataLst>
          </p:nvPr>
        </p:nvSpPr>
        <p:spPr>
          <a:xfrm>
            <a:off x="2509482" y="4691187"/>
            <a:ext cx="1570152" cy="1468176"/>
          </a:xfrm>
          <a:prstGeom prst="rect">
            <a:avLst/>
          </a:prstGeom>
          <a:noFill/>
          <a:ln w="9525" cmpd="sng">
            <a:solidFill>
              <a:srgbClr val="FFFFFF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000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1200">
              <a:solidFill>
                <a:srgbClr val="FFFFFF"/>
              </a:solidFill>
              <a:latin typeface="Trebuchet MS" panose="020B0603020202020204" pitchFamily="34" charset="0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630000" y="1161143"/>
            <a:ext cx="3448800" cy="3234456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txBody>
          <a:bodyPr wrap="square" lIns="612000" tIns="468000" rIns="0" bIns="0" rtlCol="0" anchor="t">
            <a:no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5400">
              <a:solidFill>
                <a:schemeClr val="bg1"/>
              </a:solidFill>
            </a:endParaRPr>
          </a:p>
        </p:txBody>
      </p:sp>
      <p:sp>
        <p:nvSpPr>
          <p:cNvPr id="10" name="TextBox 1"/>
          <p:cNvSpPr txBox="1"/>
          <p:nvPr/>
        </p:nvSpPr>
        <p:spPr>
          <a:xfrm>
            <a:off x="1109949" y="1347645"/>
            <a:ext cx="2488182" cy="8963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5400">
                <a:solidFill>
                  <a:schemeClr val="bg1"/>
                </a:solidFill>
                <a:latin typeface="+mj-lt"/>
              </a:rPr>
              <a:t>Agenda</a:t>
            </a:r>
          </a:p>
        </p:txBody>
      </p:sp>
      <p:sp>
        <p:nvSpPr>
          <p:cNvPr id="13" name="Copyright" hidden="1"/>
          <p:cNvSpPr txBox="1"/>
          <p:nvPr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3265035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genda Section Header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2866273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/>
          <p:cNvSpPr/>
          <p:nvPr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1285200" y="2667600"/>
            <a:ext cx="9619200" cy="3200400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</a:endParaRPr>
          </a:p>
        </p:txBody>
      </p:sp>
      <p:sp>
        <p:nvSpPr>
          <p:cNvPr id="8" name="Copyright" hidden="1"/>
          <p:cNvSpPr txBox="1"/>
          <p:nvPr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3333415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genda Full Width Overview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5797947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tle 1"/>
          <p:cNvSpPr txBox="1">
            <a:spLocks/>
          </p:cNvSpPr>
          <p:nvPr/>
        </p:nvSpPr>
        <p:spPr>
          <a:xfrm>
            <a:off x="2000250" y="622800"/>
            <a:ext cx="5819748" cy="4708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>
                <a:solidFill>
                  <a:schemeClr val="bg1"/>
                </a:solidFill>
              </a:rPr>
              <a:t>Agenda</a:t>
            </a:r>
          </a:p>
        </p:txBody>
      </p:sp>
      <p:cxnSp>
        <p:nvCxnSpPr>
          <p:cNvPr id="13" name="Straight Connector 12"/>
          <p:cNvCxnSpPr/>
          <p:nvPr/>
        </p:nvCxnSpPr>
        <p:spPr bwMode="white">
          <a:xfrm>
            <a:off x="618898" y="1206000"/>
            <a:ext cx="11576304" cy="0"/>
          </a:xfrm>
          <a:prstGeom prst="line">
            <a:avLst/>
          </a:prstGeom>
          <a:ln w="9525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Copyright" hidden="1"/>
          <p:cNvSpPr txBox="1"/>
          <p:nvPr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4748099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genda Two-Thirds">
    <p:bg>
      <p:bgPr>
        <a:gradFill>
          <a:gsLst>
            <a:gs pos="39000">
              <a:srgbClr val="D81F30"/>
            </a:gs>
            <a:gs pos="100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0016473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/>
        </p:nvSpPr>
        <p:spPr bwMode="white">
          <a:xfrm>
            <a:off x="4080763" y="-1309"/>
            <a:ext cx="8111237" cy="685930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630000" y="3207715"/>
            <a:ext cx="1547143" cy="4431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3200">
                <a:solidFill>
                  <a:schemeClr val="bg1"/>
                </a:solidFill>
              </a:rPr>
              <a:t>Agenda</a:t>
            </a:r>
          </a:p>
        </p:txBody>
      </p:sp>
      <p:sp>
        <p:nvSpPr>
          <p:cNvPr id="9" name="Copyright" hidden="1"/>
          <p:cNvSpPr txBox="1"/>
          <p:nvPr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4" name="Freeform 13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/>
        </p:nvSpPr>
        <p:spPr>
          <a:xfrm>
            <a:off x="4151664" y="6326127"/>
            <a:ext cx="8037289" cy="531873"/>
          </a:xfrm>
          <a:custGeom>
            <a:avLst/>
            <a:gdLst>
              <a:gd name="connsiteX0" fmla="*/ 4248622 w 8037289"/>
              <a:gd name="connsiteY0" fmla="*/ 0 h 531873"/>
              <a:gd name="connsiteX1" fmla="*/ 8037287 w 8037289"/>
              <a:gd name="connsiteY1" fmla="*/ 0 h 531873"/>
              <a:gd name="connsiteX2" fmla="*/ 8037287 w 8037289"/>
              <a:gd name="connsiteY2" fmla="*/ 239773 h 531873"/>
              <a:gd name="connsiteX3" fmla="*/ 8037289 w 8037289"/>
              <a:gd name="connsiteY3" fmla="*/ 239773 h 531873"/>
              <a:gd name="connsiteX4" fmla="*/ 8037289 w 8037289"/>
              <a:gd name="connsiteY4" fmla="*/ 531873 h 531873"/>
              <a:gd name="connsiteX5" fmla="*/ 0 w 8037289"/>
              <a:gd name="connsiteY5" fmla="*/ 531873 h 531873"/>
              <a:gd name="connsiteX6" fmla="*/ 0 w 8037289"/>
              <a:gd name="connsiteY6" fmla="*/ 239773 h 531873"/>
              <a:gd name="connsiteX7" fmla="*/ 4068966 w 8037289"/>
              <a:gd name="connsiteY7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037289" h="531873">
                <a:moveTo>
                  <a:pt x="4248622" y="0"/>
                </a:moveTo>
                <a:lnTo>
                  <a:pt x="8037287" y="0"/>
                </a:lnTo>
                <a:lnTo>
                  <a:pt x="8037287" y="239773"/>
                </a:lnTo>
                <a:lnTo>
                  <a:pt x="8037289" y="239773"/>
                </a:lnTo>
                <a:lnTo>
                  <a:pt x="8037289" y="531873"/>
                </a:lnTo>
                <a:lnTo>
                  <a:pt x="0" y="531873"/>
                </a:lnTo>
                <a:lnTo>
                  <a:pt x="0" y="239773"/>
                </a:lnTo>
                <a:lnTo>
                  <a:pt x="4068966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782856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 Overvie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5477709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/>
        </p:nvSpPr>
        <p:spPr bwMode="invGray">
          <a:xfrm>
            <a:off x="1388145" y="4691187"/>
            <a:ext cx="929337" cy="995874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</a:endParaRPr>
          </a:p>
        </p:txBody>
      </p:sp>
      <p:sp>
        <p:nvSpPr>
          <p:cNvPr id="10" name="Rectangle 9"/>
          <p:cNvSpPr/>
          <p:nvPr>
            <p:custDataLst>
              <p:tags r:id="rId2"/>
            </p:custDataLst>
          </p:nvPr>
        </p:nvSpPr>
        <p:spPr>
          <a:xfrm>
            <a:off x="2509482" y="4691187"/>
            <a:ext cx="1570152" cy="1468176"/>
          </a:xfrm>
          <a:prstGeom prst="rect">
            <a:avLst/>
          </a:prstGeom>
          <a:noFill/>
          <a:ln w="9525" cmpd="sng">
            <a:solidFill>
              <a:schemeClr val="accent4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000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1200">
              <a:solidFill>
                <a:srgbClr val="FFFFFF"/>
              </a:solidFill>
              <a:latin typeface="Trebuchet MS" panose="020B0603020202020204" pitchFamily="34" charset="0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630000" y="1161143"/>
            <a:ext cx="3448800" cy="3234456"/>
          </a:xfrm>
          <a:prstGeom prst="rect">
            <a:avLst/>
          </a:prstGeom>
          <a:noFill/>
          <a:ln>
            <a:solidFill>
              <a:schemeClr val="accent4"/>
            </a:solidFill>
          </a:ln>
        </p:spPr>
        <p:txBody>
          <a:bodyPr wrap="square" lIns="612000" tIns="468000" rIns="0" bIns="0" rtlCol="0" anchor="t">
            <a:no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5400">
              <a:solidFill>
                <a:schemeClr val="accent4"/>
              </a:solidFill>
            </a:endParaRPr>
          </a:p>
        </p:txBody>
      </p:sp>
      <p:sp>
        <p:nvSpPr>
          <p:cNvPr id="9" name="TextBox 1"/>
          <p:cNvSpPr txBox="1"/>
          <p:nvPr/>
        </p:nvSpPr>
        <p:spPr>
          <a:xfrm>
            <a:off x="1109949" y="1347645"/>
            <a:ext cx="2488182" cy="8963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 sz="5400">
                <a:solidFill>
                  <a:schemeClr val="accent4"/>
                </a:solidFill>
                <a:latin typeface="+mj-lt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r>
              <a:rPr lang="en-US"/>
              <a:t>Agenda</a:t>
            </a:r>
          </a:p>
        </p:txBody>
      </p:sp>
      <p:sp>
        <p:nvSpPr>
          <p:cNvPr id="12" name="Copyright" hidden="1"/>
          <p:cNvSpPr txBox="1"/>
          <p:nvPr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4074058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8877227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1285200" y="2667600"/>
            <a:ext cx="9619200" cy="3200400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</a:endParaRPr>
          </a:p>
        </p:txBody>
      </p:sp>
      <p:sp>
        <p:nvSpPr>
          <p:cNvPr id="6" name="Copyright" hidden="1"/>
          <p:cNvSpPr txBox="1"/>
          <p:nvPr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7114761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Full Width Overvie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8082548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1"/>
          <p:cNvSpPr txBox="1">
            <a:spLocks/>
          </p:cNvSpPr>
          <p:nvPr/>
        </p:nvSpPr>
        <p:spPr>
          <a:xfrm>
            <a:off x="2000250" y="622800"/>
            <a:ext cx="5819748" cy="4708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>
                <a:solidFill>
                  <a:schemeClr val="accent4"/>
                </a:solidFill>
              </a:rPr>
              <a:t>Agenda</a:t>
            </a:r>
          </a:p>
        </p:txBody>
      </p:sp>
      <p:cxnSp>
        <p:nvCxnSpPr>
          <p:cNvPr id="9" name="Straight Connector 8"/>
          <p:cNvCxnSpPr/>
          <p:nvPr/>
        </p:nvCxnSpPr>
        <p:spPr bwMode="white">
          <a:xfrm>
            <a:off x="618898" y="1206000"/>
            <a:ext cx="11576304" cy="0"/>
          </a:xfrm>
          <a:prstGeom prst="line">
            <a:avLst/>
          </a:prstGeom>
          <a:ln w="9525" cmpd="sng">
            <a:solidFill>
              <a:schemeClr val="accent4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Copyright" hidden="1"/>
          <p:cNvSpPr txBox="1"/>
          <p:nvPr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5317870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genda D. Two-Thirds">
    <p:bg>
      <p:bgPr>
        <a:gradFill>
          <a:gsLst>
            <a:gs pos="39000">
              <a:srgbClr val="D81F30"/>
            </a:gs>
            <a:gs pos="100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1869666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22"/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26" name="Rectangle 25"/>
          <p:cNvSpPr/>
          <p:nvPr/>
        </p:nvSpPr>
        <p:spPr bwMode="ltGray">
          <a:xfrm>
            <a:off x="4080763" y="-1309"/>
            <a:ext cx="8111237" cy="68593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630000" y="3262145"/>
            <a:ext cx="1161047" cy="3323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2400">
                <a:solidFill>
                  <a:schemeClr val="bg1"/>
                </a:solidFill>
              </a:rPr>
              <a:t>Agenda</a:t>
            </a:r>
          </a:p>
        </p:txBody>
      </p:sp>
      <p:sp>
        <p:nvSpPr>
          <p:cNvPr id="9" name="Copyright" hidden="1"/>
          <p:cNvSpPr txBox="1"/>
          <p:nvPr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1" name="Freeform 10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/>
        </p:nvSpPr>
        <p:spPr>
          <a:xfrm>
            <a:off x="4151664" y="6326127"/>
            <a:ext cx="8037289" cy="531873"/>
          </a:xfrm>
          <a:custGeom>
            <a:avLst/>
            <a:gdLst>
              <a:gd name="connsiteX0" fmla="*/ 4248622 w 8037289"/>
              <a:gd name="connsiteY0" fmla="*/ 0 h 531873"/>
              <a:gd name="connsiteX1" fmla="*/ 8037287 w 8037289"/>
              <a:gd name="connsiteY1" fmla="*/ 0 h 531873"/>
              <a:gd name="connsiteX2" fmla="*/ 8037287 w 8037289"/>
              <a:gd name="connsiteY2" fmla="*/ 239773 h 531873"/>
              <a:gd name="connsiteX3" fmla="*/ 8037289 w 8037289"/>
              <a:gd name="connsiteY3" fmla="*/ 239773 h 531873"/>
              <a:gd name="connsiteX4" fmla="*/ 8037289 w 8037289"/>
              <a:gd name="connsiteY4" fmla="*/ 531873 h 531873"/>
              <a:gd name="connsiteX5" fmla="*/ 0 w 8037289"/>
              <a:gd name="connsiteY5" fmla="*/ 531873 h 531873"/>
              <a:gd name="connsiteX6" fmla="*/ 0 w 8037289"/>
              <a:gd name="connsiteY6" fmla="*/ 239773 h 531873"/>
              <a:gd name="connsiteX7" fmla="*/ 4068966 w 8037289"/>
              <a:gd name="connsiteY7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037289" h="531873">
                <a:moveTo>
                  <a:pt x="4248622" y="0"/>
                </a:moveTo>
                <a:lnTo>
                  <a:pt x="8037287" y="0"/>
                </a:lnTo>
                <a:lnTo>
                  <a:pt x="8037287" y="239773"/>
                </a:lnTo>
                <a:lnTo>
                  <a:pt x="8037289" y="239773"/>
                </a:lnTo>
                <a:lnTo>
                  <a:pt x="8037289" y="531873"/>
                </a:lnTo>
                <a:lnTo>
                  <a:pt x="0" y="531873"/>
                </a:lnTo>
                <a:lnTo>
                  <a:pt x="0" y="239773"/>
                </a:lnTo>
                <a:lnTo>
                  <a:pt x="4068966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3937657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line">
    <p:bg bwMode="blackWhite"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3826800"/>
            <a:ext cx="10936800" cy="2041200"/>
          </a:xfrm>
        </p:spPr>
        <p:txBody>
          <a:bodyPr anchor="t">
            <a:noAutofit/>
          </a:bodyPr>
          <a:lstStyle>
            <a:lvl1pPr>
              <a:defRPr sz="5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cxnSp>
        <p:nvCxnSpPr>
          <p:cNvPr id="148" name="Straight Connector 147"/>
          <p:cNvCxnSpPr/>
          <p:nvPr/>
        </p:nvCxnSpPr>
        <p:spPr bwMode="white">
          <a:xfrm>
            <a:off x="618898" y="3680016"/>
            <a:ext cx="11576304" cy="0"/>
          </a:xfrm>
          <a:prstGeom prst="line">
            <a:avLst/>
          </a:prstGeom>
          <a:ln w="19050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Box 6"/>
          <p:cNvSpPr txBox="1"/>
          <p:nvPr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8070478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genda D. Table of Contents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1390545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 12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7" name="Freeform 12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630000" y="2577934"/>
            <a:ext cx="2819400" cy="17617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indent="0">
              <a:lnSpc>
                <a:spcPct val="106000"/>
              </a:lnSpc>
              <a:spcAft>
                <a:spcPts val="700"/>
              </a:spcAft>
              <a:buFontTx/>
              <a:buNone/>
            </a:pPr>
            <a:r>
              <a:rPr lang="en-US" sz="54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Table of contents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8638" y="3586748"/>
            <a:ext cx="1365250" cy="3382962"/>
          </a:xfrm>
          <a:custGeom>
            <a:avLst/>
            <a:gdLst>
              <a:gd name="connsiteX0" fmla="*/ 94280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28720 w 1365250"/>
              <a:gd name="connsiteY3" fmla="*/ 3382962 h 3382962"/>
              <a:gd name="connsiteX4" fmla="*/ 0 w 1365250"/>
              <a:gd name="connsiteY4" fmla="*/ 0 h 3382962"/>
              <a:gd name="connsiteX5" fmla="*/ 929501 w 1365250"/>
              <a:gd name="connsiteY5" fmla="*/ 0 h 3382962"/>
              <a:gd name="connsiteX6" fmla="*/ 0 w 1365250"/>
              <a:gd name="connsiteY6" fmla="*/ 2860398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65250" h="3382962">
                <a:moveTo>
                  <a:pt x="94280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28720" y="3382962"/>
                </a:lnTo>
                <a:close/>
                <a:moveTo>
                  <a:pt x="0" y="0"/>
                </a:moveTo>
                <a:lnTo>
                  <a:pt x="929501" y="0"/>
                </a:lnTo>
                <a:lnTo>
                  <a:pt x="0" y="2860398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Copyright" hidden="1"/>
          <p:cNvSpPr txBox="1"/>
          <p:nvPr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4" name="Freeform 13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/>
        </p:nvSpPr>
        <p:spPr>
          <a:xfrm>
            <a:off x="1" y="6565900"/>
            <a:ext cx="3266011" cy="292100"/>
          </a:xfrm>
          <a:custGeom>
            <a:avLst/>
            <a:gdLst>
              <a:gd name="connsiteX0" fmla="*/ 0 w 3266011"/>
              <a:gd name="connsiteY0" fmla="*/ 0 h 292100"/>
              <a:gd name="connsiteX1" fmla="*/ 3266011 w 3266011"/>
              <a:gd name="connsiteY1" fmla="*/ 0 h 292100"/>
              <a:gd name="connsiteX2" fmla="*/ 3195872 w 3266011"/>
              <a:gd name="connsiteY2" fmla="*/ 292100 h 292100"/>
              <a:gd name="connsiteX3" fmla="*/ 0 w 3266011"/>
              <a:gd name="connsiteY3" fmla="*/ 292100 h 292100"/>
              <a:gd name="connsiteX4" fmla="*/ 0 w 3266011"/>
              <a:gd name="connsiteY4" fmla="*/ 0 h 292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266011" h="292100">
                <a:moveTo>
                  <a:pt x="0" y="0"/>
                </a:moveTo>
                <a:lnTo>
                  <a:pt x="3266011" y="0"/>
                </a:lnTo>
                <a:lnTo>
                  <a:pt x="3195872" y="292100"/>
                </a:lnTo>
                <a:lnTo>
                  <a:pt x="0" y="292100"/>
                </a:lnTo>
                <a:lnTo>
                  <a:pt x="0" y="0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280443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D. Gray slice head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14DB36A4-3C22-4171-A7C0-131095FDCC9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807718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14DB36A4-3C22-4171-A7C0-131095FDCC9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/>
        </p:nvSpPr>
        <p:spPr bwMode="white">
          <a:xfrm>
            <a:off x="1" y="-1309"/>
            <a:ext cx="3252485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2" name="Copyright" hidden="1"/>
          <p:cNvSpPr txBox="1"/>
          <p:nvPr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3" name="Freeform: Shape 31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/>
        </p:nvSpPr>
        <p:spPr>
          <a:xfrm>
            <a:off x="0" y="6326127"/>
            <a:ext cx="12188952" cy="531873"/>
          </a:xfrm>
          <a:custGeom>
            <a:avLst/>
            <a:gdLst>
              <a:gd name="connsiteX0" fmla="*/ 8400285 w 12188952"/>
              <a:gd name="connsiteY0" fmla="*/ 0 h 531873"/>
              <a:gd name="connsiteX1" fmla="*/ 12188950 w 12188952"/>
              <a:gd name="connsiteY1" fmla="*/ 0 h 531873"/>
              <a:gd name="connsiteX2" fmla="*/ 12188950 w 12188952"/>
              <a:gd name="connsiteY2" fmla="*/ 239773 h 531873"/>
              <a:gd name="connsiteX3" fmla="*/ 12188952 w 12188952"/>
              <a:gd name="connsiteY3" fmla="*/ 239773 h 531873"/>
              <a:gd name="connsiteX4" fmla="*/ 12188952 w 12188952"/>
              <a:gd name="connsiteY4" fmla="*/ 531873 h 531873"/>
              <a:gd name="connsiteX5" fmla="*/ 0 w 12188952"/>
              <a:gd name="connsiteY5" fmla="*/ 531873 h 531873"/>
              <a:gd name="connsiteX6" fmla="*/ 0 w 12188952"/>
              <a:gd name="connsiteY6" fmla="*/ 239773 h 531873"/>
              <a:gd name="connsiteX7" fmla="*/ 8220629 w 12188952"/>
              <a:gd name="connsiteY7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88952" h="531873">
                <a:moveTo>
                  <a:pt x="8400285" y="0"/>
                </a:moveTo>
                <a:lnTo>
                  <a:pt x="12188950" y="0"/>
                </a:lnTo>
                <a:lnTo>
                  <a:pt x="12188950" y="239773"/>
                </a:lnTo>
                <a:lnTo>
                  <a:pt x="12188952" y="239773"/>
                </a:lnTo>
                <a:lnTo>
                  <a:pt x="12188952" y="531873"/>
                </a:lnTo>
                <a:lnTo>
                  <a:pt x="0" y="531873"/>
                </a:lnTo>
                <a:lnTo>
                  <a:pt x="0" y="239773"/>
                </a:lnTo>
                <a:lnTo>
                  <a:pt x="8220629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5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  <p:sp>
        <p:nvSpPr>
          <p:cNvPr id="17" name="Title 1">
            <a:extLst>
              <a:ext uri="{FF2B5EF4-FFF2-40B4-BE49-F238E27FC236}">
                <a16:creationId xmlns:a16="http://schemas.microsoft.com/office/drawing/2014/main" id="{8C8680F0-21E4-46C4-A4F9-6D480C873DD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16539" y="622800"/>
            <a:ext cx="6731334" cy="332399"/>
          </a:xfrm>
          <a:prstGeom prst="rect">
            <a:avLst/>
          </a:prstGeom>
        </p:spPr>
        <p:txBody>
          <a:bodyPr vert="horz"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9937904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935613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</a:pPr>
            <a:endParaRPr lang="en-US" sz="5400" b="0" i="0" baseline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11" name="Freeform: Shape 31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/>
        </p:nvSpPr>
        <p:spPr>
          <a:xfrm>
            <a:off x="0" y="6326127"/>
            <a:ext cx="12188952" cy="531873"/>
          </a:xfrm>
          <a:custGeom>
            <a:avLst/>
            <a:gdLst>
              <a:gd name="connsiteX0" fmla="*/ 8400285 w 12188952"/>
              <a:gd name="connsiteY0" fmla="*/ 0 h 531873"/>
              <a:gd name="connsiteX1" fmla="*/ 12188950 w 12188952"/>
              <a:gd name="connsiteY1" fmla="*/ 0 h 531873"/>
              <a:gd name="connsiteX2" fmla="*/ 12188950 w 12188952"/>
              <a:gd name="connsiteY2" fmla="*/ 239773 h 531873"/>
              <a:gd name="connsiteX3" fmla="*/ 12188952 w 12188952"/>
              <a:gd name="connsiteY3" fmla="*/ 239773 h 531873"/>
              <a:gd name="connsiteX4" fmla="*/ 12188952 w 12188952"/>
              <a:gd name="connsiteY4" fmla="*/ 531873 h 531873"/>
              <a:gd name="connsiteX5" fmla="*/ 0 w 12188952"/>
              <a:gd name="connsiteY5" fmla="*/ 531873 h 531873"/>
              <a:gd name="connsiteX6" fmla="*/ 0 w 12188952"/>
              <a:gd name="connsiteY6" fmla="*/ 239773 h 531873"/>
              <a:gd name="connsiteX7" fmla="*/ 8220629 w 12188952"/>
              <a:gd name="connsiteY7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88952" h="531873">
                <a:moveTo>
                  <a:pt x="8400285" y="0"/>
                </a:moveTo>
                <a:lnTo>
                  <a:pt x="12188950" y="0"/>
                </a:lnTo>
                <a:lnTo>
                  <a:pt x="12188950" y="239773"/>
                </a:lnTo>
                <a:lnTo>
                  <a:pt x="12188952" y="239773"/>
                </a:lnTo>
                <a:lnTo>
                  <a:pt x="12188952" y="531873"/>
                </a:lnTo>
                <a:lnTo>
                  <a:pt x="0" y="531873"/>
                </a:lnTo>
                <a:lnTo>
                  <a:pt x="0" y="239773"/>
                </a:lnTo>
                <a:lnTo>
                  <a:pt x="8220629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20" name="Title 1">
            <a:extLst>
              <a:ext uri="{FF2B5EF4-FFF2-40B4-BE49-F238E27FC236}">
                <a16:creationId xmlns:a16="http://schemas.microsoft.com/office/drawing/2014/main" id="{5256DD11-030E-4276-B7F9-8800AF6ADF2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1122363"/>
            <a:ext cx="9144000" cy="2387600"/>
          </a:xfrm>
        </p:spPr>
        <p:txBody>
          <a:bodyPr vert="horz" anchor="b">
            <a:noAutofit/>
          </a:bodyPr>
          <a:lstStyle>
            <a:lvl1pPr algn="ctr">
              <a:defRPr sz="6000" b="1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</a:t>
            </a:r>
            <a:br>
              <a:rPr lang="en-US"/>
            </a:br>
            <a:r>
              <a:rPr lang="en-US"/>
              <a:t>title style</a:t>
            </a:r>
            <a:endParaRPr lang="en-IN"/>
          </a:p>
        </p:txBody>
      </p:sp>
      <p:sp>
        <p:nvSpPr>
          <p:cNvPr id="21" name="Subtitle 2">
            <a:extLst>
              <a:ext uri="{FF2B5EF4-FFF2-40B4-BE49-F238E27FC236}">
                <a16:creationId xmlns:a16="http://schemas.microsoft.com/office/drawing/2014/main" id="{780C3700-E3C2-478C-8875-962D0768B72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IN"/>
          </a:p>
        </p:txBody>
      </p:sp>
      <p:pic>
        <p:nvPicPr>
          <p:cNvPr id="28" name="Picture 27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26120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lient Agenda Section Header">
    <p:bg>
      <p:bgPr>
        <a:solidFill>
          <a:srgbClr val="ED1C2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1697293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/>
          <p:cNvSpPr/>
          <p:nvPr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1285200" y="2667600"/>
            <a:ext cx="9619200" cy="3200400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</a:endParaRPr>
          </a:p>
        </p:txBody>
      </p:sp>
      <p:sp>
        <p:nvSpPr>
          <p:cNvPr id="8" name="Copyright" hidden="1"/>
          <p:cNvSpPr txBox="1"/>
          <p:nvPr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1373790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690042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Copyright" hidden="1"/>
          <p:cNvSpPr txBox="1"/>
          <p:nvPr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2000250" y="622800"/>
            <a:ext cx="95631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FF000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0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fld id="{AC3312C5-EFF4-47B0-B4A9-3F5E27BC8EC7}" type="datetimeFigureOut">
              <a:rPr lang="en-IN" smtClean="0"/>
              <a:t>28-05-2025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6750310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ex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59147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FCE4FFF-81B3-4CDA-B0A1-3363FFB22A6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000250" y="622800"/>
            <a:ext cx="9563100" cy="470898"/>
          </a:xfrm>
        </p:spPr>
        <p:txBody>
          <a:bodyPr vert="horz"/>
          <a:lstStyle>
            <a:lvl1pPr>
              <a:defRPr sz="3400"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1F54B2F8-C51F-4566-BAC0-8A0C8E57548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29399" y="2085628"/>
            <a:ext cx="10933801" cy="4089131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/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/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/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800"/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8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Copyright" hidden="1"/>
          <p:cNvSpPr txBox="1"/>
          <p:nvPr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0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fld id="{AC3312C5-EFF4-47B0-B4A9-3F5E27BC8EC7}" type="datetimeFigureOut">
              <a:rPr lang="en-IN" smtClean="0"/>
              <a:t>28-05-2025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359094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Gray slice head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/>
        </p:nvSpPr>
        <p:spPr bwMode="ltGray">
          <a:xfrm>
            <a:off x="1" y="-1309"/>
            <a:ext cx="46944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ltGray">
          <a:xfrm>
            <a:off x="630000" y="1544274"/>
            <a:ext cx="3452400" cy="1495794"/>
          </a:xfrm>
          <a:noFill/>
        </p:spPr>
        <p:txBody>
          <a:bodyPr vert="horz" wrap="square" lIns="0" tIns="0" rIns="320040" bIns="0" anchor="b">
            <a:noAutofit/>
          </a:bodyPr>
          <a:lstStyle>
            <a:lvl1pPr>
              <a:defRPr sz="3200">
                <a:solidFill>
                  <a:srgbClr val="FF0000"/>
                </a:solidFill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2" name="Copyright" hidden="1"/>
          <p:cNvSpPr txBox="1"/>
          <p:nvPr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3" name="Freeform: Shape 31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/>
        </p:nvSpPr>
        <p:spPr>
          <a:xfrm>
            <a:off x="0" y="6326127"/>
            <a:ext cx="12188952" cy="531873"/>
          </a:xfrm>
          <a:custGeom>
            <a:avLst/>
            <a:gdLst>
              <a:gd name="connsiteX0" fmla="*/ 8400285 w 12188952"/>
              <a:gd name="connsiteY0" fmla="*/ 0 h 531873"/>
              <a:gd name="connsiteX1" fmla="*/ 12188950 w 12188952"/>
              <a:gd name="connsiteY1" fmla="*/ 0 h 531873"/>
              <a:gd name="connsiteX2" fmla="*/ 12188950 w 12188952"/>
              <a:gd name="connsiteY2" fmla="*/ 239773 h 531873"/>
              <a:gd name="connsiteX3" fmla="*/ 12188952 w 12188952"/>
              <a:gd name="connsiteY3" fmla="*/ 239773 h 531873"/>
              <a:gd name="connsiteX4" fmla="*/ 12188952 w 12188952"/>
              <a:gd name="connsiteY4" fmla="*/ 531873 h 531873"/>
              <a:gd name="connsiteX5" fmla="*/ 0 w 12188952"/>
              <a:gd name="connsiteY5" fmla="*/ 531873 h 531873"/>
              <a:gd name="connsiteX6" fmla="*/ 0 w 12188952"/>
              <a:gd name="connsiteY6" fmla="*/ 239773 h 531873"/>
              <a:gd name="connsiteX7" fmla="*/ 8220629 w 12188952"/>
              <a:gd name="connsiteY7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88952" h="531873">
                <a:moveTo>
                  <a:pt x="8400285" y="0"/>
                </a:moveTo>
                <a:lnTo>
                  <a:pt x="12188950" y="0"/>
                </a:lnTo>
                <a:lnTo>
                  <a:pt x="12188950" y="239773"/>
                </a:lnTo>
                <a:lnTo>
                  <a:pt x="12188952" y="239773"/>
                </a:lnTo>
                <a:lnTo>
                  <a:pt x="12188952" y="531873"/>
                </a:lnTo>
                <a:lnTo>
                  <a:pt x="0" y="531873"/>
                </a:lnTo>
                <a:lnTo>
                  <a:pt x="0" y="239773"/>
                </a:lnTo>
                <a:lnTo>
                  <a:pt x="8220629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5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fld id="{AC3312C5-EFF4-47B0-B4A9-3F5E27BC8EC7}" type="datetimeFigureOut">
              <a:rPr lang="en-IN" smtClean="0"/>
              <a:t>28-05-2025</a:t>
            </a:fld>
            <a:endParaRPr lang="en-IN"/>
          </a:p>
        </p:txBody>
      </p:sp>
      <p:pic>
        <p:nvPicPr>
          <p:cNvPr id="16" name="Picture 15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217114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box">
    <p:bg bwMode="grayWhite"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284742" y="2668041"/>
            <a:ext cx="9620491" cy="3201026"/>
          </a:xfrm>
          <a:prstGeom prst="rect">
            <a:avLst/>
          </a:prstGeom>
          <a:ln w="9525">
            <a:solidFill>
              <a:schemeClr val="bg1"/>
            </a:solidFill>
          </a:ln>
        </p:spPr>
        <p:txBody>
          <a:bodyPr lIns="274320" tIns="274320" rIns="274320" bIns="137160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sp>
        <p:nvSpPr>
          <p:cNvPr id="59" name="Rectangle 58"/>
          <p:cNvSpPr/>
          <p:nvPr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8" name="Copyright" hidden="1"/>
          <p:cNvSpPr txBox="1"/>
          <p:nvPr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fld id="{AC3312C5-EFF4-47B0-B4A9-3F5E27BC8EC7}" type="datetimeFigureOut">
              <a:rPr lang="en-IN" smtClean="0"/>
              <a:t>28-05-2025</a:t>
            </a:fld>
            <a:endParaRPr lang="en-IN"/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79021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line">
    <p:bg bwMode="blackWhite"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3826800"/>
            <a:ext cx="10936800" cy="2041200"/>
          </a:xfrm>
        </p:spPr>
        <p:txBody>
          <a:bodyPr anchor="t">
            <a:noAutofit/>
          </a:bodyPr>
          <a:lstStyle>
            <a:lvl1pPr>
              <a:defRPr sz="5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cxnSp>
        <p:nvCxnSpPr>
          <p:cNvPr id="148" name="Straight Connector 147"/>
          <p:cNvCxnSpPr/>
          <p:nvPr/>
        </p:nvCxnSpPr>
        <p:spPr bwMode="white">
          <a:xfrm>
            <a:off x="618898" y="3680016"/>
            <a:ext cx="11576304" cy="0"/>
          </a:xfrm>
          <a:prstGeom prst="line">
            <a:avLst/>
          </a:prstGeom>
          <a:ln w="19050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Box 6"/>
          <p:cNvSpPr txBox="1"/>
          <p:nvPr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fld id="{AC3312C5-EFF4-47B0-B4A9-3F5E27BC8EC7}" type="datetimeFigureOut">
              <a:rPr lang="en-IN" smtClean="0"/>
              <a:t>28-05-2025</a:t>
            </a:fld>
            <a:endParaRPr lang="en-IN"/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5639454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White one third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Picture 15"/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4064994" y="0"/>
            <a:ext cx="416951" cy="6858000"/>
          </a:xfrm>
          <a:prstGeom prst="rect">
            <a:avLst/>
          </a:prstGeom>
        </p:spPr>
      </p:pic>
      <p:sp>
        <p:nvSpPr>
          <p:cNvPr id="26" name="Rectangle 25"/>
          <p:cNvSpPr/>
          <p:nvPr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7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3200">
                <a:solidFill>
                  <a:srgbClr val="FF000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2" name="Copyright" hidden="1"/>
          <p:cNvSpPr txBox="1"/>
          <p:nvPr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21" name="Freeform 20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/>
        </p:nvSpPr>
        <p:spPr>
          <a:xfrm>
            <a:off x="0" y="6565900"/>
            <a:ext cx="4008608" cy="292100"/>
          </a:xfrm>
          <a:custGeom>
            <a:avLst/>
            <a:gdLst>
              <a:gd name="connsiteX0" fmla="*/ 0 w 4008608"/>
              <a:gd name="connsiteY0" fmla="*/ 0 h 292100"/>
              <a:gd name="connsiteX1" fmla="*/ 4008608 w 4008608"/>
              <a:gd name="connsiteY1" fmla="*/ 0 h 292100"/>
              <a:gd name="connsiteX2" fmla="*/ 4008608 w 4008608"/>
              <a:gd name="connsiteY2" fmla="*/ 292100 h 292100"/>
              <a:gd name="connsiteX3" fmla="*/ 0 w 4008608"/>
              <a:gd name="connsiteY3" fmla="*/ 292100 h 292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08608" h="292100">
                <a:moveTo>
                  <a:pt x="0" y="0"/>
                </a:moveTo>
                <a:lnTo>
                  <a:pt x="4008608" y="0"/>
                </a:lnTo>
                <a:lnTo>
                  <a:pt x="4008608" y="292100"/>
                </a:lnTo>
                <a:lnTo>
                  <a:pt x="0" y="292100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5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fld id="{AC3312C5-EFF4-47B0-B4A9-3F5E27BC8EC7}" type="datetimeFigureOut">
              <a:rPr lang="en-IN" smtClean="0"/>
              <a:t>28-05-2025</a:t>
            </a:fld>
            <a:endParaRPr lang="en-IN"/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0188447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White one third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Picture 15"/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4064994" y="0"/>
            <a:ext cx="416951" cy="6858000"/>
          </a:xfrm>
          <a:prstGeom prst="rect">
            <a:avLst/>
          </a:prstGeom>
        </p:spPr>
      </p:pic>
      <p:sp>
        <p:nvSpPr>
          <p:cNvPr id="26" name="Rectangle 25"/>
          <p:cNvSpPr/>
          <p:nvPr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7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3200">
                <a:solidFill>
                  <a:srgbClr val="FF000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2" name="Copyright" hidden="1"/>
          <p:cNvSpPr txBox="1"/>
          <p:nvPr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21" name="Freeform 20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/>
        </p:nvSpPr>
        <p:spPr>
          <a:xfrm>
            <a:off x="0" y="6565900"/>
            <a:ext cx="4008608" cy="292100"/>
          </a:xfrm>
          <a:custGeom>
            <a:avLst/>
            <a:gdLst>
              <a:gd name="connsiteX0" fmla="*/ 0 w 4008608"/>
              <a:gd name="connsiteY0" fmla="*/ 0 h 292100"/>
              <a:gd name="connsiteX1" fmla="*/ 4008608 w 4008608"/>
              <a:gd name="connsiteY1" fmla="*/ 0 h 292100"/>
              <a:gd name="connsiteX2" fmla="*/ 4008608 w 4008608"/>
              <a:gd name="connsiteY2" fmla="*/ 292100 h 292100"/>
              <a:gd name="connsiteX3" fmla="*/ 0 w 4008608"/>
              <a:gd name="connsiteY3" fmla="*/ 292100 h 292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08608" h="292100">
                <a:moveTo>
                  <a:pt x="0" y="0"/>
                </a:moveTo>
                <a:lnTo>
                  <a:pt x="4008608" y="0"/>
                </a:lnTo>
                <a:lnTo>
                  <a:pt x="4008608" y="292100"/>
                </a:lnTo>
                <a:lnTo>
                  <a:pt x="0" y="292100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5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  <p:sp>
        <p:nvSpPr>
          <p:cNvPr id="2" name="Textfeld 1">
            <a:extLst>
              <a:ext uri="{FF2B5EF4-FFF2-40B4-BE49-F238E27FC236}">
                <a16:creationId xmlns:a16="http://schemas.microsoft.com/office/drawing/2014/main" id="{94C4898D-658B-E346-91A2-0A8C244F956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3581400" y="159413"/>
            <a:ext cx="5029200" cy="323165"/>
          </a:xfrm>
          <a:prstGeom prst="rect">
            <a:avLst/>
          </a:prstGeom>
          <a:pattFill>
            <a:fgClr>
              <a:srgbClr val="EEA632"/>
            </a:fgClr>
            <a:bgClr>
              <a:srgbClr val="EEA632"/>
            </a:bgClr>
          </a:pattFill>
          <a:ln w="9525" cap="rnd">
            <a:solidFill>
              <a:srgbClr val="575757"/>
            </a:solidFill>
            <a:prstDash val="solid"/>
          </a:ln>
        </p:spPr>
        <p:txBody>
          <a:bodyPr vert="horz" wrap="square" lIns="36576" tIns="36576" rIns="36576" bIns="36576" rtlCol="0" anchor="t">
            <a:sp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en-US" b="1">
                <a:solidFill>
                  <a:srgbClr val="000000"/>
                </a:solidFill>
                <a:sym typeface="Trebuchet MS" panose="020B0603020202020204" pitchFamily="34" charset="0"/>
              </a:rPr>
              <a:t>Draft document – Pre-read</a:t>
            </a:r>
          </a:p>
        </p:txBody>
      </p:sp>
    </p:spTree>
    <p:extLst>
      <p:ext uri="{BB962C8B-B14F-4D97-AF65-F5344CB8AC3E}">
        <p14:creationId xmlns:p14="http://schemas.microsoft.com/office/powerpoint/2010/main" val="275781124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Green highlight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92177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7165606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/>
        </p:nvSpPr>
        <p:spPr bwMode="white">
          <a:xfrm>
            <a:off x="0" y="0"/>
            <a:ext cx="7171956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3" name="Title 3"/>
          <p:cNvSpPr>
            <a:spLocks noGrp="1"/>
          </p:cNvSpPr>
          <p:nvPr>
            <p:ph type="title" hasCustomPrompt="1"/>
          </p:nvPr>
        </p:nvSpPr>
        <p:spPr>
          <a:xfrm>
            <a:off x="2000250" y="622800"/>
            <a:ext cx="488655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FF000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2" name="Copyright" hidden="1"/>
          <p:cNvSpPr txBox="1"/>
          <p:nvPr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21" name="Freeform 20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/>
        </p:nvSpPr>
        <p:spPr>
          <a:xfrm>
            <a:off x="0" y="6565900"/>
            <a:ext cx="7101056" cy="292100"/>
          </a:xfrm>
          <a:custGeom>
            <a:avLst/>
            <a:gdLst>
              <a:gd name="connsiteX0" fmla="*/ 0 w 7101056"/>
              <a:gd name="connsiteY0" fmla="*/ 0 h 292100"/>
              <a:gd name="connsiteX1" fmla="*/ 7101056 w 7101056"/>
              <a:gd name="connsiteY1" fmla="*/ 0 h 292100"/>
              <a:gd name="connsiteX2" fmla="*/ 7101056 w 7101056"/>
              <a:gd name="connsiteY2" fmla="*/ 292100 h 292100"/>
              <a:gd name="connsiteX3" fmla="*/ 0 w 7101056"/>
              <a:gd name="connsiteY3" fmla="*/ 292100 h 292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101056" h="292100">
                <a:moveTo>
                  <a:pt x="0" y="0"/>
                </a:moveTo>
                <a:lnTo>
                  <a:pt x="7101056" y="0"/>
                </a:lnTo>
                <a:lnTo>
                  <a:pt x="7101056" y="292100"/>
                </a:lnTo>
                <a:lnTo>
                  <a:pt x="0" y="292100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8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fld id="{AC3312C5-EFF4-47B0-B4A9-3F5E27BC8EC7}" type="datetimeFigureOut">
              <a:rPr lang="en-IN" smtClean="0"/>
              <a:t>28-05-2025</a:t>
            </a:fld>
            <a:endParaRPr lang="en-IN"/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5060781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Green one third">
    <p:bg>
      <p:bgPr>
        <a:gradFill>
          <a:gsLst>
            <a:gs pos="39000">
              <a:srgbClr val="D81F30"/>
            </a:gs>
            <a:gs pos="100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11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3" name="Rectangle 12"/>
          <p:cNvSpPr/>
          <p:nvPr/>
        </p:nvSpPr>
        <p:spPr bwMode="white">
          <a:xfrm>
            <a:off x="4080763" y="-1309"/>
            <a:ext cx="8111237" cy="685930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9" name="Copyright" hidden="1"/>
          <p:cNvSpPr txBox="1"/>
          <p:nvPr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21" name="Freeform 20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/>
        </p:nvSpPr>
        <p:spPr>
          <a:xfrm>
            <a:off x="4151664" y="6326127"/>
            <a:ext cx="8037289" cy="531873"/>
          </a:xfrm>
          <a:custGeom>
            <a:avLst/>
            <a:gdLst>
              <a:gd name="connsiteX0" fmla="*/ 4248622 w 8037289"/>
              <a:gd name="connsiteY0" fmla="*/ 0 h 531873"/>
              <a:gd name="connsiteX1" fmla="*/ 8037287 w 8037289"/>
              <a:gd name="connsiteY1" fmla="*/ 0 h 531873"/>
              <a:gd name="connsiteX2" fmla="*/ 8037287 w 8037289"/>
              <a:gd name="connsiteY2" fmla="*/ 239773 h 531873"/>
              <a:gd name="connsiteX3" fmla="*/ 8037289 w 8037289"/>
              <a:gd name="connsiteY3" fmla="*/ 239773 h 531873"/>
              <a:gd name="connsiteX4" fmla="*/ 8037289 w 8037289"/>
              <a:gd name="connsiteY4" fmla="*/ 531873 h 531873"/>
              <a:gd name="connsiteX5" fmla="*/ 0 w 8037289"/>
              <a:gd name="connsiteY5" fmla="*/ 531873 h 531873"/>
              <a:gd name="connsiteX6" fmla="*/ 0 w 8037289"/>
              <a:gd name="connsiteY6" fmla="*/ 239773 h 531873"/>
              <a:gd name="connsiteX7" fmla="*/ 4068966 w 8037289"/>
              <a:gd name="connsiteY7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037289" h="531873">
                <a:moveTo>
                  <a:pt x="4248622" y="0"/>
                </a:moveTo>
                <a:lnTo>
                  <a:pt x="8037287" y="0"/>
                </a:lnTo>
                <a:lnTo>
                  <a:pt x="8037287" y="239773"/>
                </a:lnTo>
                <a:lnTo>
                  <a:pt x="8037289" y="239773"/>
                </a:lnTo>
                <a:lnTo>
                  <a:pt x="8037289" y="531873"/>
                </a:lnTo>
                <a:lnTo>
                  <a:pt x="0" y="531873"/>
                </a:lnTo>
                <a:lnTo>
                  <a:pt x="0" y="239773"/>
                </a:lnTo>
                <a:lnTo>
                  <a:pt x="4068966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9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fld id="{AC3312C5-EFF4-47B0-B4A9-3F5E27BC8EC7}" type="datetimeFigureOut">
              <a:rPr lang="en-IN" smtClean="0"/>
              <a:t>28-05-2025</a:t>
            </a:fld>
            <a:endParaRPr lang="en-IN"/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1419721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Green half">
    <p:bg bwMode="grayWhite">
      <p:bgPr>
        <a:gradFill>
          <a:gsLst>
            <a:gs pos="39000">
              <a:srgbClr val="D81F30"/>
            </a:gs>
            <a:gs pos="100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2" name="Rectangle 11"/>
          <p:cNvSpPr/>
          <p:nvPr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3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2021" y="0"/>
            <a:ext cx="6099977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baseline="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630000" y="1785600"/>
            <a:ext cx="4388400" cy="3286800"/>
          </a:xfrm>
          <a:prstGeom prst="rect">
            <a:avLst/>
          </a:prstGeom>
          <a:noFill/>
        </p:spPr>
        <p:txBody>
          <a:bodyPr wrap="square" lIns="0" tIns="0" rIns="320040" bIns="0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0" name="Copyright" hidden="1"/>
          <p:cNvSpPr txBox="1"/>
          <p:nvPr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23" name="Freeform 22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/>
        </p:nvSpPr>
        <p:spPr>
          <a:xfrm>
            <a:off x="6162922" y="6326127"/>
            <a:ext cx="6026031" cy="531873"/>
          </a:xfrm>
          <a:custGeom>
            <a:avLst/>
            <a:gdLst>
              <a:gd name="connsiteX0" fmla="*/ 2237364 w 6026031"/>
              <a:gd name="connsiteY0" fmla="*/ 0 h 531873"/>
              <a:gd name="connsiteX1" fmla="*/ 6026029 w 6026031"/>
              <a:gd name="connsiteY1" fmla="*/ 0 h 531873"/>
              <a:gd name="connsiteX2" fmla="*/ 6026029 w 6026031"/>
              <a:gd name="connsiteY2" fmla="*/ 239773 h 531873"/>
              <a:gd name="connsiteX3" fmla="*/ 6026031 w 6026031"/>
              <a:gd name="connsiteY3" fmla="*/ 239773 h 531873"/>
              <a:gd name="connsiteX4" fmla="*/ 6026031 w 6026031"/>
              <a:gd name="connsiteY4" fmla="*/ 531873 h 531873"/>
              <a:gd name="connsiteX5" fmla="*/ 0 w 6026031"/>
              <a:gd name="connsiteY5" fmla="*/ 531873 h 531873"/>
              <a:gd name="connsiteX6" fmla="*/ 0 w 6026031"/>
              <a:gd name="connsiteY6" fmla="*/ 239773 h 531873"/>
              <a:gd name="connsiteX7" fmla="*/ 2057708 w 6026031"/>
              <a:gd name="connsiteY7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026031" h="531873">
                <a:moveTo>
                  <a:pt x="2237364" y="0"/>
                </a:moveTo>
                <a:lnTo>
                  <a:pt x="6026029" y="0"/>
                </a:lnTo>
                <a:lnTo>
                  <a:pt x="6026029" y="239773"/>
                </a:lnTo>
                <a:lnTo>
                  <a:pt x="6026031" y="239773"/>
                </a:lnTo>
                <a:lnTo>
                  <a:pt x="6026031" y="531873"/>
                </a:lnTo>
                <a:lnTo>
                  <a:pt x="0" y="531873"/>
                </a:lnTo>
                <a:lnTo>
                  <a:pt x="0" y="239773"/>
                </a:lnTo>
                <a:lnTo>
                  <a:pt x="2057708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0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fld id="{AC3312C5-EFF4-47B0-B4A9-3F5E27BC8EC7}" type="datetimeFigureOut">
              <a:rPr lang="en-IN" smtClean="0"/>
              <a:t>28-05-2025</a:t>
            </a:fld>
            <a:endParaRPr lang="en-IN"/>
          </a:p>
        </p:txBody>
      </p:sp>
      <p:pic>
        <p:nvPicPr>
          <p:cNvPr id="16" name="Picture 1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4097108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Green two third">
    <p:bg bwMode="grayWhite">
      <p:bgPr>
        <a:gradFill>
          <a:gsLst>
            <a:gs pos="39000">
              <a:srgbClr val="D81F30"/>
            </a:gs>
            <a:gs pos="100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7409849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/>
        </p:nvSpPr>
        <p:spPr bwMode="gray">
          <a:xfrm>
            <a:off x="7819543" y="0"/>
            <a:ext cx="4372457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1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20025" y="0"/>
            <a:ext cx="4371975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600">
                <a:solidFill>
                  <a:schemeClr val="tx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1804650"/>
            <a:ext cx="6247552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17" name="Copyright" hidden="1"/>
          <p:cNvSpPr txBox="1"/>
          <p:nvPr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22" name="Freeform 21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/>
        </p:nvSpPr>
        <p:spPr>
          <a:xfrm>
            <a:off x="7890926" y="6326127"/>
            <a:ext cx="4298027" cy="531873"/>
          </a:xfrm>
          <a:custGeom>
            <a:avLst/>
            <a:gdLst>
              <a:gd name="connsiteX0" fmla="*/ 509360 w 4298027"/>
              <a:gd name="connsiteY0" fmla="*/ 0 h 531873"/>
              <a:gd name="connsiteX1" fmla="*/ 4298025 w 4298027"/>
              <a:gd name="connsiteY1" fmla="*/ 0 h 531873"/>
              <a:gd name="connsiteX2" fmla="*/ 4298025 w 4298027"/>
              <a:gd name="connsiteY2" fmla="*/ 239773 h 531873"/>
              <a:gd name="connsiteX3" fmla="*/ 4298027 w 4298027"/>
              <a:gd name="connsiteY3" fmla="*/ 239773 h 531873"/>
              <a:gd name="connsiteX4" fmla="*/ 4298027 w 4298027"/>
              <a:gd name="connsiteY4" fmla="*/ 531873 h 531873"/>
              <a:gd name="connsiteX5" fmla="*/ 0 w 4298027"/>
              <a:gd name="connsiteY5" fmla="*/ 531873 h 531873"/>
              <a:gd name="connsiteX6" fmla="*/ 0 w 4298027"/>
              <a:gd name="connsiteY6" fmla="*/ 239773 h 531873"/>
              <a:gd name="connsiteX7" fmla="*/ 329704 w 4298027"/>
              <a:gd name="connsiteY7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298027" h="531873">
                <a:moveTo>
                  <a:pt x="509360" y="0"/>
                </a:moveTo>
                <a:lnTo>
                  <a:pt x="4298025" y="0"/>
                </a:lnTo>
                <a:lnTo>
                  <a:pt x="4298025" y="239773"/>
                </a:lnTo>
                <a:lnTo>
                  <a:pt x="4298027" y="239773"/>
                </a:lnTo>
                <a:lnTo>
                  <a:pt x="4298027" y="531873"/>
                </a:lnTo>
                <a:lnTo>
                  <a:pt x="0" y="531873"/>
                </a:lnTo>
                <a:lnTo>
                  <a:pt x="0" y="239773"/>
                </a:lnTo>
                <a:lnTo>
                  <a:pt x="329704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0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fld id="{AC3312C5-EFF4-47B0-B4A9-3F5E27BC8EC7}" type="datetimeFigureOut">
              <a:rPr lang="en-IN" smtClean="0"/>
              <a:t>28-05-2025</a:t>
            </a:fld>
            <a:endParaRPr lang="en-IN"/>
          </a:p>
        </p:txBody>
      </p:sp>
      <p:pic>
        <p:nvPicPr>
          <p:cNvPr id="13" name="Picture 1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9851691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Left arrow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Freeform 14"/>
          <p:cNvSpPr/>
          <p:nvPr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pic>
        <p:nvPicPr>
          <p:cNvPr id="9" name="Picture 8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32442" y="3590399"/>
            <a:ext cx="1365250" cy="3382962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</p:spPr>
        <p:txBody>
          <a:bodyPr vert="horz" anchor="ctr" anchorCtr="0">
            <a:noAutofit/>
          </a:bodyPr>
          <a:lstStyle>
            <a:lvl1pPr>
              <a:defRPr sz="3200" baseline="0">
                <a:solidFill>
                  <a:srgbClr val="FF0000"/>
                </a:solidFill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8" name="Copyright" hidden="1"/>
          <p:cNvSpPr txBox="1"/>
          <p:nvPr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28" name="Freeform 27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/>
        </p:nvSpPr>
        <p:spPr>
          <a:xfrm>
            <a:off x="1" y="6565900"/>
            <a:ext cx="3266011" cy="292100"/>
          </a:xfrm>
          <a:custGeom>
            <a:avLst/>
            <a:gdLst>
              <a:gd name="connsiteX0" fmla="*/ 0 w 3266011"/>
              <a:gd name="connsiteY0" fmla="*/ 0 h 292100"/>
              <a:gd name="connsiteX1" fmla="*/ 3266011 w 3266011"/>
              <a:gd name="connsiteY1" fmla="*/ 0 h 292100"/>
              <a:gd name="connsiteX2" fmla="*/ 3195872 w 3266011"/>
              <a:gd name="connsiteY2" fmla="*/ 292100 h 292100"/>
              <a:gd name="connsiteX3" fmla="*/ 0 w 3266011"/>
              <a:gd name="connsiteY3" fmla="*/ 292100 h 292100"/>
              <a:gd name="connsiteX4" fmla="*/ 0 w 3266011"/>
              <a:gd name="connsiteY4" fmla="*/ 0 h 292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266011" h="292100">
                <a:moveTo>
                  <a:pt x="0" y="0"/>
                </a:moveTo>
                <a:lnTo>
                  <a:pt x="3266011" y="0"/>
                </a:lnTo>
                <a:lnTo>
                  <a:pt x="3195872" y="292100"/>
                </a:lnTo>
                <a:lnTo>
                  <a:pt x="0" y="292100"/>
                </a:lnTo>
                <a:lnTo>
                  <a:pt x="0" y="0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2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fld id="{AC3312C5-EFF4-47B0-B4A9-3F5E27BC8EC7}" type="datetimeFigureOut">
              <a:rPr lang="en-IN" smtClean="0"/>
              <a:t>28-05-2025</a:t>
            </a:fld>
            <a:endParaRPr lang="en-IN"/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2280243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Green left arrow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14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gradFill flip="none" rotWithShape="1">
            <a:gsLst>
              <a:gs pos="0">
                <a:srgbClr val="403F85"/>
              </a:gs>
              <a:gs pos="81000">
                <a:srgbClr val="ED1B24"/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</p:spPr>
        <p:txBody>
          <a:bodyPr anchor="ctr" anchorCtr="0">
            <a:noAutofit/>
          </a:bodyPr>
          <a:lstStyle>
            <a:lvl1pPr>
              <a:defRPr sz="3200" baseline="0">
                <a:solidFill>
                  <a:srgbClr val="FFFFFF"/>
                </a:solidFill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216" b="7716"/>
          <a:stretch/>
        </p:blipFill>
        <p:spPr>
          <a:xfrm rot="120000">
            <a:off x="2174642" y="3402828"/>
            <a:ext cx="2694666" cy="3461745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  <p:sp>
        <p:nvSpPr>
          <p:cNvPr id="10" name="Copyright" hidden="1"/>
          <p:cNvSpPr txBox="1"/>
          <p:nvPr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22" name="Freeform 21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/>
        </p:nvSpPr>
        <p:spPr>
          <a:xfrm>
            <a:off x="3335834" y="6326127"/>
            <a:ext cx="8853119" cy="531873"/>
          </a:xfrm>
          <a:custGeom>
            <a:avLst/>
            <a:gdLst>
              <a:gd name="connsiteX0" fmla="*/ 5064452 w 8853119"/>
              <a:gd name="connsiteY0" fmla="*/ 0 h 531873"/>
              <a:gd name="connsiteX1" fmla="*/ 8853117 w 8853119"/>
              <a:gd name="connsiteY1" fmla="*/ 0 h 531873"/>
              <a:gd name="connsiteX2" fmla="*/ 8853117 w 8853119"/>
              <a:gd name="connsiteY2" fmla="*/ 239773 h 531873"/>
              <a:gd name="connsiteX3" fmla="*/ 8853119 w 8853119"/>
              <a:gd name="connsiteY3" fmla="*/ 239773 h 531873"/>
              <a:gd name="connsiteX4" fmla="*/ 8853119 w 8853119"/>
              <a:gd name="connsiteY4" fmla="*/ 531873 h 531873"/>
              <a:gd name="connsiteX5" fmla="*/ 0 w 8853119"/>
              <a:gd name="connsiteY5" fmla="*/ 531873 h 531873"/>
              <a:gd name="connsiteX6" fmla="*/ 70140 w 8853119"/>
              <a:gd name="connsiteY6" fmla="*/ 239773 h 531873"/>
              <a:gd name="connsiteX7" fmla="*/ 4884796 w 8853119"/>
              <a:gd name="connsiteY7" fmla="*/ 239773 h 531873"/>
              <a:gd name="connsiteX8" fmla="*/ 5064452 w 8853119"/>
              <a:gd name="connsiteY8" fmla="*/ 0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8853119" h="531873">
                <a:moveTo>
                  <a:pt x="5064452" y="0"/>
                </a:moveTo>
                <a:lnTo>
                  <a:pt x="8853117" y="0"/>
                </a:lnTo>
                <a:lnTo>
                  <a:pt x="8853117" y="239773"/>
                </a:lnTo>
                <a:lnTo>
                  <a:pt x="8853119" y="239773"/>
                </a:lnTo>
                <a:lnTo>
                  <a:pt x="8853119" y="531873"/>
                </a:lnTo>
                <a:lnTo>
                  <a:pt x="0" y="531873"/>
                </a:lnTo>
                <a:lnTo>
                  <a:pt x="70140" y="239773"/>
                </a:lnTo>
                <a:lnTo>
                  <a:pt x="4884796" y="239773"/>
                </a:lnTo>
                <a:lnTo>
                  <a:pt x="5064452" y="0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8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fld id="{AC3312C5-EFF4-47B0-B4A9-3F5E27BC8EC7}" type="datetimeFigureOut">
              <a:rPr lang="en-IN" smtClean="0"/>
              <a:t>28-05-2025</a:t>
            </a:fld>
            <a:endParaRPr lang="en-IN"/>
          </a:p>
        </p:txBody>
      </p:sp>
      <p:pic>
        <p:nvPicPr>
          <p:cNvPr id="13" name="Picture 1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441560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rrow one third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24" imgH="324" progId="TCLayout.ActiveDocument.1">
                  <p:embed/>
                </p:oleObj>
              </mc:Choice>
              <mc:Fallback>
                <p:oleObj name="think-cell Slide" r:id="rId3" imgW="324" imgH="32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Pentagon 3"/>
          <p:cNvSpPr/>
          <p:nvPr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400" b="0">
                <a:solidFill>
                  <a:srgbClr val="FF000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5" name="Picture 14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81525" y="3394392"/>
            <a:ext cx="1298575" cy="3571875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Copyright" hidden="1"/>
          <p:cNvSpPr txBox="1"/>
          <p:nvPr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8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fld id="{AC3312C5-EFF4-47B0-B4A9-3F5E27BC8EC7}" type="datetimeFigureOut">
              <a:rPr lang="en-IN" smtClean="0"/>
              <a:t>28-05-2025</a:t>
            </a:fld>
            <a:endParaRPr lang="en-IN"/>
          </a:p>
        </p:txBody>
      </p:sp>
      <p:sp>
        <p:nvSpPr>
          <p:cNvPr id="26" name="Freeform 25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/>
        </p:nvSpPr>
        <p:spPr>
          <a:xfrm>
            <a:off x="1" y="6565900"/>
            <a:ext cx="4713649" cy="292100"/>
          </a:xfrm>
          <a:custGeom>
            <a:avLst/>
            <a:gdLst>
              <a:gd name="connsiteX0" fmla="*/ 0 w 4713649"/>
              <a:gd name="connsiteY0" fmla="*/ 0 h 292100"/>
              <a:gd name="connsiteX1" fmla="*/ 4713649 w 4713649"/>
              <a:gd name="connsiteY1" fmla="*/ 0 h 292100"/>
              <a:gd name="connsiteX2" fmla="*/ 4653832 w 4713649"/>
              <a:gd name="connsiteY2" fmla="*/ 292100 h 292100"/>
              <a:gd name="connsiteX3" fmla="*/ 0 w 4713649"/>
              <a:gd name="connsiteY3" fmla="*/ 292100 h 292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713649" h="292100">
                <a:moveTo>
                  <a:pt x="0" y="0"/>
                </a:moveTo>
                <a:lnTo>
                  <a:pt x="4713649" y="0"/>
                </a:lnTo>
                <a:lnTo>
                  <a:pt x="4653832" y="292100"/>
                </a:lnTo>
                <a:lnTo>
                  <a:pt x="0" y="292100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3060174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Green arrow one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entagon 3"/>
          <p:cNvSpPr/>
          <p:nvPr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gradFill flip="none" rotWithShape="1">
            <a:gsLst>
              <a:gs pos="0">
                <a:srgbClr val="403F85"/>
              </a:gs>
              <a:gs pos="81000">
                <a:srgbClr val="ED1B24"/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562" b="6867"/>
          <a:stretch/>
        </p:blipFill>
        <p:spPr>
          <a:xfrm>
            <a:off x="3578059" y="3416300"/>
            <a:ext cx="2694666" cy="3441700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  <p:sp>
        <p:nvSpPr>
          <p:cNvPr id="10" name="Copyright" hidden="1"/>
          <p:cNvSpPr txBox="1"/>
          <p:nvPr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23" name="Freeform 22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/>
        </p:nvSpPr>
        <p:spPr>
          <a:xfrm>
            <a:off x="4795632" y="6326127"/>
            <a:ext cx="7393321" cy="531873"/>
          </a:xfrm>
          <a:custGeom>
            <a:avLst/>
            <a:gdLst>
              <a:gd name="connsiteX0" fmla="*/ 3604654 w 7393321"/>
              <a:gd name="connsiteY0" fmla="*/ 0 h 531873"/>
              <a:gd name="connsiteX1" fmla="*/ 7393319 w 7393321"/>
              <a:gd name="connsiteY1" fmla="*/ 0 h 531873"/>
              <a:gd name="connsiteX2" fmla="*/ 7393319 w 7393321"/>
              <a:gd name="connsiteY2" fmla="*/ 239773 h 531873"/>
              <a:gd name="connsiteX3" fmla="*/ 7393321 w 7393321"/>
              <a:gd name="connsiteY3" fmla="*/ 239773 h 531873"/>
              <a:gd name="connsiteX4" fmla="*/ 7393321 w 7393321"/>
              <a:gd name="connsiteY4" fmla="*/ 531873 h 531873"/>
              <a:gd name="connsiteX5" fmla="*/ 0 w 7393321"/>
              <a:gd name="connsiteY5" fmla="*/ 531873 h 531873"/>
              <a:gd name="connsiteX6" fmla="*/ 59817 w 7393321"/>
              <a:gd name="connsiteY6" fmla="*/ 239773 h 531873"/>
              <a:gd name="connsiteX7" fmla="*/ 3424998 w 7393321"/>
              <a:gd name="connsiteY7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393321" h="531873">
                <a:moveTo>
                  <a:pt x="3604654" y="0"/>
                </a:moveTo>
                <a:lnTo>
                  <a:pt x="7393319" y="0"/>
                </a:lnTo>
                <a:lnTo>
                  <a:pt x="7393319" y="239773"/>
                </a:lnTo>
                <a:lnTo>
                  <a:pt x="7393321" y="239773"/>
                </a:lnTo>
                <a:lnTo>
                  <a:pt x="7393321" y="531873"/>
                </a:lnTo>
                <a:lnTo>
                  <a:pt x="0" y="531873"/>
                </a:lnTo>
                <a:lnTo>
                  <a:pt x="59817" y="239773"/>
                </a:lnTo>
                <a:lnTo>
                  <a:pt x="3424998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9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fld id="{AC3312C5-EFF4-47B0-B4A9-3F5E27BC8EC7}" type="datetimeFigureOut">
              <a:rPr lang="en-IN" smtClean="0"/>
              <a:t>28-05-2025</a:t>
            </a:fld>
            <a:endParaRPr lang="en-IN"/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02088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rrow half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765912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entagon 8"/>
          <p:cNvSpPr/>
          <p:nvPr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2000250" y="622800"/>
            <a:ext cx="3303396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FF000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7806" y="3589606"/>
            <a:ext cx="1365250" cy="3382962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Copyright" hidden="1"/>
          <p:cNvSpPr txBox="1"/>
          <p:nvPr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fld id="{AC3312C5-EFF4-47B0-B4A9-3F5E27BC8EC7}" type="datetimeFigureOut">
              <a:rPr lang="en-IN" smtClean="0"/>
              <a:t>28-05-2025</a:t>
            </a:fld>
            <a:endParaRPr lang="en-IN"/>
          </a:p>
        </p:txBody>
      </p:sp>
      <p:grpSp>
        <p:nvGrpSpPr>
          <p:cNvPr id="6" name="Group 5"/>
          <p:cNvGrpSpPr/>
          <p:nvPr/>
        </p:nvGrpSpPr>
        <p:grpSpPr>
          <a:xfrm>
            <a:off x="0" y="6565900"/>
            <a:ext cx="5538597" cy="292100"/>
            <a:chOff x="0" y="6565900"/>
            <a:chExt cx="5538597" cy="292100"/>
          </a:xfrm>
        </p:grpSpPr>
        <p:sp>
          <p:nvSpPr>
            <p:cNvPr id="34" name="Freeform 33">
              <a:extLst>
                <a:ext uri="{FF2B5EF4-FFF2-40B4-BE49-F238E27FC236}">
                  <a16:creationId xmlns:a16="http://schemas.microsoft.com/office/drawing/2014/main" id="{D6F1E491-2552-48AF-8871-FAF6B673CB54}"/>
                </a:ext>
              </a:extLst>
            </p:cNvPr>
            <p:cNvSpPr/>
            <p:nvPr/>
          </p:nvSpPr>
          <p:spPr>
            <a:xfrm>
              <a:off x="824948" y="6565900"/>
              <a:ext cx="4713649" cy="292100"/>
            </a:xfrm>
            <a:custGeom>
              <a:avLst/>
              <a:gdLst>
                <a:gd name="connsiteX0" fmla="*/ 0 w 4713649"/>
                <a:gd name="connsiteY0" fmla="*/ 0 h 292100"/>
                <a:gd name="connsiteX1" fmla="*/ 4713649 w 4713649"/>
                <a:gd name="connsiteY1" fmla="*/ 0 h 292100"/>
                <a:gd name="connsiteX2" fmla="*/ 4653832 w 4713649"/>
                <a:gd name="connsiteY2" fmla="*/ 292100 h 292100"/>
                <a:gd name="connsiteX3" fmla="*/ 0 w 4713649"/>
                <a:gd name="connsiteY3" fmla="*/ 292100 h 292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713649" h="292100">
                  <a:moveTo>
                    <a:pt x="0" y="0"/>
                  </a:moveTo>
                  <a:lnTo>
                    <a:pt x="4713649" y="0"/>
                  </a:lnTo>
                  <a:lnTo>
                    <a:pt x="4653832" y="292100"/>
                  </a:lnTo>
                  <a:lnTo>
                    <a:pt x="0" y="292100"/>
                  </a:lnTo>
                  <a:close/>
                </a:path>
              </a:pathLst>
            </a:custGeom>
            <a:solidFill>
              <a:srgbClr val="FF0000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1240B29-F687-4F45-9708-019B960494DF}">
                <a14:hiddenLine xmlns:a14="http://schemas.microsoft.com/office/drawing/2010/main" w="9525" cap="rnd" cmpd="sng" algn="ctr">
                  <a:solidFill>
                    <a:srgbClr val="29BA74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FFFFFF"/>
                </a:solidFill>
              </a:endParaRPr>
            </a:p>
          </p:txBody>
        </p:sp>
        <p:sp>
          <p:nvSpPr>
            <p:cNvPr id="5" name="Rectangle 4"/>
            <p:cNvSpPr/>
            <p:nvPr/>
          </p:nvSpPr>
          <p:spPr>
            <a:xfrm>
              <a:off x="0" y="6565900"/>
              <a:ext cx="1427967" cy="292100"/>
            </a:xfrm>
            <a:prstGeom prst="rect">
              <a:avLst/>
            </a:prstGeom>
            <a:solidFill>
              <a:srgbClr val="FF0000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1240B29-F687-4F45-9708-019B960494DF}">
                <a14:hiddenLine xmlns:a14="http://schemas.microsoft.com/office/drawing/2010/main" w="9525" cap="rnd" cmpd="sng" algn="ctr">
                  <a:solidFill>
                    <a:srgbClr val="29BA74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FFFFFF"/>
                </a:solidFill>
              </a:endParaRPr>
            </a:p>
          </p:txBody>
        </p:sp>
      </p:grpSp>
      <p:pic>
        <p:nvPicPr>
          <p:cNvPr id="12" name="Picture 11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3168947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Green arrow half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791809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entagon 8"/>
          <p:cNvSpPr/>
          <p:nvPr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gradFill flip="none" rotWithShape="1">
            <a:gsLst>
              <a:gs pos="0">
                <a:srgbClr val="403F85"/>
              </a:gs>
              <a:gs pos="81000">
                <a:srgbClr val="ED1B24"/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2000250" y="622800"/>
            <a:ext cx="3303396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4460172" y="3407803"/>
            <a:ext cx="2694666" cy="3456551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10" name="Copyright" hidden="1"/>
          <p:cNvSpPr txBox="1"/>
          <p:nvPr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23" name="Freeform 22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/>
        </p:nvSpPr>
        <p:spPr>
          <a:xfrm>
            <a:off x="914400" y="6326127"/>
            <a:ext cx="11274552" cy="531873"/>
          </a:xfrm>
          <a:custGeom>
            <a:avLst/>
            <a:gdLst>
              <a:gd name="connsiteX0" fmla="*/ 7485885 w 11274552"/>
              <a:gd name="connsiteY0" fmla="*/ 0 h 531873"/>
              <a:gd name="connsiteX1" fmla="*/ 11274550 w 11274552"/>
              <a:gd name="connsiteY1" fmla="*/ 0 h 531873"/>
              <a:gd name="connsiteX2" fmla="*/ 11274550 w 11274552"/>
              <a:gd name="connsiteY2" fmla="*/ 239773 h 531873"/>
              <a:gd name="connsiteX3" fmla="*/ 11274552 w 11274552"/>
              <a:gd name="connsiteY3" fmla="*/ 239773 h 531873"/>
              <a:gd name="connsiteX4" fmla="*/ 11274552 w 11274552"/>
              <a:gd name="connsiteY4" fmla="*/ 531873 h 531873"/>
              <a:gd name="connsiteX5" fmla="*/ 0 w 11274552"/>
              <a:gd name="connsiteY5" fmla="*/ 531873 h 531873"/>
              <a:gd name="connsiteX6" fmla="*/ 0 w 11274552"/>
              <a:gd name="connsiteY6" fmla="*/ 531872 h 531873"/>
              <a:gd name="connsiteX7" fmla="*/ 4696667 w 11274552"/>
              <a:gd name="connsiteY7" fmla="*/ 531872 h 531873"/>
              <a:gd name="connsiteX8" fmla="*/ 4766807 w 11274552"/>
              <a:gd name="connsiteY8" fmla="*/ 239773 h 531873"/>
              <a:gd name="connsiteX9" fmla="*/ 7306229 w 11274552"/>
              <a:gd name="connsiteY9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1274552" h="531873">
                <a:moveTo>
                  <a:pt x="7485885" y="0"/>
                </a:moveTo>
                <a:lnTo>
                  <a:pt x="11274550" y="0"/>
                </a:lnTo>
                <a:lnTo>
                  <a:pt x="11274550" y="239773"/>
                </a:lnTo>
                <a:lnTo>
                  <a:pt x="11274552" y="239773"/>
                </a:lnTo>
                <a:lnTo>
                  <a:pt x="11274552" y="531873"/>
                </a:lnTo>
                <a:lnTo>
                  <a:pt x="0" y="531873"/>
                </a:lnTo>
                <a:lnTo>
                  <a:pt x="0" y="531872"/>
                </a:lnTo>
                <a:lnTo>
                  <a:pt x="4696667" y="531872"/>
                </a:lnTo>
                <a:lnTo>
                  <a:pt x="4766807" y="239773"/>
                </a:lnTo>
                <a:lnTo>
                  <a:pt x="7306229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fld id="{AC3312C5-EFF4-47B0-B4A9-3F5E27BC8EC7}" type="datetimeFigureOut">
              <a:rPr lang="en-IN" smtClean="0"/>
              <a:t>28-05-2025</a:t>
            </a:fld>
            <a:endParaRPr lang="en-IN"/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795430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White one third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Picture 15"/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4064994" y="0"/>
            <a:ext cx="416951" cy="6858000"/>
          </a:xfrm>
          <a:prstGeom prst="rect">
            <a:avLst/>
          </a:prstGeom>
        </p:spPr>
      </p:pic>
      <p:sp>
        <p:nvSpPr>
          <p:cNvPr id="26" name="Rectangle 25"/>
          <p:cNvSpPr/>
          <p:nvPr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7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3200">
                <a:solidFill>
                  <a:srgbClr val="FF000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2" name="Copyright" hidden="1"/>
          <p:cNvSpPr txBox="1"/>
          <p:nvPr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21" name="Freeform 20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/>
        </p:nvSpPr>
        <p:spPr>
          <a:xfrm>
            <a:off x="0" y="6565900"/>
            <a:ext cx="4008608" cy="292100"/>
          </a:xfrm>
          <a:custGeom>
            <a:avLst/>
            <a:gdLst>
              <a:gd name="connsiteX0" fmla="*/ 0 w 4008608"/>
              <a:gd name="connsiteY0" fmla="*/ 0 h 292100"/>
              <a:gd name="connsiteX1" fmla="*/ 4008608 w 4008608"/>
              <a:gd name="connsiteY1" fmla="*/ 0 h 292100"/>
              <a:gd name="connsiteX2" fmla="*/ 4008608 w 4008608"/>
              <a:gd name="connsiteY2" fmla="*/ 292100 h 292100"/>
              <a:gd name="connsiteX3" fmla="*/ 0 w 4008608"/>
              <a:gd name="connsiteY3" fmla="*/ 292100 h 292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08608" h="292100">
                <a:moveTo>
                  <a:pt x="0" y="0"/>
                </a:moveTo>
                <a:lnTo>
                  <a:pt x="4008608" y="0"/>
                </a:lnTo>
                <a:lnTo>
                  <a:pt x="4008608" y="292100"/>
                </a:lnTo>
                <a:lnTo>
                  <a:pt x="0" y="292100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5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0107725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rrow two third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359547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2000250" y="622800"/>
            <a:ext cx="488655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FF000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pic>
        <p:nvPicPr>
          <p:cNvPr id="16" name="Picture 15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90339" y="3589606"/>
            <a:ext cx="1365250" cy="3382962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Copyright" hidden="1"/>
          <p:cNvSpPr txBox="1"/>
          <p:nvPr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0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fld id="{AC3312C5-EFF4-47B0-B4A9-3F5E27BC8EC7}" type="datetimeFigureOut">
              <a:rPr lang="en-IN" smtClean="0"/>
              <a:t>28-05-2025</a:t>
            </a:fld>
            <a:endParaRPr lang="en-IN"/>
          </a:p>
        </p:txBody>
      </p:sp>
      <p:sp>
        <p:nvSpPr>
          <p:cNvPr id="23" name="Freeform 22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/>
        </p:nvSpPr>
        <p:spPr>
          <a:xfrm>
            <a:off x="-1" y="6565900"/>
            <a:ext cx="7638826" cy="292100"/>
          </a:xfrm>
          <a:custGeom>
            <a:avLst/>
            <a:gdLst>
              <a:gd name="connsiteX0" fmla="*/ 0 w 7638826"/>
              <a:gd name="connsiteY0" fmla="*/ 0 h 292100"/>
              <a:gd name="connsiteX1" fmla="*/ 2925177 w 7638826"/>
              <a:gd name="connsiteY1" fmla="*/ 0 h 292100"/>
              <a:gd name="connsiteX2" fmla="*/ 6027750 w 7638826"/>
              <a:gd name="connsiteY2" fmla="*/ 0 h 292100"/>
              <a:gd name="connsiteX3" fmla="*/ 7638826 w 7638826"/>
              <a:gd name="connsiteY3" fmla="*/ 0 h 292100"/>
              <a:gd name="connsiteX4" fmla="*/ 7579009 w 7638826"/>
              <a:gd name="connsiteY4" fmla="*/ 292100 h 292100"/>
              <a:gd name="connsiteX5" fmla="*/ 5951257 w 7638826"/>
              <a:gd name="connsiteY5" fmla="*/ 292100 h 292100"/>
              <a:gd name="connsiteX6" fmla="*/ 2925177 w 7638826"/>
              <a:gd name="connsiteY6" fmla="*/ 292100 h 292100"/>
              <a:gd name="connsiteX7" fmla="*/ 0 w 7638826"/>
              <a:gd name="connsiteY7" fmla="*/ 292100 h 292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638826" h="292100">
                <a:moveTo>
                  <a:pt x="0" y="0"/>
                </a:moveTo>
                <a:lnTo>
                  <a:pt x="2925177" y="0"/>
                </a:lnTo>
                <a:lnTo>
                  <a:pt x="6027750" y="0"/>
                </a:lnTo>
                <a:lnTo>
                  <a:pt x="7638826" y="0"/>
                </a:lnTo>
                <a:lnTo>
                  <a:pt x="7579009" y="292100"/>
                </a:lnTo>
                <a:lnTo>
                  <a:pt x="5951257" y="292100"/>
                </a:lnTo>
                <a:lnTo>
                  <a:pt x="2925177" y="292100"/>
                </a:lnTo>
                <a:lnTo>
                  <a:pt x="0" y="292100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7027399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Green arrow two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210198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rgbClr val="403F85"/>
              </a:gs>
              <a:gs pos="81000">
                <a:srgbClr val="ED1B24"/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2000250" y="622800"/>
            <a:ext cx="488655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6567628" y="3407803"/>
            <a:ext cx="2694666" cy="3456551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10" name="Copyright" hidden="1"/>
          <p:cNvSpPr txBox="1"/>
          <p:nvPr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23" name="Freeform 22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/>
        </p:nvSpPr>
        <p:spPr>
          <a:xfrm>
            <a:off x="70900" y="6326127"/>
            <a:ext cx="12118052" cy="531873"/>
          </a:xfrm>
          <a:custGeom>
            <a:avLst/>
            <a:gdLst>
              <a:gd name="connsiteX0" fmla="*/ 8329385 w 12118052"/>
              <a:gd name="connsiteY0" fmla="*/ 0 h 531873"/>
              <a:gd name="connsiteX1" fmla="*/ 12118050 w 12118052"/>
              <a:gd name="connsiteY1" fmla="*/ 0 h 531873"/>
              <a:gd name="connsiteX2" fmla="*/ 12118050 w 12118052"/>
              <a:gd name="connsiteY2" fmla="*/ 239773 h 531873"/>
              <a:gd name="connsiteX3" fmla="*/ 12118052 w 12118052"/>
              <a:gd name="connsiteY3" fmla="*/ 239773 h 531873"/>
              <a:gd name="connsiteX4" fmla="*/ 12118052 w 12118052"/>
              <a:gd name="connsiteY4" fmla="*/ 531873 h 531873"/>
              <a:gd name="connsiteX5" fmla="*/ 0 w 12118052"/>
              <a:gd name="connsiteY5" fmla="*/ 531873 h 531873"/>
              <a:gd name="connsiteX6" fmla="*/ 0 w 12118052"/>
              <a:gd name="connsiteY6" fmla="*/ 531872 h 531873"/>
              <a:gd name="connsiteX7" fmla="*/ 7645979 w 12118052"/>
              <a:gd name="connsiteY7" fmla="*/ 531872 h 531873"/>
              <a:gd name="connsiteX8" fmla="*/ 7714149 w 12118052"/>
              <a:gd name="connsiteY8" fmla="*/ 239773 h 531873"/>
              <a:gd name="connsiteX9" fmla="*/ 8149729 w 12118052"/>
              <a:gd name="connsiteY9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118052" h="531873">
                <a:moveTo>
                  <a:pt x="8329385" y="0"/>
                </a:moveTo>
                <a:lnTo>
                  <a:pt x="12118050" y="0"/>
                </a:lnTo>
                <a:lnTo>
                  <a:pt x="12118050" y="239773"/>
                </a:lnTo>
                <a:lnTo>
                  <a:pt x="12118052" y="239773"/>
                </a:lnTo>
                <a:lnTo>
                  <a:pt x="12118052" y="531873"/>
                </a:lnTo>
                <a:lnTo>
                  <a:pt x="0" y="531873"/>
                </a:lnTo>
                <a:lnTo>
                  <a:pt x="0" y="531872"/>
                </a:lnTo>
                <a:lnTo>
                  <a:pt x="7645979" y="531872"/>
                </a:lnTo>
                <a:lnTo>
                  <a:pt x="7714149" y="239773"/>
                </a:lnTo>
                <a:lnTo>
                  <a:pt x="8149729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5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fld id="{AC3312C5-EFF4-47B0-B4A9-3F5E27BC8EC7}" type="datetimeFigureOut">
              <a:rPr lang="en-IN" smtClean="0"/>
              <a:t>28-05-2025</a:t>
            </a:fld>
            <a:endParaRPr lang="en-IN"/>
          </a:p>
        </p:txBody>
      </p:sp>
      <p:pic>
        <p:nvPicPr>
          <p:cNvPr id="16" name="Picture 15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683771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ig statement green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sp>
        <p:nvSpPr>
          <p:cNvPr id="7" name="Copyright" hidden="1"/>
          <p:cNvSpPr txBox="1"/>
          <p:nvPr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fld id="{AC3312C5-EFF4-47B0-B4A9-3F5E27BC8EC7}" type="datetimeFigureOut">
              <a:rPr lang="en-IN" smtClean="0"/>
              <a:t>28-05-2025</a:t>
            </a:fld>
            <a:endParaRPr lang="en-IN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2971460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ig statement icon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/>
        </p:nvSpPr>
        <p:spPr bwMode="white">
          <a:xfrm>
            <a:off x="630000" y="1435623"/>
            <a:ext cx="932688" cy="932688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  <a:prstGeom prst="rect">
            <a:avLst/>
          </a:prstGeom>
        </p:spPr>
        <p:txBody>
          <a:bodyPr vert="horz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rgbClr val="FF0000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sp>
        <p:nvSpPr>
          <p:cNvPr id="11" name="Copyright" hidden="1"/>
          <p:cNvSpPr txBox="1"/>
          <p:nvPr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2" name="Freeform: Shape 31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/>
        </p:nvSpPr>
        <p:spPr>
          <a:xfrm>
            <a:off x="0" y="6326127"/>
            <a:ext cx="12188952" cy="531873"/>
          </a:xfrm>
          <a:custGeom>
            <a:avLst/>
            <a:gdLst>
              <a:gd name="connsiteX0" fmla="*/ 8400285 w 12188952"/>
              <a:gd name="connsiteY0" fmla="*/ 0 h 531873"/>
              <a:gd name="connsiteX1" fmla="*/ 12188950 w 12188952"/>
              <a:gd name="connsiteY1" fmla="*/ 0 h 531873"/>
              <a:gd name="connsiteX2" fmla="*/ 12188950 w 12188952"/>
              <a:gd name="connsiteY2" fmla="*/ 239773 h 531873"/>
              <a:gd name="connsiteX3" fmla="*/ 12188952 w 12188952"/>
              <a:gd name="connsiteY3" fmla="*/ 239773 h 531873"/>
              <a:gd name="connsiteX4" fmla="*/ 12188952 w 12188952"/>
              <a:gd name="connsiteY4" fmla="*/ 531873 h 531873"/>
              <a:gd name="connsiteX5" fmla="*/ 0 w 12188952"/>
              <a:gd name="connsiteY5" fmla="*/ 531873 h 531873"/>
              <a:gd name="connsiteX6" fmla="*/ 0 w 12188952"/>
              <a:gd name="connsiteY6" fmla="*/ 239773 h 531873"/>
              <a:gd name="connsiteX7" fmla="*/ 8220629 w 12188952"/>
              <a:gd name="connsiteY7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88952" h="531873">
                <a:moveTo>
                  <a:pt x="8400285" y="0"/>
                </a:moveTo>
                <a:lnTo>
                  <a:pt x="12188950" y="0"/>
                </a:lnTo>
                <a:lnTo>
                  <a:pt x="12188950" y="239773"/>
                </a:lnTo>
                <a:lnTo>
                  <a:pt x="12188952" y="239773"/>
                </a:lnTo>
                <a:lnTo>
                  <a:pt x="12188952" y="531873"/>
                </a:lnTo>
                <a:lnTo>
                  <a:pt x="0" y="531873"/>
                </a:lnTo>
                <a:lnTo>
                  <a:pt x="0" y="239773"/>
                </a:lnTo>
                <a:lnTo>
                  <a:pt x="8220629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4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fld id="{AC3312C5-EFF4-47B0-B4A9-3F5E27BC8EC7}" type="datetimeFigureOut">
              <a:rPr lang="en-IN" smtClean="0"/>
              <a:t>28-05-2025</a:t>
            </a:fld>
            <a:endParaRPr lang="en-IN"/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98466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Quot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24" imgH="324" progId="TCLayout.ActiveDocument.1">
                  <p:embed/>
                </p:oleObj>
              </mc:Choice>
              <mc:Fallback>
                <p:oleObj name="think-cell Slide" r:id="rId3" imgW="324" imgH="32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34" b="1258"/>
          <a:stretch/>
        </p:blipFill>
        <p:spPr>
          <a:xfrm rot="16200000" flipH="1">
            <a:off x="6797461" y="101443"/>
            <a:ext cx="769257" cy="10019821"/>
          </a:xfrm>
          <a:custGeom>
            <a:avLst/>
            <a:gdLst>
              <a:gd name="connsiteX0" fmla="*/ 0 w 769257"/>
              <a:gd name="connsiteY0" fmla="*/ 0 h 10019821"/>
              <a:gd name="connsiteX1" fmla="*/ 0 w 769257"/>
              <a:gd name="connsiteY1" fmla="*/ 4631160 h 10019821"/>
              <a:gd name="connsiteX2" fmla="*/ 216750 w 769257"/>
              <a:gd name="connsiteY2" fmla="*/ 999646 h 10019821"/>
              <a:gd name="connsiteX3" fmla="*/ 197800 w 769257"/>
              <a:gd name="connsiteY3" fmla="*/ 10019821 h 10019821"/>
              <a:gd name="connsiteX4" fmla="*/ 769257 w 769257"/>
              <a:gd name="connsiteY4" fmla="*/ 10019821 h 10019821"/>
              <a:gd name="connsiteX5" fmla="*/ 769257 w 769257"/>
              <a:gd name="connsiteY5" fmla="*/ 0 h 10019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69257" h="10019821">
                <a:moveTo>
                  <a:pt x="0" y="0"/>
                </a:moveTo>
                <a:lnTo>
                  <a:pt x="0" y="4631160"/>
                </a:lnTo>
                <a:lnTo>
                  <a:pt x="216750" y="999646"/>
                </a:lnTo>
                <a:lnTo>
                  <a:pt x="197800" y="10019821"/>
                </a:lnTo>
                <a:lnTo>
                  <a:pt x="769257" y="10019821"/>
                </a:lnTo>
                <a:lnTo>
                  <a:pt x="769257" y="0"/>
                </a:lnTo>
                <a:close/>
              </a:path>
            </a:pathLst>
          </a:cu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0"/>
            <a:ext cx="12192000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fld id="{AC3312C5-EFF4-47B0-B4A9-3F5E27BC8EC7}" type="datetimeFigureOut">
              <a:rPr lang="en-IN" smtClean="0"/>
              <a:t>28-05-2025</a:t>
            </a:fld>
            <a:endParaRPr lang="en-IN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164231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pecial gray">
    <p:bg>
      <p:bgPr>
        <a:solidFill>
          <a:schemeClr val="tx1">
            <a:lumMod val="85000"/>
            <a:lumOff val="1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238470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2000250" y="622800"/>
            <a:ext cx="9562950" cy="470898"/>
          </a:xfrm>
        </p:spPr>
        <p:txBody>
          <a:bodyPr vert="horz"/>
          <a:lstStyle>
            <a:lvl1pPr>
              <a:defRPr sz="3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7" name="Copyright" hidden="1"/>
          <p:cNvSpPr txBox="1"/>
          <p:nvPr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fld id="{AC3312C5-EFF4-47B0-B4A9-3F5E27BC8EC7}" type="datetimeFigureOut">
              <a:rPr lang="en-IN" smtClean="0"/>
              <a:t>28-05-2025</a:t>
            </a:fld>
            <a:endParaRPr lang="en-IN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201706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5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pyright" hidden="1"/>
          <p:cNvSpPr txBox="1"/>
          <p:nvPr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fld id="{AC3312C5-EFF4-47B0-B4A9-3F5E27BC8EC7}" type="datetimeFigureOut">
              <a:rPr lang="en-IN" smtClean="0"/>
              <a:t>28-05-2025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8560079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lank green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pyright" hidden="1"/>
          <p:cNvSpPr txBox="1"/>
          <p:nvPr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fld id="{AC3312C5-EFF4-47B0-B4A9-3F5E27BC8EC7}" type="datetimeFigureOut">
              <a:rPr lang="en-IN" smtClean="0"/>
              <a:t>28-05-2025</a:t>
            </a:fld>
            <a:endParaRPr lang="en-IN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4164210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sclaim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pyright" hidden="1"/>
          <p:cNvSpPr txBox="1"/>
          <p:nvPr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4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fld id="{AC3312C5-EFF4-47B0-B4A9-3F5E27BC8EC7}" type="datetimeFigureOut">
              <a:rPr lang="en-IN" smtClean="0"/>
              <a:t>28-05-2025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3732051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4" name="Picture 13"/>
          <p:cNvPicPr>
            <a:picLocks noChangeAspect="1"/>
          </p:cNvPicPr>
          <p:nvPr/>
        </p:nvPicPr>
        <p:blipFill rotWithShape="1">
          <a:blip r:embed="rId5"/>
          <a:srcRect l="1079" t="8722" r="1079" b="8722"/>
          <a:stretch/>
        </p:blipFill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</p:spPr>
      </p:pic>
      <p:sp>
        <p:nvSpPr>
          <p:cNvPr id="11" name="Rectangle 10"/>
          <p:cNvSpPr/>
          <p:nvPr/>
        </p:nvSpPr>
        <p:spPr bwMode="black">
          <a:xfrm>
            <a:off x="630936" y="626200"/>
            <a:ext cx="8125200" cy="5529600"/>
          </a:xfrm>
          <a:prstGeom prst="rect">
            <a:avLst/>
          </a:prstGeom>
          <a:gradFill flip="none" rotWithShape="1">
            <a:gsLst>
              <a:gs pos="0">
                <a:srgbClr val="EF2427">
                  <a:shade val="30000"/>
                  <a:satMod val="115000"/>
                  <a:alpha val="76000"/>
                </a:srgbClr>
              </a:gs>
              <a:gs pos="100000">
                <a:srgbClr val="ED1B24">
                  <a:alpha val="61000"/>
                </a:srgb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62328" y="2992637"/>
            <a:ext cx="3062417" cy="7967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27955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Green highlight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92177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7165606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/>
        </p:nvSpPr>
        <p:spPr bwMode="white">
          <a:xfrm>
            <a:off x="0" y="0"/>
            <a:ext cx="7171956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3" name="Title 3"/>
          <p:cNvSpPr>
            <a:spLocks noGrp="1"/>
          </p:cNvSpPr>
          <p:nvPr>
            <p:ph type="title" hasCustomPrompt="1"/>
          </p:nvPr>
        </p:nvSpPr>
        <p:spPr>
          <a:xfrm>
            <a:off x="2000250" y="622800"/>
            <a:ext cx="488655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FF000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2" name="Copyright" hidden="1"/>
          <p:cNvSpPr txBox="1"/>
          <p:nvPr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21" name="Freeform 20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/>
        </p:nvSpPr>
        <p:spPr>
          <a:xfrm>
            <a:off x="0" y="6565900"/>
            <a:ext cx="7101056" cy="292100"/>
          </a:xfrm>
          <a:custGeom>
            <a:avLst/>
            <a:gdLst>
              <a:gd name="connsiteX0" fmla="*/ 0 w 7101056"/>
              <a:gd name="connsiteY0" fmla="*/ 0 h 292100"/>
              <a:gd name="connsiteX1" fmla="*/ 7101056 w 7101056"/>
              <a:gd name="connsiteY1" fmla="*/ 0 h 292100"/>
              <a:gd name="connsiteX2" fmla="*/ 7101056 w 7101056"/>
              <a:gd name="connsiteY2" fmla="*/ 292100 h 292100"/>
              <a:gd name="connsiteX3" fmla="*/ 0 w 7101056"/>
              <a:gd name="connsiteY3" fmla="*/ 292100 h 292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101056" h="292100">
                <a:moveTo>
                  <a:pt x="0" y="0"/>
                </a:moveTo>
                <a:lnTo>
                  <a:pt x="7101056" y="0"/>
                </a:lnTo>
                <a:lnTo>
                  <a:pt x="7101056" y="292100"/>
                </a:lnTo>
                <a:lnTo>
                  <a:pt x="0" y="292100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8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  <p:sp>
        <p:nvSpPr>
          <p:cNvPr id="2" name="Textfeld 1">
            <a:extLst>
              <a:ext uri="{FF2B5EF4-FFF2-40B4-BE49-F238E27FC236}">
                <a16:creationId xmlns:a16="http://schemas.microsoft.com/office/drawing/2014/main" id="{C3CF30D7-97C9-8D9A-57FD-DD165775219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3581400" y="159413"/>
            <a:ext cx="5029200" cy="323165"/>
          </a:xfrm>
          <a:prstGeom prst="rect">
            <a:avLst/>
          </a:prstGeom>
          <a:pattFill>
            <a:fgClr>
              <a:srgbClr val="EEA632"/>
            </a:fgClr>
            <a:bgClr>
              <a:srgbClr val="EEA632"/>
            </a:bgClr>
          </a:pattFill>
          <a:ln w="9525" cap="rnd">
            <a:solidFill>
              <a:srgbClr val="575757"/>
            </a:solidFill>
            <a:prstDash val="solid"/>
          </a:ln>
        </p:spPr>
        <p:txBody>
          <a:bodyPr vert="horz" wrap="square" lIns="36576" tIns="36576" rIns="36576" bIns="36576" rtlCol="0" anchor="t">
            <a:sp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en-US" b="1">
                <a:solidFill>
                  <a:srgbClr val="000000"/>
                </a:solidFill>
                <a:sym typeface="Trebuchet MS" panose="020B0603020202020204" pitchFamily="34" charset="0"/>
              </a:rPr>
              <a:t>Draft document – Pre-read</a:t>
            </a:r>
          </a:p>
        </p:txBody>
      </p:sp>
    </p:spTree>
    <p:extLst>
      <p:ext uri="{BB962C8B-B14F-4D97-AF65-F5344CB8AC3E}">
        <p14:creationId xmlns:p14="http://schemas.microsoft.com/office/powerpoint/2010/main" val="320955758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8" name="Group 47"/>
          <p:cNvGrpSpPr/>
          <p:nvPr/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sp>
          <p:nvSpPr>
            <p:cNvPr id="55" name="Freeform 54"/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5678521 h 6858000"/>
                <a:gd name="connsiteX2" fmla="*/ 629400 w 12193200"/>
                <a:gd name="connsiteY2" fmla="*/ 5678521 h 6858000"/>
                <a:gd name="connsiteX3" fmla="*/ 629400 w 12193200"/>
                <a:gd name="connsiteY3" fmla="*/ 6583680 h 6858000"/>
                <a:gd name="connsiteX4" fmla="*/ 11562600 w 12193200"/>
                <a:gd name="connsiteY4" fmla="*/ 6583680 h 6858000"/>
                <a:gd name="connsiteX5" fmla="*/ 11562600 w 12193200"/>
                <a:gd name="connsiteY5" fmla="*/ 5678521 h 6858000"/>
                <a:gd name="connsiteX6" fmla="*/ 11562000 w 12193200"/>
                <a:gd name="connsiteY6" fmla="*/ 5678521 h 6858000"/>
                <a:gd name="connsiteX7" fmla="*/ 11562000 w 12193200"/>
                <a:gd name="connsiteY7" fmla="*/ 622800 h 6858000"/>
                <a:gd name="connsiteX8" fmla="*/ 0 w 12193200"/>
                <a:gd name="connsiteY8" fmla="*/ 0 h 6858000"/>
                <a:gd name="connsiteX9" fmla="*/ 12193200 w 12193200"/>
                <a:gd name="connsiteY9" fmla="*/ 0 h 6858000"/>
                <a:gd name="connsiteX10" fmla="*/ 12193200 w 12193200"/>
                <a:gd name="connsiteY10" fmla="*/ 622800 h 6858000"/>
                <a:gd name="connsiteX11" fmla="*/ 12192000 w 12193200"/>
                <a:gd name="connsiteY11" fmla="*/ 622800 h 6858000"/>
                <a:gd name="connsiteX12" fmla="*/ 12192000 w 12193200"/>
                <a:gd name="connsiteY12" fmla="*/ 6160597 h 6858000"/>
                <a:gd name="connsiteX13" fmla="*/ 12193200 w 12193200"/>
                <a:gd name="connsiteY13" fmla="*/ 6160597 h 6858000"/>
                <a:gd name="connsiteX14" fmla="*/ 12193200 w 12193200"/>
                <a:gd name="connsiteY14" fmla="*/ 6858000 h 6858000"/>
                <a:gd name="connsiteX15" fmla="*/ 12192000 w 12193200"/>
                <a:gd name="connsiteY15" fmla="*/ 6858000 h 6858000"/>
                <a:gd name="connsiteX16" fmla="*/ 11562000 w 12193200"/>
                <a:gd name="connsiteY16" fmla="*/ 6858000 h 6858000"/>
                <a:gd name="connsiteX17" fmla="*/ 630001 w 12193200"/>
                <a:gd name="connsiteY17" fmla="*/ 6858000 h 6858000"/>
                <a:gd name="connsiteX18" fmla="*/ 1 w 12193200"/>
                <a:gd name="connsiteY18" fmla="*/ 6858000 h 6858000"/>
                <a:gd name="connsiteX19" fmla="*/ 1 w 12193200"/>
                <a:gd name="connsiteY19" fmla="*/ 6160597 h 6858000"/>
                <a:gd name="connsiteX20" fmla="*/ 1 w 12193200"/>
                <a:gd name="connsiteY20" fmla="*/ 622800 h 6858000"/>
                <a:gd name="connsiteX21" fmla="*/ 0 w 12193200"/>
                <a:gd name="connsiteY21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5678521"/>
                  </a:lnTo>
                  <a:lnTo>
                    <a:pt x="629400" y="5678521"/>
                  </a:lnTo>
                  <a:lnTo>
                    <a:pt x="629400" y="6583680"/>
                  </a:lnTo>
                  <a:lnTo>
                    <a:pt x="11562600" y="6583680"/>
                  </a:lnTo>
                  <a:lnTo>
                    <a:pt x="11562600" y="5678521"/>
                  </a:lnTo>
                  <a:lnTo>
                    <a:pt x="11562000" y="5678521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chemeClr val="accent4">
                <a:lumMod val="20000"/>
                <a:lumOff val="80000"/>
                <a:alpha val="57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>
                <a:solidFill>
                  <a:schemeClr val="tx1"/>
                </a:solidFill>
              </a:endParaRPr>
            </a:p>
          </p:txBody>
        </p:sp>
        <p:grpSp>
          <p:nvGrpSpPr>
            <p:cNvPr id="56" name="Group 55"/>
            <p:cNvGrpSpPr/>
            <p:nvPr/>
          </p:nvGrpSpPr>
          <p:grpSpPr>
            <a:xfrm>
              <a:off x="-600" y="622800"/>
              <a:ext cx="12193200" cy="5055720"/>
              <a:chOff x="-600" y="622800"/>
              <a:chExt cx="12193200" cy="5055720"/>
            </a:xfrm>
          </p:grpSpPr>
          <p:cxnSp>
            <p:nvCxnSpPr>
              <p:cNvPr id="116" name="Straight Connector 115"/>
              <p:cNvCxnSpPr/>
              <p:nvPr/>
            </p:nvCxnSpPr>
            <p:spPr>
              <a:xfrm>
                <a:off x="-600" y="622800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7" name="Straight Connector 116"/>
              <p:cNvCxnSpPr/>
              <p:nvPr/>
            </p:nvCxnSpPr>
            <p:spPr>
              <a:xfrm>
                <a:off x="-600" y="920195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8" name="Straight Connector 117"/>
              <p:cNvCxnSpPr/>
              <p:nvPr/>
            </p:nvCxnSpPr>
            <p:spPr>
              <a:xfrm>
                <a:off x="-600" y="1217590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9" name="Straight Connector 118"/>
              <p:cNvCxnSpPr/>
              <p:nvPr/>
            </p:nvCxnSpPr>
            <p:spPr>
              <a:xfrm>
                <a:off x="-600" y="1514985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0" name="Straight Connector 119"/>
              <p:cNvCxnSpPr/>
              <p:nvPr/>
            </p:nvCxnSpPr>
            <p:spPr>
              <a:xfrm>
                <a:off x="-600" y="1812380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1" name="Straight Connector 120"/>
              <p:cNvCxnSpPr/>
              <p:nvPr/>
            </p:nvCxnSpPr>
            <p:spPr>
              <a:xfrm>
                <a:off x="-600" y="2109775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2" name="Straight Connector 121"/>
              <p:cNvCxnSpPr/>
              <p:nvPr/>
            </p:nvCxnSpPr>
            <p:spPr>
              <a:xfrm>
                <a:off x="-600" y="2407170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3" name="Straight Connector 122"/>
              <p:cNvCxnSpPr/>
              <p:nvPr/>
            </p:nvCxnSpPr>
            <p:spPr>
              <a:xfrm>
                <a:off x="-600" y="2704565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4" name="Straight Connector 123"/>
              <p:cNvCxnSpPr/>
              <p:nvPr/>
            </p:nvCxnSpPr>
            <p:spPr>
              <a:xfrm>
                <a:off x="-600" y="3001960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5" name="Straight Connector 124"/>
              <p:cNvCxnSpPr/>
              <p:nvPr/>
            </p:nvCxnSpPr>
            <p:spPr>
              <a:xfrm>
                <a:off x="-600" y="3299355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6" name="Straight Connector 125"/>
              <p:cNvCxnSpPr/>
              <p:nvPr/>
            </p:nvCxnSpPr>
            <p:spPr>
              <a:xfrm>
                <a:off x="-600" y="3596750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7" name="Straight Connector 126"/>
              <p:cNvCxnSpPr/>
              <p:nvPr/>
            </p:nvCxnSpPr>
            <p:spPr>
              <a:xfrm>
                <a:off x="-600" y="3894145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8" name="Straight Connector 127"/>
              <p:cNvCxnSpPr/>
              <p:nvPr/>
            </p:nvCxnSpPr>
            <p:spPr>
              <a:xfrm>
                <a:off x="-600" y="4191540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9" name="Straight Connector 128"/>
              <p:cNvCxnSpPr/>
              <p:nvPr/>
            </p:nvCxnSpPr>
            <p:spPr>
              <a:xfrm>
                <a:off x="-600" y="4488935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0" name="Straight Connector 129"/>
              <p:cNvCxnSpPr/>
              <p:nvPr/>
            </p:nvCxnSpPr>
            <p:spPr>
              <a:xfrm>
                <a:off x="-600" y="4786330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1" name="Straight Connector 130"/>
              <p:cNvCxnSpPr/>
              <p:nvPr/>
            </p:nvCxnSpPr>
            <p:spPr>
              <a:xfrm>
                <a:off x="-600" y="5083725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2" name="Straight Connector 131"/>
              <p:cNvCxnSpPr/>
              <p:nvPr/>
            </p:nvCxnSpPr>
            <p:spPr>
              <a:xfrm>
                <a:off x="-600" y="5381120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3" name="Straight Connector 132"/>
              <p:cNvCxnSpPr/>
              <p:nvPr/>
            </p:nvCxnSpPr>
            <p:spPr>
              <a:xfrm>
                <a:off x="-600" y="5678520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93" name="Group 92"/>
            <p:cNvGrpSpPr/>
            <p:nvPr/>
          </p:nvGrpSpPr>
          <p:grpSpPr>
            <a:xfrm>
              <a:off x="629400" y="623550"/>
              <a:ext cx="10933200" cy="5054970"/>
              <a:chOff x="629400" y="623550"/>
              <a:chExt cx="10933200" cy="5537047"/>
            </a:xfrm>
          </p:grpSpPr>
          <p:sp>
            <p:nvSpPr>
              <p:cNvPr id="100" name="Rectangle 34"/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1" name="Rectangle 35"/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2" name="Rectangle 36"/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3" name="Rectangle 37"/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4" name="Rectangle 38"/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5" name="Rectangle 39"/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6" name="Rectangle 40"/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7" name="Rectangle 41"/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8" name="Rectangle 42"/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9" name="Rectangle 43"/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0" name="Rectangle 44"/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1" name="Rectangle 5"/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2" name="Rectangle 7"/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3" name="Rectangle 9"/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4" name="Rectangle 11"/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5" name="Rectangle 13"/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94" name="Group 93"/>
            <p:cNvGrpSpPr/>
            <p:nvPr/>
          </p:nvGrpSpPr>
          <p:grpSpPr>
            <a:xfrm>
              <a:off x="-600" y="0"/>
              <a:ext cx="12193200" cy="6858000"/>
              <a:chOff x="-600" y="0"/>
              <a:chExt cx="12193200" cy="6858000"/>
            </a:xfrm>
          </p:grpSpPr>
          <p:sp>
            <p:nvSpPr>
              <p:cNvPr id="95" name="Slide edges"/>
              <p:cNvSpPr>
                <a:spLocks/>
              </p:cNvSpPr>
              <p:nvPr/>
            </p:nvSpPr>
            <p:spPr bwMode="auto">
              <a:xfrm>
                <a:off x="-600" y="0"/>
                <a:ext cx="12193200" cy="6858000"/>
              </a:xfrm>
              <a:custGeom>
                <a:avLst/>
                <a:gdLst>
                  <a:gd name="T0" fmla="*/ 6024 w 6026"/>
                  <a:gd name="T1" fmla="*/ 3394 h 3396"/>
                  <a:gd name="T2" fmla="*/ 6024 w 6026"/>
                  <a:gd name="T3" fmla="*/ 3391 h 3396"/>
                  <a:gd name="T4" fmla="*/ 5 w 6026"/>
                  <a:gd name="T5" fmla="*/ 3391 h 3396"/>
                  <a:gd name="T6" fmla="*/ 5 w 6026"/>
                  <a:gd name="T7" fmla="*/ 5 h 3396"/>
                  <a:gd name="T8" fmla="*/ 6021 w 6026"/>
                  <a:gd name="T9" fmla="*/ 5 h 3396"/>
                  <a:gd name="T10" fmla="*/ 6021 w 6026"/>
                  <a:gd name="T11" fmla="*/ 3394 h 3396"/>
                  <a:gd name="T12" fmla="*/ 6024 w 6026"/>
                  <a:gd name="T13" fmla="*/ 3394 h 3396"/>
                  <a:gd name="T14" fmla="*/ 6024 w 6026"/>
                  <a:gd name="T15" fmla="*/ 3391 h 3396"/>
                  <a:gd name="T16" fmla="*/ 6024 w 6026"/>
                  <a:gd name="T17" fmla="*/ 3394 h 3396"/>
                  <a:gd name="T18" fmla="*/ 6026 w 6026"/>
                  <a:gd name="T19" fmla="*/ 3394 h 3396"/>
                  <a:gd name="T20" fmla="*/ 6026 w 6026"/>
                  <a:gd name="T21" fmla="*/ 0 h 3396"/>
                  <a:gd name="T22" fmla="*/ 0 w 6026"/>
                  <a:gd name="T23" fmla="*/ 0 h 3396"/>
                  <a:gd name="T24" fmla="*/ 0 w 6026"/>
                  <a:gd name="T25" fmla="*/ 3396 h 3396"/>
                  <a:gd name="T26" fmla="*/ 6026 w 6026"/>
                  <a:gd name="T27" fmla="*/ 3396 h 3396"/>
                  <a:gd name="T28" fmla="*/ 6026 w 6026"/>
                  <a:gd name="T29" fmla="*/ 3394 h 3396"/>
                  <a:gd name="T30" fmla="*/ 6024 w 6026"/>
                  <a:gd name="T31" fmla="*/ 3394 h 33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6026" h="3396">
                    <a:moveTo>
                      <a:pt x="6024" y="3394"/>
                    </a:moveTo>
                    <a:lnTo>
                      <a:pt x="6024" y="3391"/>
                    </a:lnTo>
                    <a:lnTo>
                      <a:pt x="5" y="3391"/>
                    </a:lnTo>
                    <a:lnTo>
                      <a:pt x="5" y="5"/>
                    </a:lnTo>
                    <a:lnTo>
                      <a:pt x="6021" y="5"/>
                    </a:lnTo>
                    <a:lnTo>
                      <a:pt x="6021" y="3394"/>
                    </a:lnTo>
                    <a:lnTo>
                      <a:pt x="6024" y="3394"/>
                    </a:lnTo>
                    <a:lnTo>
                      <a:pt x="6024" y="3391"/>
                    </a:lnTo>
                    <a:lnTo>
                      <a:pt x="6024" y="3394"/>
                    </a:lnTo>
                    <a:lnTo>
                      <a:pt x="6026" y="3394"/>
                    </a:lnTo>
                    <a:lnTo>
                      <a:pt x="6026" y="0"/>
                    </a:lnTo>
                    <a:lnTo>
                      <a:pt x="0" y="0"/>
                    </a:lnTo>
                    <a:lnTo>
                      <a:pt x="0" y="3396"/>
                    </a:lnTo>
                    <a:lnTo>
                      <a:pt x="6026" y="3396"/>
                    </a:lnTo>
                    <a:lnTo>
                      <a:pt x="6026" y="3394"/>
                    </a:lnTo>
                    <a:lnTo>
                      <a:pt x="6024" y="3394"/>
                    </a:lnTo>
                    <a:close/>
                  </a:path>
                </a:pathLst>
              </a:custGeom>
              <a:solidFill>
                <a:schemeClr val="accent5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575757"/>
                  </a:solidFill>
                  <a:effectLst/>
                  <a:uLnTx/>
                  <a:uFillTx/>
                  <a:ea typeface="+mn-ea"/>
                  <a:cs typeface="+mn-cs"/>
                </a:endParaRPr>
              </a:p>
            </p:txBody>
          </p:sp>
          <p:sp>
            <p:nvSpPr>
              <p:cNvPr id="96" name="Footnote measure"/>
              <p:cNvSpPr>
                <a:spLocks noChangeArrowheads="1"/>
              </p:cNvSpPr>
              <p:nvPr/>
            </p:nvSpPr>
            <p:spPr bwMode="auto">
              <a:xfrm>
                <a:off x="629400" y="5678521"/>
                <a:ext cx="10933200" cy="905159"/>
              </a:xfrm>
              <a:prstGeom prst="rect">
                <a:avLst/>
              </a:prstGeom>
              <a:solidFill>
                <a:schemeClr val="accent3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7" name="Whitespace measure"/>
              <p:cNvSpPr>
                <a:spLocks noChangeArrowheads="1"/>
              </p:cNvSpPr>
              <p:nvPr/>
            </p:nvSpPr>
            <p:spPr bwMode="auto">
              <a:xfrm>
                <a:off x="629400" y="1514985"/>
                <a:ext cx="10932229" cy="594790"/>
              </a:xfrm>
              <a:prstGeom prst="rect">
                <a:avLst/>
              </a:prstGeom>
              <a:solidFill>
                <a:schemeClr val="accent3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8" name="Live area"/>
              <p:cNvSpPr/>
              <p:nvPr/>
            </p:nvSpPr>
            <p:spPr>
              <a:xfrm>
                <a:off x="629400" y="2109775"/>
                <a:ext cx="10933200" cy="3568747"/>
              </a:xfrm>
              <a:custGeom>
                <a:avLst/>
                <a:gdLst>
                  <a:gd name="connsiteX0" fmla="*/ 0 w 10931999"/>
                  <a:gd name="connsiteY0" fmla="*/ 0 h 5537797"/>
                  <a:gd name="connsiteX1" fmla="*/ 10931999 w 10931999"/>
                  <a:gd name="connsiteY1" fmla="*/ 0 h 5537797"/>
                  <a:gd name="connsiteX2" fmla="*/ 10931999 w 10931999"/>
                  <a:gd name="connsiteY2" fmla="*/ 5537797 h 5537797"/>
                  <a:gd name="connsiteX3" fmla="*/ 0 w 10931999"/>
                  <a:gd name="connsiteY3" fmla="*/ 5537797 h 55377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0931999" h="5537797">
                    <a:moveTo>
                      <a:pt x="0" y="0"/>
                    </a:moveTo>
                    <a:lnTo>
                      <a:pt x="10931999" y="0"/>
                    </a:lnTo>
                    <a:lnTo>
                      <a:pt x="10931999" y="5537797"/>
                    </a:lnTo>
                    <a:lnTo>
                      <a:pt x="0" y="5537797"/>
                    </a:lnTo>
                    <a:close/>
                  </a:path>
                </a:pathLst>
              </a:custGeom>
              <a:noFill/>
              <a:ln w="9525">
                <a:solidFill>
                  <a:srgbClr val="ED1B24">
                    <a:alpha val="35000"/>
                  </a:srgbClr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>
                  <a:lnSpc>
                    <a:spcPct val="90000"/>
                  </a:lnSpc>
                  <a:spcAft>
                    <a:spcPts val="1000"/>
                  </a:spcAft>
                </a:pPr>
                <a:endParaRPr lang="en-US" sz="1200">
                  <a:solidFill>
                    <a:schemeClr val="bg1"/>
                  </a:solidFill>
                </a:endParaRPr>
              </a:p>
            </p:txBody>
          </p:sp>
          <p:sp>
            <p:nvSpPr>
              <p:cNvPr id="99" name="Footnote example"/>
              <p:cNvSpPr txBox="1"/>
              <p:nvPr/>
            </p:nvSpPr>
            <p:spPr>
              <a:xfrm>
                <a:off x="630000" y="5678521"/>
                <a:ext cx="9030914" cy="332399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b">
                <a:spAutoFit/>
              </a:bodyPr>
              <a:lstStyle/>
              <a:p>
                <a:pPr lvl="0">
                  <a:lnSpc>
                    <a:spcPct val="90000"/>
                  </a:lnSpc>
                  <a:defRPr/>
                </a:pPr>
                <a:r>
                  <a:rPr lang="en-US" sz="800">
                    <a:solidFill>
                      <a:prstClr val="white">
                        <a:lumMod val="65000"/>
                      </a:prstClr>
                    </a:solidFill>
                    <a:sym typeface="Trebuchet MS" panose="020B0603020202020204" pitchFamily="34" charset="0"/>
                  </a:rPr>
                  <a:t>1. xxxx  2. xxxx  3. List footnotes in numerical order. Footnote numbers are not bracketed. Use 8pt font</a:t>
                </a:r>
              </a:p>
              <a:p>
                <a:pPr lvl="0">
                  <a:lnSpc>
                    <a:spcPct val="90000"/>
                  </a:lnSpc>
                  <a:defRPr/>
                </a:pPr>
                <a:r>
                  <a:rPr lang="en-US" sz="800">
                    <a:solidFill>
                      <a:prstClr val="white">
                        <a:lumMod val="65000"/>
                      </a:prstClr>
                    </a:solidFill>
                    <a:sym typeface="Trebuchet MS" panose="020B0603020202020204" pitchFamily="34" charset="0"/>
                  </a:rPr>
                  <a:t>Note: Do not put a period at the end of the note or the source</a:t>
                </a:r>
              </a:p>
              <a:p>
                <a:pPr lvl="0">
                  <a:lnSpc>
                    <a:spcPct val="90000"/>
                  </a:lnSpc>
                  <a:defRPr/>
                </a:pPr>
                <a:r>
                  <a:rPr lang="en-US" sz="800">
                    <a:solidFill>
                      <a:prstClr val="white">
                        <a:lumMod val="65000"/>
                      </a:prstClr>
                    </a:solidFill>
                    <a:sym typeface="Trebuchet MS" panose="020B0603020202020204" pitchFamily="34" charset="0"/>
                  </a:rPr>
                  <a:t>Source: Include a source for every chart that you use. Separate sources with a semicolon; BCG-related sources go at the end</a:t>
                </a:r>
                <a:endParaRPr kumimoji="0" lang="en-US" sz="800" b="0" i="0" u="none" strike="noStrike" kern="1200" cap="none" spc="0" normalizeH="0" baseline="0" noProof="0">
                  <a:ln>
                    <a:noFill/>
                  </a:ln>
                  <a:solidFill>
                    <a:prstClr val="white">
                      <a:lumMod val="65000"/>
                    </a:prstClr>
                  </a:solidFill>
                  <a:effectLst/>
                  <a:uLnTx/>
                  <a:uFillTx/>
                  <a:sym typeface="Trebuchet MS" panose="020B0603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9215704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780440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</a:pPr>
            <a:endParaRPr lang="en-US" sz="5400" b="0" i="0" baseline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11" name="Freeform: Shape 31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/>
        </p:nvSpPr>
        <p:spPr>
          <a:xfrm>
            <a:off x="0" y="6326127"/>
            <a:ext cx="12188952" cy="531873"/>
          </a:xfrm>
          <a:custGeom>
            <a:avLst/>
            <a:gdLst>
              <a:gd name="connsiteX0" fmla="*/ 8400285 w 12188952"/>
              <a:gd name="connsiteY0" fmla="*/ 0 h 531873"/>
              <a:gd name="connsiteX1" fmla="*/ 12188950 w 12188952"/>
              <a:gd name="connsiteY1" fmla="*/ 0 h 531873"/>
              <a:gd name="connsiteX2" fmla="*/ 12188950 w 12188952"/>
              <a:gd name="connsiteY2" fmla="*/ 239773 h 531873"/>
              <a:gd name="connsiteX3" fmla="*/ 12188952 w 12188952"/>
              <a:gd name="connsiteY3" fmla="*/ 239773 h 531873"/>
              <a:gd name="connsiteX4" fmla="*/ 12188952 w 12188952"/>
              <a:gd name="connsiteY4" fmla="*/ 531873 h 531873"/>
              <a:gd name="connsiteX5" fmla="*/ 0 w 12188952"/>
              <a:gd name="connsiteY5" fmla="*/ 531873 h 531873"/>
              <a:gd name="connsiteX6" fmla="*/ 0 w 12188952"/>
              <a:gd name="connsiteY6" fmla="*/ 239773 h 531873"/>
              <a:gd name="connsiteX7" fmla="*/ 8220629 w 12188952"/>
              <a:gd name="connsiteY7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88952" h="531873">
                <a:moveTo>
                  <a:pt x="8400285" y="0"/>
                </a:moveTo>
                <a:lnTo>
                  <a:pt x="12188950" y="0"/>
                </a:lnTo>
                <a:lnTo>
                  <a:pt x="12188950" y="239773"/>
                </a:lnTo>
                <a:lnTo>
                  <a:pt x="12188952" y="239773"/>
                </a:lnTo>
                <a:lnTo>
                  <a:pt x="12188952" y="531873"/>
                </a:lnTo>
                <a:lnTo>
                  <a:pt x="0" y="531873"/>
                </a:lnTo>
                <a:lnTo>
                  <a:pt x="0" y="239773"/>
                </a:lnTo>
                <a:lnTo>
                  <a:pt x="8220629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5256DD11-030E-4276-B7F9-8800AF6ADF2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1122363"/>
            <a:ext cx="9144000" cy="2387600"/>
          </a:xfrm>
        </p:spPr>
        <p:txBody>
          <a:bodyPr vert="horz" anchor="b">
            <a:noAutofit/>
          </a:bodyPr>
          <a:lstStyle>
            <a:lvl1pPr algn="ctr">
              <a:defRPr sz="6000" b="1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</a:t>
            </a:r>
            <a:br>
              <a:rPr lang="en-US"/>
            </a:br>
            <a:r>
              <a:rPr lang="en-US"/>
              <a:t>title style</a:t>
            </a:r>
            <a:endParaRPr lang="en-IN"/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780C3700-E3C2-478C-8875-962D0768B72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IN"/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281836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089218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2000250" y="622800"/>
            <a:ext cx="9563100" cy="332399"/>
          </a:xfrm>
        </p:spPr>
        <p:txBody>
          <a:bodyPr vert="horz"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6" name="Copyright" hidden="1"/>
          <p:cNvSpPr txBox="1"/>
          <p:nvPr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fld id="{AC3312C5-EFF4-47B0-B4A9-3F5E27BC8EC7}" type="datetimeFigureOut">
              <a:rPr lang="en-IN" smtClean="0"/>
              <a:t>28-05-2025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6226474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</p15:sldGuideLst>
    </p:ext>
  </p:extLst>
</p:sldLayout>
</file>

<file path=ppt/slideLayouts/slideLayout2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B083126-25E7-42D8-B799-608CFD4DF6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add titl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AD1DA01-0E73-44DE-A132-B4FF1E70A31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29400" y="2085628"/>
            <a:ext cx="10933950" cy="4072976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Copyright" hidden="1"/>
          <p:cNvSpPr txBox="1"/>
          <p:nvPr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fld id="{AC3312C5-EFF4-47B0-B4A9-3F5E27BC8EC7}" type="datetimeFigureOut">
              <a:rPr lang="en-IN" smtClean="0"/>
              <a:t>28-05-2025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4903851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Gray slice head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 bwMode="white">
          <a:xfrm>
            <a:off x="1" y="-1309"/>
            <a:ext cx="46944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8" name="Subtitle 2"/>
          <p:cNvSpPr>
            <a:spLocks noGrp="1"/>
          </p:cNvSpPr>
          <p:nvPr>
            <p:ph type="subTitle" idx="13" hasCustomPrompt="1"/>
          </p:nvPr>
        </p:nvSpPr>
        <p:spPr>
          <a:xfrm>
            <a:off x="630000" y="2158987"/>
            <a:ext cx="3744000" cy="541687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1600">
                <a:solidFill>
                  <a:srgbClr val="FF0000"/>
                </a:solidFill>
                <a:latin typeface="+mn-lt"/>
                <a:sym typeface="Trebuchet MS" panose="020B0603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add subtitle</a:t>
            </a:r>
          </a:p>
        </p:txBody>
      </p:sp>
      <p:sp>
        <p:nvSpPr>
          <p:cNvPr id="9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1227048"/>
            <a:ext cx="3744000" cy="664797"/>
          </a:xfrm>
        </p:spPr>
        <p:txBody>
          <a:bodyPr anchor="t">
            <a:noAutofit/>
          </a:bodyPr>
          <a:lstStyle>
            <a:lvl1pPr>
              <a:defRPr sz="2400">
                <a:solidFill>
                  <a:srgbClr val="FF000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2" name="Copyright" hidden="1"/>
          <p:cNvSpPr txBox="1"/>
          <p:nvPr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3" name="Freeform: Shape 31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/>
        </p:nvSpPr>
        <p:spPr>
          <a:xfrm>
            <a:off x="0" y="6326127"/>
            <a:ext cx="12188952" cy="531873"/>
          </a:xfrm>
          <a:custGeom>
            <a:avLst/>
            <a:gdLst>
              <a:gd name="connsiteX0" fmla="*/ 8400285 w 12188952"/>
              <a:gd name="connsiteY0" fmla="*/ 0 h 531873"/>
              <a:gd name="connsiteX1" fmla="*/ 12188950 w 12188952"/>
              <a:gd name="connsiteY1" fmla="*/ 0 h 531873"/>
              <a:gd name="connsiteX2" fmla="*/ 12188950 w 12188952"/>
              <a:gd name="connsiteY2" fmla="*/ 239773 h 531873"/>
              <a:gd name="connsiteX3" fmla="*/ 12188952 w 12188952"/>
              <a:gd name="connsiteY3" fmla="*/ 239773 h 531873"/>
              <a:gd name="connsiteX4" fmla="*/ 12188952 w 12188952"/>
              <a:gd name="connsiteY4" fmla="*/ 531873 h 531873"/>
              <a:gd name="connsiteX5" fmla="*/ 0 w 12188952"/>
              <a:gd name="connsiteY5" fmla="*/ 531873 h 531873"/>
              <a:gd name="connsiteX6" fmla="*/ 0 w 12188952"/>
              <a:gd name="connsiteY6" fmla="*/ 239773 h 531873"/>
              <a:gd name="connsiteX7" fmla="*/ 8220629 w 12188952"/>
              <a:gd name="connsiteY7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88952" h="531873">
                <a:moveTo>
                  <a:pt x="8400285" y="0"/>
                </a:moveTo>
                <a:lnTo>
                  <a:pt x="12188950" y="0"/>
                </a:lnTo>
                <a:lnTo>
                  <a:pt x="12188950" y="239773"/>
                </a:lnTo>
                <a:lnTo>
                  <a:pt x="12188952" y="239773"/>
                </a:lnTo>
                <a:lnTo>
                  <a:pt x="12188952" y="531873"/>
                </a:lnTo>
                <a:lnTo>
                  <a:pt x="0" y="531873"/>
                </a:lnTo>
                <a:lnTo>
                  <a:pt x="0" y="239773"/>
                </a:lnTo>
                <a:lnTo>
                  <a:pt x="8220629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5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fld id="{AC3312C5-EFF4-47B0-B4A9-3F5E27BC8EC7}" type="datetimeFigureOut">
              <a:rPr lang="en-IN" smtClean="0"/>
              <a:t>28-05-2025</a:t>
            </a:fld>
            <a:endParaRPr lang="en-IN"/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722052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Section header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284742" y="2668041"/>
            <a:ext cx="9620491" cy="3201026"/>
          </a:xfrm>
          <a:prstGeom prst="rect">
            <a:avLst/>
          </a:prstGeom>
          <a:ln w="9525"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</a14:hiddenLine>
            </a:ext>
          </a:extLst>
        </p:spPr>
        <p:txBody>
          <a:bodyPr vert="horz" lIns="274320" tIns="274320" rIns="274320" bIns="137160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rgbClr val="FF0000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section title</a:t>
            </a:r>
          </a:p>
        </p:txBody>
      </p:sp>
      <p:sp>
        <p:nvSpPr>
          <p:cNvPr id="11" name="Rectangle 10"/>
          <p:cNvSpPr/>
          <p:nvPr/>
        </p:nvSpPr>
        <p:spPr bwMode="white">
          <a:xfrm>
            <a:off x="1280693" y="1424081"/>
            <a:ext cx="951721" cy="951721"/>
          </a:xfrm>
          <a:prstGeom prst="rect">
            <a:avLst/>
          </a:prstGeom>
          <a:noFill/>
          <a:ln>
            <a:solidFill>
              <a:schemeClr val="tx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3" name="Copyright" hidden="1"/>
          <p:cNvSpPr txBox="1"/>
          <p:nvPr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6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fld id="{AC3312C5-EFF4-47B0-B4A9-3F5E27BC8EC7}" type="datetimeFigureOut">
              <a:rPr lang="en-IN" smtClean="0"/>
              <a:t>28-05-2025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4795771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Section header line">
    <p:bg bwMode="blackWhite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3826800"/>
            <a:ext cx="10936800" cy="2041200"/>
          </a:xfrm>
        </p:spPr>
        <p:txBody>
          <a:bodyPr vert="horz" anchor="t">
            <a:noAutofit/>
          </a:bodyPr>
          <a:lstStyle>
            <a:lvl1pPr>
              <a:defRPr sz="5400">
                <a:solidFill>
                  <a:srgbClr val="FF000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section title</a:t>
            </a:r>
          </a:p>
        </p:txBody>
      </p:sp>
      <p:cxnSp>
        <p:nvCxnSpPr>
          <p:cNvPr id="10" name="Straight Connector 9"/>
          <p:cNvCxnSpPr/>
          <p:nvPr/>
        </p:nvCxnSpPr>
        <p:spPr bwMode="white">
          <a:xfrm>
            <a:off x="630000" y="3680016"/>
            <a:ext cx="11558587" cy="0"/>
          </a:xfrm>
          <a:prstGeom prst="line">
            <a:avLst/>
          </a:prstGeom>
          <a:ln w="19050" cmpd="sng">
            <a:solidFill>
              <a:schemeClr val="tx2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fld id="{AC3312C5-EFF4-47B0-B4A9-3F5E27BC8EC7}" type="datetimeFigureOut">
              <a:rPr lang="en-IN" smtClean="0"/>
              <a:t>28-05-2025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9318531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White one third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4064994" y="0"/>
            <a:ext cx="416951" cy="6858000"/>
          </a:xfrm>
          <a:prstGeom prst="rect">
            <a:avLst/>
          </a:prstGeom>
        </p:spPr>
      </p:pic>
      <p:sp>
        <p:nvSpPr>
          <p:cNvPr id="24" name="Rectangle 23"/>
          <p:cNvSpPr/>
          <p:nvPr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2400">
                <a:solidFill>
                  <a:srgbClr val="FF000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1" name="Copyright" hidden="1"/>
          <p:cNvSpPr txBox="1"/>
          <p:nvPr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5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fld id="{AC3312C5-EFF4-47B0-B4A9-3F5E27BC8EC7}" type="datetimeFigureOut">
              <a:rPr lang="en-IN" smtClean="0"/>
              <a:t>28-05-2025</a:t>
            </a:fld>
            <a:endParaRPr lang="en-IN"/>
          </a:p>
        </p:txBody>
      </p:sp>
      <p:sp>
        <p:nvSpPr>
          <p:cNvPr id="16" name="Freeform 15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/>
        </p:nvSpPr>
        <p:spPr>
          <a:xfrm>
            <a:off x="0" y="6565900"/>
            <a:ext cx="4008608" cy="292100"/>
          </a:xfrm>
          <a:custGeom>
            <a:avLst/>
            <a:gdLst>
              <a:gd name="connsiteX0" fmla="*/ 0 w 4008608"/>
              <a:gd name="connsiteY0" fmla="*/ 0 h 292100"/>
              <a:gd name="connsiteX1" fmla="*/ 4008608 w 4008608"/>
              <a:gd name="connsiteY1" fmla="*/ 0 h 292100"/>
              <a:gd name="connsiteX2" fmla="*/ 4008608 w 4008608"/>
              <a:gd name="connsiteY2" fmla="*/ 292100 h 292100"/>
              <a:gd name="connsiteX3" fmla="*/ 0 w 4008608"/>
              <a:gd name="connsiteY3" fmla="*/ 292100 h 292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08608" h="292100">
                <a:moveTo>
                  <a:pt x="0" y="0"/>
                </a:moveTo>
                <a:lnTo>
                  <a:pt x="4008608" y="0"/>
                </a:lnTo>
                <a:lnTo>
                  <a:pt x="4008608" y="292100"/>
                </a:lnTo>
                <a:lnTo>
                  <a:pt x="0" y="292100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4234532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Green highlight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073607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7165606" y="0"/>
            <a:ext cx="416951" cy="6858000"/>
          </a:xfrm>
          <a:prstGeom prst="rect">
            <a:avLst/>
          </a:prstGeom>
        </p:spPr>
      </p:pic>
      <p:sp>
        <p:nvSpPr>
          <p:cNvPr id="14" name="Rectangle 13"/>
          <p:cNvSpPr/>
          <p:nvPr/>
        </p:nvSpPr>
        <p:spPr bwMode="white">
          <a:xfrm>
            <a:off x="0" y="0"/>
            <a:ext cx="7171956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000250" y="622800"/>
            <a:ext cx="4906279" cy="332399"/>
          </a:xfrm>
          <a:prstGeom prst="rect">
            <a:avLst/>
          </a:prstGeom>
        </p:spPr>
        <p:txBody>
          <a:bodyPr vert="horz"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9" name="Copyright" hidden="1"/>
          <p:cNvSpPr txBox="1"/>
          <p:nvPr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5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fld id="{AC3312C5-EFF4-47B0-B4A9-3F5E27BC8EC7}" type="datetimeFigureOut">
              <a:rPr lang="en-IN" smtClean="0"/>
              <a:t>28-05-2025</a:t>
            </a:fld>
            <a:endParaRPr lang="en-IN"/>
          </a:p>
        </p:txBody>
      </p:sp>
      <p:sp>
        <p:nvSpPr>
          <p:cNvPr id="16" name="Freeform 15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/>
        </p:nvSpPr>
        <p:spPr>
          <a:xfrm>
            <a:off x="0" y="6565900"/>
            <a:ext cx="7101056" cy="292100"/>
          </a:xfrm>
          <a:custGeom>
            <a:avLst/>
            <a:gdLst>
              <a:gd name="connsiteX0" fmla="*/ 0 w 7101056"/>
              <a:gd name="connsiteY0" fmla="*/ 0 h 292100"/>
              <a:gd name="connsiteX1" fmla="*/ 7101056 w 7101056"/>
              <a:gd name="connsiteY1" fmla="*/ 0 h 292100"/>
              <a:gd name="connsiteX2" fmla="*/ 7101056 w 7101056"/>
              <a:gd name="connsiteY2" fmla="*/ 292100 h 292100"/>
              <a:gd name="connsiteX3" fmla="*/ 0 w 7101056"/>
              <a:gd name="connsiteY3" fmla="*/ 292100 h 292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101056" h="292100">
                <a:moveTo>
                  <a:pt x="0" y="0"/>
                </a:moveTo>
                <a:lnTo>
                  <a:pt x="7101056" y="0"/>
                </a:lnTo>
                <a:lnTo>
                  <a:pt x="7101056" y="292100"/>
                </a:lnTo>
                <a:lnTo>
                  <a:pt x="0" y="292100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5823533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Four column green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348864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Picture 15"/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9029246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/>
        </p:nvSpPr>
        <p:spPr bwMode="white">
          <a:xfrm>
            <a:off x="0" y="0"/>
            <a:ext cx="9034272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000250" y="622800"/>
            <a:ext cx="6731334" cy="332399"/>
          </a:xfrm>
          <a:prstGeom prst="rect">
            <a:avLst/>
          </a:prstGeom>
        </p:spPr>
        <p:txBody>
          <a:bodyPr vert="horz"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9" name="Copyright" hidden="1"/>
          <p:cNvSpPr txBox="1"/>
          <p:nvPr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9" name="Freeform 18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/>
        </p:nvSpPr>
        <p:spPr>
          <a:xfrm>
            <a:off x="-1" y="6565900"/>
            <a:ext cx="8963372" cy="292100"/>
          </a:xfrm>
          <a:custGeom>
            <a:avLst/>
            <a:gdLst>
              <a:gd name="connsiteX0" fmla="*/ 0 w 8963372"/>
              <a:gd name="connsiteY0" fmla="*/ 0 h 292100"/>
              <a:gd name="connsiteX1" fmla="*/ 8963372 w 8963372"/>
              <a:gd name="connsiteY1" fmla="*/ 0 h 292100"/>
              <a:gd name="connsiteX2" fmla="*/ 8963372 w 8963372"/>
              <a:gd name="connsiteY2" fmla="*/ 292100 h 292100"/>
              <a:gd name="connsiteX3" fmla="*/ 0 w 8963372"/>
              <a:gd name="connsiteY3" fmla="*/ 292100 h 292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963372" h="292100">
                <a:moveTo>
                  <a:pt x="0" y="0"/>
                </a:moveTo>
                <a:lnTo>
                  <a:pt x="8963372" y="0"/>
                </a:lnTo>
                <a:lnTo>
                  <a:pt x="8963372" y="292100"/>
                </a:lnTo>
                <a:lnTo>
                  <a:pt x="0" y="292100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fld id="{AC3312C5-EFF4-47B0-B4A9-3F5E27BC8EC7}" type="datetimeFigureOut">
              <a:rPr lang="en-IN" smtClean="0"/>
              <a:t>28-05-2025</a:t>
            </a:fld>
            <a:endParaRPr lang="en-IN"/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4803154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Green one third">
    <p:bg>
      <p:bgPr>
        <a:gradFill>
          <a:gsLst>
            <a:gs pos="39000">
              <a:srgbClr val="D81F30"/>
            </a:gs>
            <a:gs pos="100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11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3" name="Rectangle 12"/>
          <p:cNvSpPr/>
          <p:nvPr/>
        </p:nvSpPr>
        <p:spPr bwMode="white">
          <a:xfrm>
            <a:off x="4080763" y="-1309"/>
            <a:ext cx="8111237" cy="685930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9" name="Copyright" hidden="1"/>
          <p:cNvSpPr txBox="1"/>
          <p:nvPr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21" name="Freeform 20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/>
        </p:nvSpPr>
        <p:spPr>
          <a:xfrm>
            <a:off x="4151664" y="6326127"/>
            <a:ext cx="8037289" cy="531873"/>
          </a:xfrm>
          <a:custGeom>
            <a:avLst/>
            <a:gdLst>
              <a:gd name="connsiteX0" fmla="*/ 4248622 w 8037289"/>
              <a:gd name="connsiteY0" fmla="*/ 0 h 531873"/>
              <a:gd name="connsiteX1" fmla="*/ 8037287 w 8037289"/>
              <a:gd name="connsiteY1" fmla="*/ 0 h 531873"/>
              <a:gd name="connsiteX2" fmla="*/ 8037287 w 8037289"/>
              <a:gd name="connsiteY2" fmla="*/ 239773 h 531873"/>
              <a:gd name="connsiteX3" fmla="*/ 8037289 w 8037289"/>
              <a:gd name="connsiteY3" fmla="*/ 239773 h 531873"/>
              <a:gd name="connsiteX4" fmla="*/ 8037289 w 8037289"/>
              <a:gd name="connsiteY4" fmla="*/ 531873 h 531873"/>
              <a:gd name="connsiteX5" fmla="*/ 0 w 8037289"/>
              <a:gd name="connsiteY5" fmla="*/ 531873 h 531873"/>
              <a:gd name="connsiteX6" fmla="*/ 0 w 8037289"/>
              <a:gd name="connsiteY6" fmla="*/ 239773 h 531873"/>
              <a:gd name="connsiteX7" fmla="*/ 4068966 w 8037289"/>
              <a:gd name="connsiteY7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037289" h="531873">
                <a:moveTo>
                  <a:pt x="4248622" y="0"/>
                </a:moveTo>
                <a:lnTo>
                  <a:pt x="8037287" y="0"/>
                </a:lnTo>
                <a:lnTo>
                  <a:pt x="8037287" y="239773"/>
                </a:lnTo>
                <a:lnTo>
                  <a:pt x="8037289" y="239773"/>
                </a:lnTo>
                <a:lnTo>
                  <a:pt x="8037289" y="531873"/>
                </a:lnTo>
                <a:lnTo>
                  <a:pt x="0" y="531873"/>
                </a:lnTo>
                <a:lnTo>
                  <a:pt x="0" y="239773"/>
                </a:lnTo>
                <a:lnTo>
                  <a:pt x="4068966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9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3694531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Green one third">
    <p:bg>
      <p:bgPr>
        <a:gradFill>
          <a:gsLst>
            <a:gs pos="39000">
              <a:srgbClr val="D81F30"/>
            </a:gs>
            <a:gs pos="100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22"/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24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2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26" name="Rectangle 25"/>
          <p:cNvSpPr/>
          <p:nvPr/>
        </p:nvSpPr>
        <p:spPr bwMode="ltGray">
          <a:xfrm>
            <a:off x="4080763" y="-1309"/>
            <a:ext cx="8111237" cy="68593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9" name="Copyright" hidden="1"/>
          <p:cNvSpPr txBox="1"/>
          <p:nvPr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4" name="Freeform 13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/>
        </p:nvSpPr>
        <p:spPr>
          <a:xfrm>
            <a:off x="4151664" y="6326127"/>
            <a:ext cx="8037289" cy="531873"/>
          </a:xfrm>
          <a:custGeom>
            <a:avLst/>
            <a:gdLst>
              <a:gd name="connsiteX0" fmla="*/ 4248622 w 8037289"/>
              <a:gd name="connsiteY0" fmla="*/ 0 h 531873"/>
              <a:gd name="connsiteX1" fmla="*/ 8037287 w 8037289"/>
              <a:gd name="connsiteY1" fmla="*/ 0 h 531873"/>
              <a:gd name="connsiteX2" fmla="*/ 8037287 w 8037289"/>
              <a:gd name="connsiteY2" fmla="*/ 239773 h 531873"/>
              <a:gd name="connsiteX3" fmla="*/ 8037289 w 8037289"/>
              <a:gd name="connsiteY3" fmla="*/ 239773 h 531873"/>
              <a:gd name="connsiteX4" fmla="*/ 8037289 w 8037289"/>
              <a:gd name="connsiteY4" fmla="*/ 531873 h 531873"/>
              <a:gd name="connsiteX5" fmla="*/ 0 w 8037289"/>
              <a:gd name="connsiteY5" fmla="*/ 531873 h 531873"/>
              <a:gd name="connsiteX6" fmla="*/ 0 w 8037289"/>
              <a:gd name="connsiteY6" fmla="*/ 239773 h 531873"/>
              <a:gd name="connsiteX7" fmla="*/ 4068966 w 8037289"/>
              <a:gd name="connsiteY7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037289" h="531873">
                <a:moveTo>
                  <a:pt x="4248622" y="0"/>
                </a:moveTo>
                <a:lnTo>
                  <a:pt x="8037287" y="0"/>
                </a:lnTo>
                <a:lnTo>
                  <a:pt x="8037287" y="239773"/>
                </a:lnTo>
                <a:lnTo>
                  <a:pt x="8037289" y="239773"/>
                </a:lnTo>
                <a:lnTo>
                  <a:pt x="8037289" y="531873"/>
                </a:lnTo>
                <a:lnTo>
                  <a:pt x="0" y="531873"/>
                </a:lnTo>
                <a:lnTo>
                  <a:pt x="0" y="239773"/>
                </a:lnTo>
                <a:lnTo>
                  <a:pt x="4068966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12" name="TextBox 11"/>
          <p:cNvSpPr txBox="1"/>
          <p:nvPr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fld id="{AC3312C5-EFF4-47B0-B4A9-3F5E27BC8EC7}" type="datetimeFigureOut">
              <a:rPr lang="en-IN" smtClean="0"/>
              <a:t>28-05-2025</a:t>
            </a:fld>
            <a:endParaRPr lang="en-IN"/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4533833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Green half">
    <p:bg>
      <p:bgPr>
        <a:gradFill>
          <a:gsLst>
            <a:gs pos="39000">
              <a:srgbClr val="D81F30"/>
            </a:gs>
            <a:gs pos="100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1" name="Rectangle 10"/>
          <p:cNvSpPr/>
          <p:nvPr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2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2021" y="0"/>
            <a:ext cx="6099977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baseline="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1785600"/>
            <a:ext cx="4388400" cy="3286800"/>
          </a:xfrm>
          <a:prstGeom prst="rect">
            <a:avLst/>
          </a:prstGeom>
          <a:noFill/>
        </p:spPr>
        <p:txBody>
          <a:bodyPr vert="horz" wrap="square" lIns="0" tIns="0" rIns="320040" bIns="0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6" name="Copyright" hidden="1"/>
          <p:cNvSpPr txBox="1"/>
          <p:nvPr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22" name="Freeform 21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/>
        </p:nvSpPr>
        <p:spPr>
          <a:xfrm>
            <a:off x="6162922" y="6326127"/>
            <a:ext cx="6026031" cy="531873"/>
          </a:xfrm>
          <a:custGeom>
            <a:avLst/>
            <a:gdLst>
              <a:gd name="connsiteX0" fmla="*/ 2237364 w 6026031"/>
              <a:gd name="connsiteY0" fmla="*/ 0 h 531873"/>
              <a:gd name="connsiteX1" fmla="*/ 6026029 w 6026031"/>
              <a:gd name="connsiteY1" fmla="*/ 0 h 531873"/>
              <a:gd name="connsiteX2" fmla="*/ 6026029 w 6026031"/>
              <a:gd name="connsiteY2" fmla="*/ 239773 h 531873"/>
              <a:gd name="connsiteX3" fmla="*/ 6026031 w 6026031"/>
              <a:gd name="connsiteY3" fmla="*/ 239773 h 531873"/>
              <a:gd name="connsiteX4" fmla="*/ 6026031 w 6026031"/>
              <a:gd name="connsiteY4" fmla="*/ 531873 h 531873"/>
              <a:gd name="connsiteX5" fmla="*/ 0 w 6026031"/>
              <a:gd name="connsiteY5" fmla="*/ 531873 h 531873"/>
              <a:gd name="connsiteX6" fmla="*/ 0 w 6026031"/>
              <a:gd name="connsiteY6" fmla="*/ 239773 h 531873"/>
              <a:gd name="connsiteX7" fmla="*/ 2057708 w 6026031"/>
              <a:gd name="connsiteY7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026031" h="531873">
                <a:moveTo>
                  <a:pt x="2237364" y="0"/>
                </a:moveTo>
                <a:lnTo>
                  <a:pt x="6026029" y="0"/>
                </a:lnTo>
                <a:lnTo>
                  <a:pt x="6026029" y="239773"/>
                </a:lnTo>
                <a:lnTo>
                  <a:pt x="6026031" y="239773"/>
                </a:lnTo>
                <a:lnTo>
                  <a:pt x="6026031" y="531873"/>
                </a:lnTo>
                <a:lnTo>
                  <a:pt x="0" y="531873"/>
                </a:lnTo>
                <a:lnTo>
                  <a:pt x="0" y="239773"/>
                </a:lnTo>
                <a:lnTo>
                  <a:pt x="2057708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fld id="{AC3312C5-EFF4-47B0-B4A9-3F5E27BC8EC7}" type="datetimeFigureOut">
              <a:rPr lang="en-IN" smtClean="0"/>
              <a:t>28-05-2025</a:t>
            </a:fld>
            <a:endParaRPr lang="en-IN"/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0845478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Green two third">
    <p:bg>
      <p:bgPr>
        <a:gradFill>
          <a:gsLst>
            <a:gs pos="39000">
              <a:srgbClr val="D81F30"/>
            </a:gs>
            <a:gs pos="100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7409849" y="0"/>
            <a:ext cx="416951" cy="6858000"/>
          </a:xfrm>
          <a:prstGeom prst="rect">
            <a:avLst/>
          </a:prstGeom>
        </p:spPr>
      </p:pic>
      <p:sp>
        <p:nvSpPr>
          <p:cNvPr id="11" name="Rectangle 10"/>
          <p:cNvSpPr/>
          <p:nvPr/>
        </p:nvSpPr>
        <p:spPr bwMode="gray">
          <a:xfrm>
            <a:off x="7819543" y="0"/>
            <a:ext cx="4372457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2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20025" y="0"/>
            <a:ext cx="4371975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600">
                <a:solidFill>
                  <a:schemeClr val="tx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630936" y="1785600"/>
            <a:ext cx="6247552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7" name="Copyright" hidden="1"/>
          <p:cNvSpPr txBox="1"/>
          <p:nvPr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21" name="Freeform 20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/>
        </p:nvSpPr>
        <p:spPr>
          <a:xfrm>
            <a:off x="7890926" y="6326127"/>
            <a:ext cx="4298027" cy="531873"/>
          </a:xfrm>
          <a:custGeom>
            <a:avLst/>
            <a:gdLst>
              <a:gd name="connsiteX0" fmla="*/ 509360 w 4298027"/>
              <a:gd name="connsiteY0" fmla="*/ 0 h 531873"/>
              <a:gd name="connsiteX1" fmla="*/ 4298025 w 4298027"/>
              <a:gd name="connsiteY1" fmla="*/ 0 h 531873"/>
              <a:gd name="connsiteX2" fmla="*/ 4298025 w 4298027"/>
              <a:gd name="connsiteY2" fmla="*/ 239773 h 531873"/>
              <a:gd name="connsiteX3" fmla="*/ 4298027 w 4298027"/>
              <a:gd name="connsiteY3" fmla="*/ 239773 h 531873"/>
              <a:gd name="connsiteX4" fmla="*/ 4298027 w 4298027"/>
              <a:gd name="connsiteY4" fmla="*/ 531873 h 531873"/>
              <a:gd name="connsiteX5" fmla="*/ 0 w 4298027"/>
              <a:gd name="connsiteY5" fmla="*/ 531873 h 531873"/>
              <a:gd name="connsiteX6" fmla="*/ 0 w 4298027"/>
              <a:gd name="connsiteY6" fmla="*/ 239773 h 531873"/>
              <a:gd name="connsiteX7" fmla="*/ 329704 w 4298027"/>
              <a:gd name="connsiteY7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298027" h="531873">
                <a:moveTo>
                  <a:pt x="509360" y="0"/>
                </a:moveTo>
                <a:lnTo>
                  <a:pt x="4298025" y="0"/>
                </a:lnTo>
                <a:lnTo>
                  <a:pt x="4298025" y="239773"/>
                </a:lnTo>
                <a:lnTo>
                  <a:pt x="4298027" y="239773"/>
                </a:lnTo>
                <a:lnTo>
                  <a:pt x="4298027" y="531873"/>
                </a:lnTo>
                <a:lnTo>
                  <a:pt x="0" y="531873"/>
                </a:lnTo>
                <a:lnTo>
                  <a:pt x="0" y="239773"/>
                </a:lnTo>
                <a:lnTo>
                  <a:pt x="329704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0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fld id="{AC3312C5-EFF4-47B0-B4A9-3F5E27BC8EC7}" type="datetimeFigureOut">
              <a:rPr lang="en-IN" smtClean="0"/>
              <a:t>28-05-2025</a:t>
            </a:fld>
            <a:endParaRPr lang="en-IN"/>
          </a:p>
        </p:txBody>
      </p:sp>
      <p:pic>
        <p:nvPicPr>
          <p:cNvPr id="13" name="Picture 12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6014107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Left arrow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24" imgH="324" progId="TCLayout.ActiveDocument.1">
                  <p:embed/>
                </p:oleObj>
              </mc:Choice>
              <mc:Fallback>
                <p:oleObj name="think-cell Slide" r:id="rId3" imgW="324" imgH="32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Freeform 14"/>
          <p:cNvSpPr/>
          <p:nvPr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pic>
        <p:nvPicPr>
          <p:cNvPr id="12" name="Picture 11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32442" y="3590399"/>
            <a:ext cx="1365250" cy="3382962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</p:spPr>
        <p:txBody>
          <a:bodyPr vert="horz" anchor="ctr" anchorCtr="0">
            <a:noAutofit/>
          </a:bodyPr>
          <a:lstStyle>
            <a:lvl1pPr>
              <a:defRPr>
                <a:solidFill>
                  <a:srgbClr val="FF0000"/>
                </a:solidFill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6" name="Copyright" hidden="1"/>
          <p:cNvSpPr txBox="1"/>
          <p:nvPr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fld id="{AC3312C5-EFF4-47B0-B4A9-3F5E27BC8EC7}" type="datetimeFigureOut">
              <a:rPr lang="en-IN" smtClean="0"/>
              <a:t>28-05-2025</a:t>
            </a:fld>
            <a:endParaRPr lang="en-IN"/>
          </a:p>
        </p:txBody>
      </p:sp>
      <p:sp>
        <p:nvSpPr>
          <p:cNvPr id="22" name="Freeform 21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/>
        </p:nvSpPr>
        <p:spPr>
          <a:xfrm>
            <a:off x="1" y="6565900"/>
            <a:ext cx="3266011" cy="292100"/>
          </a:xfrm>
          <a:custGeom>
            <a:avLst/>
            <a:gdLst>
              <a:gd name="connsiteX0" fmla="*/ 0 w 3266011"/>
              <a:gd name="connsiteY0" fmla="*/ 0 h 292100"/>
              <a:gd name="connsiteX1" fmla="*/ 3266011 w 3266011"/>
              <a:gd name="connsiteY1" fmla="*/ 0 h 292100"/>
              <a:gd name="connsiteX2" fmla="*/ 3195872 w 3266011"/>
              <a:gd name="connsiteY2" fmla="*/ 292100 h 292100"/>
              <a:gd name="connsiteX3" fmla="*/ 0 w 3266011"/>
              <a:gd name="connsiteY3" fmla="*/ 292100 h 292100"/>
              <a:gd name="connsiteX4" fmla="*/ 0 w 3266011"/>
              <a:gd name="connsiteY4" fmla="*/ 0 h 292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266011" h="292100">
                <a:moveTo>
                  <a:pt x="0" y="0"/>
                </a:moveTo>
                <a:lnTo>
                  <a:pt x="3266011" y="0"/>
                </a:lnTo>
                <a:lnTo>
                  <a:pt x="3195872" y="292100"/>
                </a:lnTo>
                <a:lnTo>
                  <a:pt x="0" y="292100"/>
                </a:lnTo>
                <a:lnTo>
                  <a:pt x="0" y="0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6970239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Green left arro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Freeform 14"/>
          <p:cNvSpPr/>
          <p:nvPr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gradFill flip="none" rotWithShape="1">
            <a:gsLst>
              <a:gs pos="0">
                <a:srgbClr val="403F85"/>
              </a:gs>
              <a:gs pos="81000">
                <a:srgbClr val="ED1B24"/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</p:spPr>
        <p:txBody>
          <a:bodyPr vert="horz" anchor="ctr" anchorCtr="0">
            <a:noAutofit/>
          </a:bodyPr>
          <a:lstStyle>
            <a:lvl1pPr>
              <a:defRPr>
                <a:solidFill>
                  <a:srgbClr val="FFFFFF"/>
                </a:solidFill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216" b="7716"/>
          <a:stretch/>
        </p:blipFill>
        <p:spPr>
          <a:xfrm rot="120000">
            <a:off x="2174642" y="3402828"/>
            <a:ext cx="2694666" cy="3461745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  <p:sp>
        <p:nvSpPr>
          <p:cNvPr id="11" name="Copyright" hidden="1"/>
          <p:cNvSpPr txBox="1"/>
          <p:nvPr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8" name="Freeform 17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/>
        </p:nvSpPr>
        <p:spPr>
          <a:xfrm>
            <a:off x="3335834" y="6326127"/>
            <a:ext cx="8853119" cy="531873"/>
          </a:xfrm>
          <a:custGeom>
            <a:avLst/>
            <a:gdLst>
              <a:gd name="connsiteX0" fmla="*/ 5064452 w 8853119"/>
              <a:gd name="connsiteY0" fmla="*/ 0 h 531873"/>
              <a:gd name="connsiteX1" fmla="*/ 8853117 w 8853119"/>
              <a:gd name="connsiteY1" fmla="*/ 0 h 531873"/>
              <a:gd name="connsiteX2" fmla="*/ 8853117 w 8853119"/>
              <a:gd name="connsiteY2" fmla="*/ 239773 h 531873"/>
              <a:gd name="connsiteX3" fmla="*/ 8853119 w 8853119"/>
              <a:gd name="connsiteY3" fmla="*/ 239773 h 531873"/>
              <a:gd name="connsiteX4" fmla="*/ 8853119 w 8853119"/>
              <a:gd name="connsiteY4" fmla="*/ 531873 h 531873"/>
              <a:gd name="connsiteX5" fmla="*/ 0 w 8853119"/>
              <a:gd name="connsiteY5" fmla="*/ 531873 h 531873"/>
              <a:gd name="connsiteX6" fmla="*/ 70140 w 8853119"/>
              <a:gd name="connsiteY6" fmla="*/ 239773 h 531873"/>
              <a:gd name="connsiteX7" fmla="*/ 4884796 w 8853119"/>
              <a:gd name="connsiteY7" fmla="*/ 239773 h 531873"/>
              <a:gd name="connsiteX8" fmla="*/ 5064452 w 8853119"/>
              <a:gd name="connsiteY8" fmla="*/ 0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8853119" h="531873">
                <a:moveTo>
                  <a:pt x="5064452" y="0"/>
                </a:moveTo>
                <a:lnTo>
                  <a:pt x="8853117" y="0"/>
                </a:lnTo>
                <a:lnTo>
                  <a:pt x="8853117" y="239773"/>
                </a:lnTo>
                <a:lnTo>
                  <a:pt x="8853119" y="239773"/>
                </a:lnTo>
                <a:lnTo>
                  <a:pt x="8853119" y="531873"/>
                </a:lnTo>
                <a:lnTo>
                  <a:pt x="0" y="531873"/>
                </a:lnTo>
                <a:lnTo>
                  <a:pt x="70140" y="239773"/>
                </a:lnTo>
                <a:lnTo>
                  <a:pt x="4884796" y="239773"/>
                </a:lnTo>
                <a:lnTo>
                  <a:pt x="5064452" y="0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4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fld id="{AC3312C5-EFF4-47B0-B4A9-3F5E27BC8EC7}" type="datetimeFigureOut">
              <a:rPr lang="en-IN" smtClean="0"/>
              <a:t>28-05-2025</a:t>
            </a:fld>
            <a:endParaRPr lang="en-IN"/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734583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Arrow one third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Pentagon 3"/>
          <p:cNvSpPr/>
          <p:nvPr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400" b="0">
                <a:solidFill>
                  <a:srgbClr val="FF000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1" name="Picture 10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81525" y="3394392"/>
            <a:ext cx="1298575" cy="3571875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Copyright" hidden="1"/>
          <p:cNvSpPr txBox="1"/>
          <p:nvPr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6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fld id="{AC3312C5-EFF4-47B0-B4A9-3F5E27BC8EC7}" type="datetimeFigureOut">
              <a:rPr lang="en-IN" smtClean="0"/>
              <a:t>28-05-2025</a:t>
            </a:fld>
            <a:endParaRPr lang="en-IN"/>
          </a:p>
        </p:txBody>
      </p:sp>
      <p:sp>
        <p:nvSpPr>
          <p:cNvPr id="18" name="Freeform 17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/>
        </p:nvSpPr>
        <p:spPr>
          <a:xfrm>
            <a:off x="1" y="6565900"/>
            <a:ext cx="4713649" cy="292100"/>
          </a:xfrm>
          <a:custGeom>
            <a:avLst/>
            <a:gdLst>
              <a:gd name="connsiteX0" fmla="*/ 0 w 4713649"/>
              <a:gd name="connsiteY0" fmla="*/ 0 h 292100"/>
              <a:gd name="connsiteX1" fmla="*/ 4713649 w 4713649"/>
              <a:gd name="connsiteY1" fmla="*/ 0 h 292100"/>
              <a:gd name="connsiteX2" fmla="*/ 4653832 w 4713649"/>
              <a:gd name="connsiteY2" fmla="*/ 292100 h 292100"/>
              <a:gd name="connsiteX3" fmla="*/ 0 w 4713649"/>
              <a:gd name="connsiteY3" fmla="*/ 292100 h 292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713649" h="292100">
                <a:moveTo>
                  <a:pt x="0" y="0"/>
                </a:moveTo>
                <a:lnTo>
                  <a:pt x="4713649" y="0"/>
                </a:lnTo>
                <a:lnTo>
                  <a:pt x="4653832" y="292100"/>
                </a:lnTo>
                <a:lnTo>
                  <a:pt x="0" y="292100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1997028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Green arrow one thir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Pentagon 3"/>
          <p:cNvSpPr/>
          <p:nvPr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gradFill flip="none" rotWithShape="1">
            <a:gsLst>
              <a:gs pos="0">
                <a:srgbClr val="403F85"/>
              </a:gs>
              <a:gs pos="81000">
                <a:srgbClr val="ED1B24"/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400" b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562" b="6867"/>
          <a:stretch/>
        </p:blipFill>
        <p:spPr>
          <a:xfrm>
            <a:off x="3578059" y="3416300"/>
            <a:ext cx="2694666" cy="3441700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  <p:sp>
        <p:nvSpPr>
          <p:cNvPr id="10" name="Copyright" hidden="1"/>
          <p:cNvSpPr txBox="1"/>
          <p:nvPr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8" name="Freeform 17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/>
        </p:nvSpPr>
        <p:spPr>
          <a:xfrm>
            <a:off x="4795632" y="6326127"/>
            <a:ext cx="7393321" cy="531873"/>
          </a:xfrm>
          <a:custGeom>
            <a:avLst/>
            <a:gdLst>
              <a:gd name="connsiteX0" fmla="*/ 3604654 w 7393321"/>
              <a:gd name="connsiteY0" fmla="*/ 0 h 531873"/>
              <a:gd name="connsiteX1" fmla="*/ 7393319 w 7393321"/>
              <a:gd name="connsiteY1" fmla="*/ 0 h 531873"/>
              <a:gd name="connsiteX2" fmla="*/ 7393319 w 7393321"/>
              <a:gd name="connsiteY2" fmla="*/ 239773 h 531873"/>
              <a:gd name="connsiteX3" fmla="*/ 7393321 w 7393321"/>
              <a:gd name="connsiteY3" fmla="*/ 239773 h 531873"/>
              <a:gd name="connsiteX4" fmla="*/ 7393321 w 7393321"/>
              <a:gd name="connsiteY4" fmla="*/ 531873 h 531873"/>
              <a:gd name="connsiteX5" fmla="*/ 0 w 7393321"/>
              <a:gd name="connsiteY5" fmla="*/ 531873 h 531873"/>
              <a:gd name="connsiteX6" fmla="*/ 59817 w 7393321"/>
              <a:gd name="connsiteY6" fmla="*/ 239773 h 531873"/>
              <a:gd name="connsiteX7" fmla="*/ 3424998 w 7393321"/>
              <a:gd name="connsiteY7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393321" h="531873">
                <a:moveTo>
                  <a:pt x="3604654" y="0"/>
                </a:moveTo>
                <a:lnTo>
                  <a:pt x="7393319" y="0"/>
                </a:lnTo>
                <a:lnTo>
                  <a:pt x="7393319" y="239773"/>
                </a:lnTo>
                <a:lnTo>
                  <a:pt x="7393321" y="239773"/>
                </a:lnTo>
                <a:lnTo>
                  <a:pt x="7393321" y="531873"/>
                </a:lnTo>
                <a:lnTo>
                  <a:pt x="0" y="531873"/>
                </a:lnTo>
                <a:lnTo>
                  <a:pt x="59817" y="239773"/>
                </a:lnTo>
                <a:lnTo>
                  <a:pt x="3424998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fld id="{AC3312C5-EFF4-47B0-B4A9-3F5E27BC8EC7}" type="datetimeFigureOut">
              <a:rPr lang="en-IN" smtClean="0"/>
              <a:t>28-05-2025</a:t>
            </a:fld>
            <a:endParaRPr lang="en-IN"/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514862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Arrow half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274833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entagon 8"/>
          <p:cNvSpPr/>
          <p:nvPr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2000250" y="622800"/>
            <a:ext cx="3377572" cy="332399"/>
          </a:xfrm>
          <a:prstGeom prst="rect">
            <a:avLst/>
          </a:prstGeom>
        </p:spPr>
        <p:txBody>
          <a:bodyPr vert="horz"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0" name="Picture 9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7806" y="3589606"/>
            <a:ext cx="1365250" cy="3382962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Copyright" hidden="1"/>
          <p:cNvSpPr txBox="1"/>
          <p:nvPr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fld id="{AC3312C5-EFF4-47B0-B4A9-3F5E27BC8EC7}" type="datetimeFigureOut">
              <a:rPr lang="en-IN" smtClean="0"/>
              <a:t>28-05-2025</a:t>
            </a:fld>
            <a:endParaRPr lang="en-IN"/>
          </a:p>
        </p:txBody>
      </p:sp>
      <p:grpSp>
        <p:nvGrpSpPr>
          <p:cNvPr id="12" name="Group 11"/>
          <p:cNvGrpSpPr/>
          <p:nvPr/>
        </p:nvGrpSpPr>
        <p:grpSpPr>
          <a:xfrm>
            <a:off x="0" y="6565900"/>
            <a:ext cx="5538597" cy="292100"/>
            <a:chOff x="0" y="6565900"/>
            <a:chExt cx="5538597" cy="292100"/>
          </a:xfrm>
        </p:grpSpPr>
        <p:sp>
          <p:nvSpPr>
            <p:cNvPr id="13" name="Freeform 12">
              <a:extLst>
                <a:ext uri="{FF2B5EF4-FFF2-40B4-BE49-F238E27FC236}">
                  <a16:creationId xmlns:a16="http://schemas.microsoft.com/office/drawing/2014/main" id="{D6F1E491-2552-48AF-8871-FAF6B673CB54}"/>
                </a:ext>
              </a:extLst>
            </p:cNvPr>
            <p:cNvSpPr/>
            <p:nvPr/>
          </p:nvSpPr>
          <p:spPr>
            <a:xfrm>
              <a:off x="824948" y="6565900"/>
              <a:ext cx="4713649" cy="292100"/>
            </a:xfrm>
            <a:custGeom>
              <a:avLst/>
              <a:gdLst>
                <a:gd name="connsiteX0" fmla="*/ 0 w 4713649"/>
                <a:gd name="connsiteY0" fmla="*/ 0 h 292100"/>
                <a:gd name="connsiteX1" fmla="*/ 4713649 w 4713649"/>
                <a:gd name="connsiteY1" fmla="*/ 0 h 292100"/>
                <a:gd name="connsiteX2" fmla="*/ 4653832 w 4713649"/>
                <a:gd name="connsiteY2" fmla="*/ 292100 h 292100"/>
                <a:gd name="connsiteX3" fmla="*/ 0 w 4713649"/>
                <a:gd name="connsiteY3" fmla="*/ 292100 h 292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713649" h="292100">
                  <a:moveTo>
                    <a:pt x="0" y="0"/>
                  </a:moveTo>
                  <a:lnTo>
                    <a:pt x="4713649" y="0"/>
                  </a:lnTo>
                  <a:lnTo>
                    <a:pt x="4653832" y="292100"/>
                  </a:lnTo>
                  <a:lnTo>
                    <a:pt x="0" y="292100"/>
                  </a:lnTo>
                  <a:close/>
                </a:path>
              </a:pathLst>
            </a:custGeom>
            <a:solidFill>
              <a:srgbClr val="FF0000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1240B29-F687-4F45-9708-019B960494DF}">
                <a14:hiddenLine xmlns:a14="http://schemas.microsoft.com/office/drawing/2010/main" w="9525" cap="rnd" cmpd="sng" algn="ctr">
                  <a:solidFill>
                    <a:srgbClr val="29BA74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FFFFFF"/>
                </a:solidFill>
              </a:endParaRPr>
            </a:p>
          </p:txBody>
        </p:sp>
        <p:sp>
          <p:nvSpPr>
            <p:cNvPr id="16" name="Rectangle 15"/>
            <p:cNvSpPr/>
            <p:nvPr/>
          </p:nvSpPr>
          <p:spPr>
            <a:xfrm>
              <a:off x="0" y="6565900"/>
              <a:ext cx="1427967" cy="292100"/>
            </a:xfrm>
            <a:prstGeom prst="rect">
              <a:avLst/>
            </a:prstGeom>
            <a:solidFill>
              <a:srgbClr val="FF0000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1240B29-F687-4F45-9708-019B960494DF}">
                <a14:hiddenLine xmlns:a14="http://schemas.microsoft.com/office/drawing/2010/main" w="9525" cap="rnd" cmpd="sng" algn="ctr">
                  <a:solidFill>
                    <a:srgbClr val="29BA74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FFFFFF"/>
                </a:solidFill>
              </a:endParaRPr>
            </a:p>
          </p:txBody>
        </p:sp>
      </p:grpSp>
      <p:pic>
        <p:nvPicPr>
          <p:cNvPr id="14" name="Picture 13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2670594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Green arrow half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401162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entagon 8"/>
          <p:cNvSpPr/>
          <p:nvPr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gradFill flip="none" rotWithShape="1">
            <a:gsLst>
              <a:gs pos="0">
                <a:srgbClr val="403F85"/>
              </a:gs>
              <a:gs pos="81000">
                <a:srgbClr val="ED1B24"/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2000250" y="622800"/>
            <a:ext cx="3377572" cy="332399"/>
          </a:xfrm>
          <a:prstGeom prst="rect">
            <a:avLst/>
          </a:prstGeom>
        </p:spPr>
        <p:txBody>
          <a:bodyPr vert="horz"/>
          <a:lstStyle>
            <a:lvl1pPr>
              <a:defRPr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4460172" y="3407803"/>
            <a:ext cx="2694666" cy="3456551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12" name="Copyright" hidden="1"/>
          <p:cNvSpPr txBox="1"/>
          <p:nvPr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1" name="Freeform 10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/>
        </p:nvSpPr>
        <p:spPr>
          <a:xfrm>
            <a:off x="914400" y="6326127"/>
            <a:ext cx="11274552" cy="531873"/>
          </a:xfrm>
          <a:custGeom>
            <a:avLst/>
            <a:gdLst>
              <a:gd name="connsiteX0" fmla="*/ 7485885 w 11274552"/>
              <a:gd name="connsiteY0" fmla="*/ 0 h 531873"/>
              <a:gd name="connsiteX1" fmla="*/ 11274550 w 11274552"/>
              <a:gd name="connsiteY1" fmla="*/ 0 h 531873"/>
              <a:gd name="connsiteX2" fmla="*/ 11274550 w 11274552"/>
              <a:gd name="connsiteY2" fmla="*/ 239773 h 531873"/>
              <a:gd name="connsiteX3" fmla="*/ 11274552 w 11274552"/>
              <a:gd name="connsiteY3" fmla="*/ 239773 h 531873"/>
              <a:gd name="connsiteX4" fmla="*/ 11274552 w 11274552"/>
              <a:gd name="connsiteY4" fmla="*/ 531873 h 531873"/>
              <a:gd name="connsiteX5" fmla="*/ 0 w 11274552"/>
              <a:gd name="connsiteY5" fmla="*/ 531873 h 531873"/>
              <a:gd name="connsiteX6" fmla="*/ 0 w 11274552"/>
              <a:gd name="connsiteY6" fmla="*/ 531872 h 531873"/>
              <a:gd name="connsiteX7" fmla="*/ 4696667 w 11274552"/>
              <a:gd name="connsiteY7" fmla="*/ 531872 h 531873"/>
              <a:gd name="connsiteX8" fmla="*/ 4766807 w 11274552"/>
              <a:gd name="connsiteY8" fmla="*/ 239773 h 531873"/>
              <a:gd name="connsiteX9" fmla="*/ 7306229 w 11274552"/>
              <a:gd name="connsiteY9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1274552" h="531873">
                <a:moveTo>
                  <a:pt x="7485885" y="0"/>
                </a:moveTo>
                <a:lnTo>
                  <a:pt x="11274550" y="0"/>
                </a:lnTo>
                <a:lnTo>
                  <a:pt x="11274550" y="239773"/>
                </a:lnTo>
                <a:lnTo>
                  <a:pt x="11274552" y="239773"/>
                </a:lnTo>
                <a:lnTo>
                  <a:pt x="11274552" y="531873"/>
                </a:lnTo>
                <a:lnTo>
                  <a:pt x="0" y="531873"/>
                </a:lnTo>
                <a:lnTo>
                  <a:pt x="0" y="531872"/>
                </a:lnTo>
                <a:lnTo>
                  <a:pt x="4696667" y="531872"/>
                </a:lnTo>
                <a:lnTo>
                  <a:pt x="4766807" y="239773"/>
                </a:lnTo>
                <a:lnTo>
                  <a:pt x="7306229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8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fld id="{AC3312C5-EFF4-47B0-B4A9-3F5E27BC8EC7}" type="datetimeFigureOut">
              <a:rPr lang="en-IN" smtClean="0"/>
              <a:t>28-05-2025</a:t>
            </a:fld>
            <a:endParaRPr lang="en-IN"/>
          </a:p>
        </p:txBody>
      </p:sp>
      <p:pic>
        <p:nvPicPr>
          <p:cNvPr id="13" name="Picture 12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387614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Arrow two third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13017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000250" y="622800"/>
            <a:ext cx="4884246" cy="332399"/>
          </a:xfrm>
          <a:prstGeom prst="rect">
            <a:avLst/>
          </a:prstGeom>
        </p:spPr>
        <p:txBody>
          <a:bodyPr vert="horz"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1" name="Picture 10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90339" y="3589606"/>
            <a:ext cx="1365250" cy="3382962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Copyright" hidden="1"/>
          <p:cNvSpPr txBox="1"/>
          <p:nvPr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8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fld id="{AC3312C5-EFF4-47B0-B4A9-3F5E27BC8EC7}" type="datetimeFigureOut">
              <a:rPr lang="en-IN" smtClean="0"/>
              <a:t>28-05-2025</a:t>
            </a:fld>
            <a:endParaRPr lang="en-IN"/>
          </a:p>
        </p:txBody>
      </p:sp>
      <p:sp>
        <p:nvSpPr>
          <p:cNvPr id="9" name="Freeform 8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/>
        </p:nvSpPr>
        <p:spPr>
          <a:xfrm>
            <a:off x="-1" y="6565900"/>
            <a:ext cx="7638826" cy="292100"/>
          </a:xfrm>
          <a:custGeom>
            <a:avLst/>
            <a:gdLst>
              <a:gd name="connsiteX0" fmla="*/ 0 w 7638826"/>
              <a:gd name="connsiteY0" fmla="*/ 0 h 292100"/>
              <a:gd name="connsiteX1" fmla="*/ 2925177 w 7638826"/>
              <a:gd name="connsiteY1" fmla="*/ 0 h 292100"/>
              <a:gd name="connsiteX2" fmla="*/ 6027750 w 7638826"/>
              <a:gd name="connsiteY2" fmla="*/ 0 h 292100"/>
              <a:gd name="connsiteX3" fmla="*/ 7638826 w 7638826"/>
              <a:gd name="connsiteY3" fmla="*/ 0 h 292100"/>
              <a:gd name="connsiteX4" fmla="*/ 7579009 w 7638826"/>
              <a:gd name="connsiteY4" fmla="*/ 292100 h 292100"/>
              <a:gd name="connsiteX5" fmla="*/ 5951257 w 7638826"/>
              <a:gd name="connsiteY5" fmla="*/ 292100 h 292100"/>
              <a:gd name="connsiteX6" fmla="*/ 2925177 w 7638826"/>
              <a:gd name="connsiteY6" fmla="*/ 292100 h 292100"/>
              <a:gd name="connsiteX7" fmla="*/ 0 w 7638826"/>
              <a:gd name="connsiteY7" fmla="*/ 292100 h 292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638826" h="292100">
                <a:moveTo>
                  <a:pt x="0" y="0"/>
                </a:moveTo>
                <a:lnTo>
                  <a:pt x="2925177" y="0"/>
                </a:lnTo>
                <a:lnTo>
                  <a:pt x="6027750" y="0"/>
                </a:lnTo>
                <a:lnTo>
                  <a:pt x="7638826" y="0"/>
                </a:lnTo>
                <a:lnTo>
                  <a:pt x="7579009" y="292100"/>
                </a:lnTo>
                <a:lnTo>
                  <a:pt x="5951257" y="292100"/>
                </a:lnTo>
                <a:lnTo>
                  <a:pt x="2925177" y="292100"/>
                </a:lnTo>
                <a:lnTo>
                  <a:pt x="0" y="292100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pic>
        <p:nvPicPr>
          <p:cNvPr id="13" name="Picture 12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8778750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Green half">
    <p:bg bwMode="grayWhite">
      <p:bgPr>
        <a:gradFill>
          <a:gsLst>
            <a:gs pos="39000">
              <a:srgbClr val="D81F30"/>
            </a:gs>
            <a:gs pos="100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2" name="Rectangle 11"/>
          <p:cNvSpPr/>
          <p:nvPr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3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2021" y="0"/>
            <a:ext cx="6099977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baseline="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630000" y="1785600"/>
            <a:ext cx="4388400" cy="3286800"/>
          </a:xfrm>
          <a:prstGeom prst="rect">
            <a:avLst/>
          </a:prstGeom>
          <a:noFill/>
        </p:spPr>
        <p:txBody>
          <a:bodyPr wrap="square" lIns="0" tIns="0" rIns="320040" bIns="0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0" name="Copyright" hidden="1"/>
          <p:cNvSpPr txBox="1"/>
          <p:nvPr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23" name="Freeform 22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/>
        </p:nvSpPr>
        <p:spPr>
          <a:xfrm>
            <a:off x="6162922" y="6326127"/>
            <a:ext cx="6026031" cy="531873"/>
          </a:xfrm>
          <a:custGeom>
            <a:avLst/>
            <a:gdLst>
              <a:gd name="connsiteX0" fmla="*/ 2237364 w 6026031"/>
              <a:gd name="connsiteY0" fmla="*/ 0 h 531873"/>
              <a:gd name="connsiteX1" fmla="*/ 6026029 w 6026031"/>
              <a:gd name="connsiteY1" fmla="*/ 0 h 531873"/>
              <a:gd name="connsiteX2" fmla="*/ 6026029 w 6026031"/>
              <a:gd name="connsiteY2" fmla="*/ 239773 h 531873"/>
              <a:gd name="connsiteX3" fmla="*/ 6026031 w 6026031"/>
              <a:gd name="connsiteY3" fmla="*/ 239773 h 531873"/>
              <a:gd name="connsiteX4" fmla="*/ 6026031 w 6026031"/>
              <a:gd name="connsiteY4" fmla="*/ 531873 h 531873"/>
              <a:gd name="connsiteX5" fmla="*/ 0 w 6026031"/>
              <a:gd name="connsiteY5" fmla="*/ 531873 h 531873"/>
              <a:gd name="connsiteX6" fmla="*/ 0 w 6026031"/>
              <a:gd name="connsiteY6" fmla="*/ 239773 h 531873"/>
              <a:gd name="connsiteX7" fmla="*/ 2057708 w 6026031"/>
              <a:gd name="connsiteY7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026031" h="531873">
                <a:moveTo>
                  <a:pt x="2237364" y="0"/>
                </a:moveTo>
                <a:lnTo>
                  <a:pt x="6026029" y="0"/>
                </a:lnTo>
                <a:lnTo>
                  <a:pt x="6026029" y="239773"/>
                </a:lnTo>
                <a:lnTo>
                  <a:pt x="6026031" y="239773"/>
                </a:lnTo>
                <a:lnTo>
                  <a:pt x="6026031" y="531873"/>
                </a:lnTo>
                <a:lnTo>
                  <a:pt x="0" y="531873"/>
                </a:lnTo>
                <a:lnTo>
                  <a:pt x="0" y="239773"/>
                </a:lnTo>
                <a:lnTo>
                  <a:pt x="2057708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0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6" name="Picture 15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  <p:sp>
        <p:nvSpPr>
          <p:cNvPr id="2" name="Textfeld 1">
            <a:extLst>
              <a:ext uri="{FF2B5EF4-FFF2-40B4-BE49-F238E27FC236}">
                <a16:creationId xmlns:a16="http://schemas.microsoft.com/office/drawing/2014/main" id="{A304312C-3142-447F-6485-149DC9F6D64B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3581400" y="159413"/>
            <a:ext cx="5029200" cy="323165"/>
          </a:xfrm>
          <a:prstGeom prst="rect">
            <a:avLst/>
          </a:prstGeom>
          <a:pattFill>
            <a:fgClr>
              <a:srgbClr val="EEA632"/>
            </a:fgClr>
            <a:bgClr>
              <a:srgbClr val="EEA632"/>
            </a:bgClr>
          </a:pattFill>
          <a:ln w="9525" cap="rnd">
            <a:solidFill>
              <a:srgbClr val="575757"/>
            </a:solidFill>
            <a:prstDash val="solid"/>
          </a:ln>
        </p:spPr>
        <p:txBody>
          <a:bodyPr vert="horz" wrap="square" lIns="36576" tIns="36576" rIns="36576" bIns="36576" rtlCol="0" anchor="t">
            <a:sp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en-US" b="1">
                <a:solidFill>
                  <a:srgbClr val="000000"/>
                </a:solidFill>
                <a:sym typeface="Trebuchet MS" panose="020B0603020202020204" pitchFamily="34" charset="0"/>
              </a:rPr>
              <a:t>Draft document – Pre-read</a:t>
            </a:r>
          </a:p>
        </p:txBody>
      </p:sp>
    </p:spTree>
    <p:extLst>
      <p:ext uri="{BB962C8B-B14F-4D97-AF65-F5344CB8AC3E}">
        <p14:creationId xmlns:p14="http://schemas.microsoft.com/office/powerpoint/2010/main" val="352616955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Green arrow two thir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63291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rgbClr val="403F85"/>
              </a:gs>
              <a:gs pos="81000">
                <a:srgbClr val="ED1B24"/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000250" y="622800"/>
            <a:ext cx="4884246" cy="332399"/>
          </a:xfrm>
          <a:prstGeom prst="rect">
            <a:avLst/>
          </a:prstGeom>
        </p:spPr>
        <p:txBody>
          <a:bodyPr vert="horz"/>
          <a:lstStyle>
            <a:lvl1pPr>
              <a:defRPr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6567628" y="3407803"/>
            <a:ext cx="2694666" cy="3456551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10" name="Copyright" hidden="1"/>
          <p:cNvSpPr txBox="1"/>
          <p:nvPr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5" name="Freeform 14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/>
        </p:nvSpPr>
        <p:spPr>
          <a:xfrm>
            <a:off x="70900" y="6326127"/>
            <a:ext cx="12118052" cy="531873"/>
          </a:xfrm>
          <a:custGeom>
            <a:avLst/>
            <a:gdLst>
              <a:gd name="connsiteX0" fmla="*/ 8329385 w 12118052"/>
              <a:gd name="connsiteY0" fmla="*/ 0 h 531873"/>
              <a:gd name="connsiteX1" fmla="*/ 12118050 w 12118052"/>
              <a:gd name="connsiteY1" fmla="*/ 0 h 531873"/>
              <a:gd name="connsiteX2" fmla="*/ 12118050 w 12118052"/>
              <a:gd name="connsiteY2" fmla="*/ 239773 h 531873"/>
              <a:gd name="connsiteX3" fmla="*/ 12118052 w 12118052"/>
              <a:gd name="connsiteY3" fmla="*/ 239773 h 531873"/>
              <a:gd name="connsiteX4" fmla="*/ 12118052 w 12118052"/>
              <a:gd name="connsiteY4" fmla="*/ 531873 h 531873"/>
              <a:gd name="connsiteX5" fmla="*/ 0 w 12118052"/>
              <a:gd name="connsiteY5" fmla="*/ 531873 h 531873"/>
              <a:gd name="connsiteX6" fmla="*/ 0 w 12118052"/>
              <a:gd name="connsiteY6" fmla="*/ 531872 h 531873"/>
              <a:gd name="connsiteX7" fmla="*/ 7645979 w 12118052"/>
              <a:gd name="connsiteY7" fmla="*/ 531872 h 531873"/>
              <a:gd name="connsiteX8" fmla="*/ 7714149 w 12118052"/>
              <a:gd name="connsiteY8" fmla="*/ 239773 h 531873"/>
              <a:gd name="connsiteX9" fmla="*/ 8149729 w 12118052"/>
              <a:gd name="connsiteY9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118052" h="531873">
                <a:moveTo>
                  <a:pt x="8329385" y="0"/>
                </a:moveTo>
                <a:lnTo>
                  <a:pt x="12118050" y="0"/>
                </a:lnTo>
                <a:lnTo>
                  <a:pt x="12118050" y="239773"/>
                </a:lnTo>
                <a:lnTo>
                  <a:pt x="12118052" y="239773"/>
                </a:lnTo>
                <a:lnTo>
                  <a:pt x="12118052" y="531873"/>
                </a:lnTo>
                <a:lnTo>
                  <a:pt x="0" y="531873"/>
                </a:lnTo>
                <a:lnTo>
                  <a:pt x="0" y="531872"/>
                </a:lnTo>
                <a:lnTo>
                  <a:pt x="7645979" y="531872"/>
                </a:lnTo>
                <a:lnTo>
                  <a:pt x="7714149" y="239773"/>
                </a:lnTo>
                <a:lnTo>
                  <a:pt x="8149729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4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fld id="{AC3312C5-EFF4-47B0-B4A9-3F5E27BC8EC7}" type="datetimeFigureOut">
              <a:rPr lang="en-IN" smtClean="0"/>
              <a:t>28-05-2025</a:t>
            </a:fld>
            <a:endParaRPr lang="en-IN"/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474748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Big statement green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sp>
        <p:nvSpPr>
          <p:cNvPr id="12" name="Copyright" hidden="1"/>
          <p:cNvSpPr txBox="1"/>
          <p:nvPr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5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fld id="{AC3312C5-EFF4-47B0-B4A9-3F5E27BC8EC7}" type="datetimeFigureOut">
              <a:rPr lang="en-IN" smtClean="0"/>
              <a:t>28-05-2025</a:t>
            </a:fld>
            <a:endParaRPr lang="en-IN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5836642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Big statement ic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/>
        </p:nvSpPr>
        <p:spPr bwMode="white">
          <a:xfrm>
            <a:off x="630000" y="1435623"/>
            <a:ext cx="932688" cy="932688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  <a:prstGeom prst="rect">
            <a:avLst/>
          </a:prstGeom>
        </p:spPr>
        <p:txBody>
          <a:bodyPr vert="horz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rgbClr val="FF0000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sp>
        <p:nvSpPr>
          <p:cNvPr id="14" name="Copyright" hidden="1"/>
          <p:cNvSpPr txBox="1"/>
          <p:nvPr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5" name="Freeform: Shape 31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/>
        </p:nvSpPr>
        <p:spPr>
          <a:xfrm>
            <a:off x="0" y="6326127"/>
            <a:ext cx="12188952" cy="531873"/>
          </a:xfrm>
          <a:custGeom>
            <a:avLst/>
            <a:gdLst>
              <a:gd name="connsiteX0" fmla="*/ 8400285 w 12188952"/>
              <a:gd name="connsiteY0" fmla="*/ 0 h 531873"/>
              <a:gd name="connsiteX1" fmla="*/ 12188950 w 12188952"/>
              <a:gd name="connsiteY1" fmla="*/ 0 h 531873"/>
              <a:gd name="connsiteX2" fmla="*/ 12188950 w 12188952"/>
              <a:gd name="connsiteY2" fmla="*/ 239773 h 531873"/>
              <a:gd name="connsiteX3" fmla="*/ 12188952 w 12188952"/>
              <a:gd name="connsiteY3" fmla="*/ 239773 h 531873"/>
              <a:gd name="connsiteX4" fmla="*/ 12188952 w 12188952"/>
              <a:gd name="connsiteY4" fmla="*/ 531873 h 531873"/>
              <a:gd name="connsiteX5" fmla="*/ 0 w 12188952"/>
              <a:gd name="connsiteY5" fmla="*/ 531873 h 531873"/>
              <a:gd name="connsiteX6" fmla="*/ 0 w 12188952"/>
              <a:gd name="connsiteY6" fmla="*/ 239773 h 531873"/>
              <a:gd name="connsiteX7" fmla="*/ 8220629 w 12188952"/>
              <a:gd name="connsiteY7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88952" h="531873">
                <a:moveTo>
                  <a:pt x="8400285" y="0"/>
                </a:moveTo>
                <a:lnTo>
                  <a:pt x="12188950" y="0"/>
                </a:lnTo>
                <a:lnTo>
                  <a:pt x="12188950" y="239773"/>
                </a:lnTo>
                <a:lnTo>
                  <a:pt x="12188952" y="239773"/>
                </a:lnTo>
                <a:lnTo>
                  <a:pt x="12188952" y="531873"/>
                </a:lnTo>
                <a:lnTo>
                  <a:pt x="0" y="531873"/>
                </a:lnTo>
                <a:lnTo>
                  <a:pt x="0" y="239773"/>
                </a:lnTo>
                <a:lnTo>
                  <a:pt x="8220629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fld id="{AC3312C5-EFF4-47B0-B4A9-3F5E27BC8EC7}" type="datetimeFigureOut">
              <a:rPr lang="en-IN" smtClean="0"/>
              <a:t>28-05-2025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144720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Quot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34" b="1258"/>
          <a:stretch/>
        </p:blipFill>
        <p:spPr>
          <a:xfrm rot="16200000" flipH="1">
            <a:off x="6797461" y="101443"/>
            <a:ext cx="769257" cy="10019821"/>
          </a:xfrm>
          <a:custGeom>
            <a:avLst/>
            <a:gdLst>
              <a:gd name="connsiteX0" fmla="*/ 0 w 769257"/>
              <a:gd name="connsiteY0" fmla="*/ 0 h 10019821"/>
              <a:gd name="connsiteX1" fmla="*/ 0 w 769257"/>
              <a:gd name="connsiteY1" fmla="*/ 4631160 h 10019821"/>
              <a:gd name="connsiteX2" fmla="*/ 216750 w 769257"/>
              <a:gd name="connsiteY2" fmla="*/ 999646 h 10019821"/>
              <a:gd name="connsiteX3" fmla="*/ 197800 w 769257"/>
              <a:gd name="connsiteY3" fmla="*/ 10019821 h 10019821"/>
              <a:gd name="connsiteX4" fmla="*/ 769257 w 769257"/>
              <a:gd name="connsiteY4" fmla="*/ 10019821 h 10019821"/>
              <a:gd name="connsiteX5" fmla="*/ 769257 w 769257"/>
              <a:gd name="connsiteY5" fmla="*/ 0 h 10019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69257" h="10019821">
                <a:moveTo>
                  <a:pt x="0" y="0"/>
                </a:moveTo>
                <a:lnTo>
                  <a:pt x="0" y="4631160"/>
                </a:lnTo>
                <a:lnTo>
                  <a:pt x="216750" y="999646"/>
                </a:lnTo>
                <a:lnTo>
                  <a:pt x="197800" y="10019821"/>
                </a:lnTo>
                <a:lnTo>
                  <a:pt x="769257" y="10019821"/>
                </a:lnTo>
                <a:lnTo>
                  <a:pt x="769257" y="0"/>
                </a:lnTo>
                <a:close/>
              </a:path>
            </a:pathLst>
          </a:cu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0"/>
            <a:ext cx="12192000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fld id="{AC3312C5-EFF4-47B0-B4A9-3F5E27BC8EC7}" type="datetimeFigureOut">
              <a:rPr lang="en-IN" smtClean="0"/>
              <a:t>28-05-2025</a:t>
            </a:fld>
            <a:endParaRPr lang="en-IN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368450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Special gray">
    <p:bg>
      <p:bgPr>
        <a:solidFill>
          <a:schemeClr val="tx1">
            <a:lumMod val="85000"/>
            <a:lumOff val="1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442779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000250" y="622800"/>
            <a:ext cx="9562950" cy="332399"/>
          </a:xfrm>
        </p:spPr>
        <p:txBody>
          <a:bodyPr vert="horz"/>
          <a:lstStyle>
            <a:lvl1pPr>
              <a:defRPr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7" name="Copyright" hidden="1"/>
          <p:cNvSpPr txBox="1"/>
          <p:nvPr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fld id="{AC3312C5-EFF4-47B0-B4A9-3F5E27BC8EC7}" type="datetimeFigureOut">
              <a:rPr lang="en-IN" smtClean="0"/>
              <a:t>28-05-2025</a:t>
            </a:fld>
            <a:endParaRPr lang="en-IN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562311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Table of contents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Freeform 12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7" name="Freeform 12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630000" y="2577934"/>
            <a:ext cx="2819400" cy="17617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indent="0">
              <a:lnSpc>
                <a:spcPct val="106000"/>
              </a:lnSpc>
              <a:spcAft>
                <a:spcPts val="700"/>
              </a:spcAft>
              <a:buFontTx/>
              <a:buNone/>
            </a:pPr>
            <a:r>
              <a:rPr lang="en-US" sz="5400">
                <a:solidFill>
                  <a:srgbClr val="FF0000"/>
                </a:solidFill>
                <a:latin typeface="+mn-lt"/>
                <a:sym typeface="Trebuchet MS" panose="020B0603020202020204" pitchFamily="34" charset="0"/>
              </a:rPr>
              <a:t>Table of contents</a:t>
            </a:r>
          </a:p>
        </p:txBody>
      </p:sp>
      <p:pic>
        <p:nvPicPr>
          <p:cNvPr id="10" name="Picture 9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8638" y="3586748"/>
            <a:ext cx="1365250" cy="3382962"/>
          </a:xfrm>
          <a:custGeom>
            <a:avLst/>
            <a:gdLst>
              <a:gd name="connsiteX0" fmla="*/ 94280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28720 w 1365250"/>
              <a:gd name="connsiteY3" fmla="*/ 3382962 h 3382962"/>
              <a:gd name="connsiteX4" fmla="*/ 0 w 1365250"/>
              <a:gd name="connsiteY4" fmla="*/ 0 h 3382962"/>
              <a:gd name="connsiteX5" fmla="*/ 929501 w 1365250"/>
              <a:gd name="connsiteY5" fmla="*/ 0 h 3382962"/>
              <a:gd name="connsiteX6" fmla="*/ 0 w 1365250"/>
              <a:gd name="connsiteY6" fmla="*/ 2860398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65250" h="3382962">
                <a:moveTo>
                  <a:pt x="94280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28720" y="3382962"/>
                </a:lnTo>
                <a:close/>
                <a:moveTo>
                  <a:pt x="0" y="0"/>
                </a:moveTo>
                <a:lnTo>
                  <a:pt x="929501" y="0"/>
                </a:lnTo>
                <a:lnTo>
                  <a:pt x="0" y="2860398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Copyright" hidden="1"/>
          <p:cNvSpPr txBox="1"/>
          <p:nvPr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8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fld id="{AC3312C5-EFF4-47B0-B4A9-3F5E27BC8EC7}" type="datetimeFigureOut">
              <a:rPr lang="en-IN" smtClean="0"/>
              <a:t>28-05-2025</a:t>
            </a:fld>
            <a:endParaRPr lang="en-IN"/>
          </a:p>
        </p:txBody>
      </p:sp>
      <p:sp>
        <p:nvSpPr>
          <p:cNvPr id="14" name="Freeform 13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/>
        </p:nvSpPr>
        <p:spPr>
          <a:xfrm>
            <a:off x="1" y="6565900"/>
            <a:ext cx="3266011" cy="292100"/>
          </a:xfrm>
          <a:custGeom>
            <a:avLst/>
            <a:gdLst>
              <a:gd name="connsiteX0" fmla="*/ 0 w 3266011"/>
              <a:gd name="connsiteY0" fmla="*/ 0 h 292100"/>
              <a:gd name="connsiteX1" fmla="*/ 3266011 w 3266011"/>
              <a:gd name="connsiteY1" fmla="*/ 0 h 292100"/>
              <a:gd name="connsiteX2" fmla="*/ 3195872 w 3266011"/>
              <a:gd name="connsiteY2" fmla="*/ 292100 h 292100"/>
              <a:gd name="connsiteX3" fmla="*/ 0 w 3266011"/>
              <a:gd name="connsiteY3" fmla="*/ 292100 h 292100"/>
              <a:gd name="connsiteX4" fmla="*/ 0 w 3266011"/>
              <a:gd name="connsiteY4" fmla="*/ 0 h 292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266011" h="292100">
                <a:moveTo>
                  <a:pt x="0" y="0"/>
                </a:moveTo>
                <a:lnTo>
                  <a:pt x="3266011" y="0"/>
                </a:lnTo>
                <a:lnTo>
                  <a:pt x="3195872" y="292100"/>
                </a:lnTo>
                <a:lnTo>
                  <a:pt x="0" y="292100"/>
                </a:lnTo>
                <a:lnTo>
                  <a:pt x="0" y="0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1475688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Blank green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pyright" hidden="1"/>
          <p:cNvSpPr txBox="1"/>
          <p:nvPr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fld id="{AC3312C5-EFF4-47B0-B4A9-3F5E27BC8EC7}" type="datetimeFigureOut">
              <a:rPr lang="en-IN" smtClean="0"/>
              <a:t>28-05-2025</a:t>
            </a:fld>
            <a:endParaRPr lang="en-IN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4773625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pyright" hidden="1"/>
          <p:cNvSpPr txBox="1"/>
          <p:nvPr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4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fld id="{AC3312C5-EFF4-47B0-B4A9-3F5E27BC8EC7}" type="datetimeFigureOut">
              <a:rPr lang="en-IN" smtClean="0"/>
              <a:t>28-05-2025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9757962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Copyright" hidden="1"/>
          <p:cNvSpPr txBox="1"/>
          <p:nvPr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fld id="{AC3312C5-EFF4-47B0-B4A9-3F5E27BC8EC7}" type="datetimeFigureOut">
              <a:rPr lang="en-IN" smtClean="0"/>
              <a:t>28-05-2025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5614386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D.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5"/>
          <a:srcRect l="1079" t="8722" r="1079" b="8722"/>
          <a:stretch/>
        </p:blipFill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</p:spPr>
      </p:pic>
      <p:sp>
        <p:nvSpPr>
          <p:cNvPr id="11" name="Rectangle 10"/>
          <p:cNvSpPr/>
          <p:nvPr/>
        </p:nvSpPr>
        <p:spPr bwMode="black">
          <a:xfrm>
            <a:off x="630936" y="626200"/>
            <a:ext cx="8125200" cy="5529600"/>
          </a:xfrm>
          <a:prstGeom prst="rect">
            <a:avLst/>
          </a:prstGeom>
          <a:gradFill flip="none" rotWithShape="1">
            <a:gsLst>
              <a:gs pos="0">
                <a:srgbClr val="EF2427">
                  <a:shade val="30000"/>
                  <a:satMod val="115000"/>
                  <a:alpha val="76000"/>
                </a:srgbClr>
              </a:gs>
              <a:gs pos="100000">
                <a:srgbClr val="ED1B24">
                  <a:alpha val="61000"/>
                </a:srgb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62328" y="2992637"/>
            <a:ext cx="3062417" cy="7967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056303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Green two third">
    <p:bg bwMode="grayWhite">
      <p:bgPr>
        <a:gradFill>
          <a:gsLst>
            <a:gs pos="39000">
              <a:srgbClr val="D81F30"/>
            </a:gs>
            <a:gs pos="100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7409849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/>
        </p:nvSpPr>
        <p:spPr bwMode="gray">
          <a:xfrm>
            <a:off x="7819543" y="0"/>
            <a:ext cx="4372457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1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20025" y="0"/>
            <a:ext cx="4371975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600">
                <a:solidFill>
                  <a:schemeClr val="tx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1804650"/>
            <a:ext cx="6247552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17" name="Copyright" hidden="1"/>
          <p:cNvSpPr txBox="1"/>
          <p:nvPr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22" name="Freeform 21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/>
        </p:nvSpPr>
        <p:spPr>
          <a:xfrm>
            <a:off x="7890926" y="6326127"/>
            <a:ext cx="4298027" cy="531873"/>
          </a:xfrm>
          <a:custGeom>
            <a:avLst/>
            <a:gdLst>
              <a:gd name="connsiteX0" fmla="*/ 509360 w 4298027"/>
              <a:gd name="connsiteY0" fmla="*/ 0 h 531873"/>
              <a:gd name="connsiteX1" fmla="*/ 4298025 w 4298027"/>
              <a:gd name="connsiteY1" fmla="*/ 0 h 531873"/>
              <a:gd name="connsiteX2" fmla="*/ 4298025 w 4298027"/>
              <a:gd name="connsiteY2" fmla="*/ 239773 h 531873"/>
              <a:gd name="connsiteX3" fmla="*/ 4298027 w 4298027"/>
              <a:gd name="connsiteY3" fmla="*/ 239773 h 531873"/>
              <a:gd name="connsiteX4" fmla="*/ 4298027 w 4298027"/>
              <a:gd name="connsiteY4" fmla="*/ 531873 h 531873"/>
              <a:gd name="connsiteX5" fmla="*/ 0 w 4298027"/>
              <a:gd name="connsiteY5" fmla="*/ 531873 h 531873"/>
              <a:gd name="connsiteX6" fmla="*/ 0 w 4298027"/>
              <a:gd name="connsiteY6" fmla="*/ 239773 h 531873"/>
              <a:gd name="connsiteX7" fmla="*/ 329704 w 4298027"/>
              <a:gd name="connsiteY7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298027" h="531873">
                <a:moveTo>
                  <a:pt x="509360" y="0"/>
                </a:moveTo>
                <a:lnTo>
                  <a:pt x="4298025" y="0"/>
                </a:lnTo>
                <a:lnTo>
                  <a:pt x="4298025" y="239773"/>
                </a:lnTo>
                <a:lnTo>
                  <a:pt x="4298027" y="239773"/>
                </a:lnTo>
                <a:lnTo>
                  <a:pt x="4298027" y="531873"/>
                </a:lnTo>
                <a:lnTo>
                  <a:pt x="0" y="531873"/>
                </a:lnTo>
                <a:lnTo>
                  <a:pt x="0" y="239773"/>
                </a:lnTo>
                <a:lnTo>
                  <a:pt x="329704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0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3" name="Picture 12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  <p:sp>
        <p:nvSpPr>
          <p:cNvPr id="2" name="Textfeld 1">
            <a:extLst>
              <a:ext uri="{FF2B5EF4-FFF2-40B4-BE49-F238E27FC236}">
                <a16:creationId xmlns:a16="http://schemas.microsoft.com/office/drawing/2014/main" id="{9BE0EF35-B518-FC80-22AB-336796B9C13A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3581400" y="159413"/>
            <a:ext cx="5029200" cy="323165"/>
          </a:xfrm>
          <a:prstGeom prst="rect">
            <a:avLst/>
          </a:prstGeom>
          <a:pattFill>
            <a:fgClr>
              <a:srgbClr val="EEA632"/>
            </a:fgClr>
            <a:bgClr>
              <a:srgbClr val="EEA632"/>
            </a:bgClr>
          </a:pattFill>
          <a:ln w="9525" cap="rnd">
            <a:solidFill>
              <a:srgbClr val="575757"/>
            </a:solidFill>
            <a:prstDash val="solid"/>
          </a:ln>
        </p:spPr>
        <p:txBody>
          <a:bodyPr vert="horz" wrap="square" lIns="36576" tIns="36576" rIns="36576" bIns="36576" rtlCol="0" anchor="t">
            <a:sp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en-US" b="1">
                <a:solidFill>
                  <a:srgbClr val="000000"/>
                </a:solidFill>
                <a:sym typeface="Trebuchet MS" panose="020B0603020202020204" pitchFamily="34" charset="0"/>
              </a:rPr>
              <a:t>Draft document – Pre-read</a:t>
            </a:r>
          </a:p>
        </p:txBody>
      </p:sp>
    </p:spTree>
    <p:extLst>
      <p:ext uri="{BB962C8B-B14F-4D97-AF65-F5344CB8AC3E}">
        <p14:creationId xmlns:p14="http://schemas.microsoft.com/office/powerpoint/2010/main" val="286842749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8" name="Group 47"/>
          <p:cNvGrpSpPr/>
          <p:nvPr/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sp>
          <p:nvSpPr>
            <p:cNvPr id="49" name="Freeform 48"/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5678521 h 6858000"/>
                <a:gd name="connsiteX2" fmla="*/ 629400 w 12193200"/>
                <a:gd name="connsiteY2" fmla="*/ 5678521 h 6858000"/>
                <a:gd name="connsiteX3" fmla="*/ 629400 w 12193200"/>
                <a:gd name="connsiteY3" fmla="*/ 6583680 h 6858000"/>
                <a:gd name="connsiteX4" fmla="*/ 11562600 w 12193200"/>
                <a:gd name="connsiteY4" fmla="*/ 6583680 h 6858000"/>
                <a:gd name="connsiteX5" fmla="*/ 11562600 w 12193200"/>
                <a:gd name="connsiteY5" fmla="*/ 5678521 h 6858000"/>
                <a:gd name="connsiteX6" fmla="*/ 11562000 w 12193200"/>
                <a:gd name="connsiteY6" fmla="*/ 5678521 h 6858000"/>
                <a:gd name="connsiteX7" fmla="*/ 11562000 w 12193200"/>
                <a:gd name="connsiteY7" fmla="*/ 622800 h 6858000"/>
                <a:gd name="connsiteX8" fmla="*/ 0 w 12193200"/>
                <a:gd name="connsiteY8" fmla="*/ 0 h 6858000"/>
                <a:gd name="connsiteX9" fmla="*/ 12193200 w 12193200"/>
                <a:gd name="connsiteY9" fmla="*/ 0 h 6858000"/>
                <a:gd name="connsiteX10" fmla="*/ 12193200 w 12193200"/>
                <a:gd name="connsiteY10" fmla="*/ 622800 h 6858000"/>
                <a:gd name="connsiteX11" fmla="*/ 12192000 w 12193200"/>
                <a:gd name="connsiteY11" fmla="*/ 622800 h 6858000"/>
                <a:gd name="connsiteX12" fmla="*/ 12192000 w 12193200"/>
                <a:gd name="connsiteY12" fmla="*/ 6160597 h 6858000"/>
                <a:gd name="connsiteX13" fmla="*/ 12193200 w 12193200"/>
                <a:gd name="connsiteY13" fmla="*/ 6160597 h 6858000"/>
                <a:gd name="connsiteX14" fmla="*/ 12193200 w 12193200"/>
                <a:gd name="connsiteY14" fmla="*/ 6858000 h 6858000"/>
                <a:gd name="connsiteX15" fmla="*/ 12192000 w 12193200"/>
                <a:gd name="connsiteY15" fmla="*/ 6858000 h 6858000"/>
                <a:gd name="connsiteX16" fmla="*/ 11562000 w 12193200"/>
                <a:gd name="connsiteY16" fmla="*/ 6858000 h 6858000"/>
                <a:gd name="connsiteX17" fmla="*/ 630001 w 12193200"/>
                <a:gd name="connsiteY17" fmla="*/ 6858000 h 6858000"/>
                <a:gd name="connsiteX18" fmla="*/ 1 w 12193200"/>
                <a:gd name="connsiteY18" fmla="*/ 6858000 h 6858000"/>
                <a:gd name="connsiteX19" fmla="*/ 1 w 12193200"/>
                <a:gd name="connsiteY19" fmla="*/ 6160597 h 6858000"/>
                <a:gd name="connsiteX20" fmla="*/ 1 w 12193200"/>
                <a:gd name="connsiteY20" fmla="*/ 622800 h 6858000"/>
                <a:gd name="connsiteX21" fmla="*/ 0 w 12193200"/>
                <a:gd name="connsiteY21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5678521"/>
                  </a:lnTo>
                  <a:lnTo>
                    <a:pt x="629400" y="5678521"/>
                  </a:lnTo>
                  <a:lnTo>
                    <a:pt x="629400" y="6583680"/>
                  </a:lnTo>
                  <a:lnTo>
                    <a:pt x="11562600" y="6583680"/>
                  </a:lnTo>
                  <a:lnTo>
                    <a:pt x="11562600" y="5678521"/>
                  </a:lnTo>
                  <a:lnTo>
                    <a:pt x="11562000" y="5678521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chemeClr val="accent4">
                <a:lumMod val="20000"/>
                <a:lumOff val="80000"/>
                <a:alpha val="57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>
                <a:solidFill>
                  <a:schemeClr val="tx1"/>
                </a:solidFill>
              </a:endParaRPr>
            </a:p>
          </p:txBody>
        </p:sp>
        <p:grpSp>
          <p:nvGrpSpPr>
            <p:cNvPr id="50" name="Group 49"/>
            <p:cNvGrpSpPr/>
            <p:nvPr/>
          </p:nvGrpSpPr>
          <p:grpSpPr>
            <a:xfrm>
              <a:off x="-600" y="622800"/>
              <a:ext cx="12193200" cy="5055720"/>
              <a:chOff x="-600" y="622800"/>
              <a:chExt cx="12193200" cy="5055720"/>
            </a:xfrm>
          </p:grpSpPr>
          <p:cxnSp>
            <p:nvCxnSpPr>
              <p:cNvPr id="74" name="Straight Connector 73"/>
              <p:cNvCxnSpPr/>
              <p:nvPr/>
            </p:nvCxnSpPr>
            <p:spPr>
              <a:xfrm>
                <a:off x="-600" y="622800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5" name="Straight Connector 74"/>
              <p:cNvCxnSpPr/>
              <p:nvPr/>
            </p:nvCxnSpPr>
            <p:spPr>
              <a:xfrm>
                <a:off x="-600" y="920195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6" name="Straight Connector 75"/>
              <p:cNvCxnSpPr/>
              <p:nvPr/>
            </p:nvCxnSpPr>
            <p:spPr>
              <a:xfrm>
                <a:off x="-600" y="1217590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7" name="Straight Connector 76"/>
              <p:cNvCxnSpPr/>
              <p:nvPr/>
            </p:nvCxnSpPr>
            <p:spPr>
              <a:xfrm>
                <a:off x="-600" y="1514985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8" name="Straight Connector 77"/>
              <p:cNvCxnSpPr/>
              <p:nvPr/>
            </p:nvCxnSpPr>
            <p:spPr>
              <a:xfrm>
                <a:off x="-600" y="1812380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9" name="Straight Connector 78"/>
              <p:cNvCxnSpPr/>
              <p:nvPr/>
            </p:nvCxnSpPr>
            <p:spPr>
              <a:xfrm>
                <a:off x="-600" y="2109775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0" name="Straight Connector 79"/>
              <p:cNvCxnSpPr/>
              <p:nvPr/>
            </p:nvCxnSpPr>
            <p:spPr>
              <a:xfrm>
                <a:off x="-600" y="2407170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1" name="Straight Connector 80"/>
              <p:cNvCxnSpPr/>
              <p:nvPr/>
            </p:nvCxnSpPr>
            <p:spPr>
              <a:xfrm>
                <a:off x="-600" y="2704565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2" name="Straight Connector 81"/>
              <p:cNvCxnSpPr/>
              <p:nvPr/>
            </p:nvCxnSpPr>
            <p:spPr>
              <a:xfrm>
                <a:off x="-600" y="3001960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3" name="Straight Connector 82"/>
              <p:cNvCxnSpPr/>
              <p:nvPr/>
            </p:nvCxnSpPr>
            <p:spPr>
              <a:xfrm>
                <a:off x="-600" y="3299355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4" name="Straight Connector 83"/>
              <p:cNvCxnSpPr/>
              <p:nvPr/>
            </p:nvCxnSpPr>
            <p:spPr>
              <a:xfrm>
                <a:off x="-600" y="3596750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5" name="Straight Connector 84"/>
              <p:cNvCxnSpPr/>
              <p:nvPr/>
            </p:nvCxnSpPr>
            <p:spPr>
              <a:xfrm>
                <a:off x="-600" y="3894145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6" name="Straight Connector 85"/>
              <p:cNvCxnSpPr/>
              <p:nvPr/>
            </p:nvCxnSpPr>
            <p:spPr>
              <a:xfrm>
                <a:off x="-600" y="4191540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7" name="Straight Connector 86"/>
              <p:cNvCxnSpPr/>
              <p:nvPr/>
            </p:nvCxnSpPr>
            <p:spPr>
              <a:xfrm>
                <a:off x="-600" y="4488935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8" name="Straight Connector 87"/>
              <p:cNvCxnSpPr/>
              <p:nvPr/>
            </p:nvCxnSpPr>
            <p:spPr>
              <a:xfrm>
                <a:off x="-600" y="4786330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9" name="Straight Connector 88"/>
              <p:cNvCxnSpPr/>
              <p:nvPr/>
            </p:nvCxnSpPr>
            <p:spPr>
              <a:xfrm>
                <a:off x="-600" y="5083725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0" name="Straight Connector 89"/>
              <p:cNvCxnSpPr/>
              <p:nvPr/>
            </p:nvCxnSpPr>
            <p:spPr>
              <a:xfrm>
                <a:off x="-600" y="5381120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1" name="Straight Connector 90"/>
              <p:cNvCxnSpPr/>
              <p:nvPr/>
            </p:nvCxnSpPr>
            <p:spPr>
              <a:xfrm>
                <a:off x="-600" y="5678520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1" name="Group 50"/>
            <p:cNvGrpSpPr/>
            <p:nvPr/>
          </p:nvGrpSpPr>
          <p:grpSpPr>
            <a:xfrm>
              <a:off x="629400" y="623550"/>
              <a:ext cx="10933200" cy="5054970"/>
              <a:chOff x="629400" y="623550"/>
              <a:chExt cx="10933200" cy="5537047"/>
            </a:xfrm>
          </p:grpSpPr>
          <p:sp>
            <p:nvSpPr>
              <p:cNvPr id="58" name="Rectangle 34"/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9" name="Rectangle 35"/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0" name="Rectangle 36"/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1" name="Rectangle 37"/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2" name="Rectangle 38"/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3" name="Rectangle 39"/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4" name="Rectangle 40"/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5" name="Rectangle 41"/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6" name="Rectangle 42"/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7" name="Rectangle 43"/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8" name="Rectangle 44"/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9" name="Rectangle 5"/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0" name="Rectangle 7"/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1" name="Rectangle 9"/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2" name="Rectangle 11"/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3" name="Rectangle 13"/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52" name="Group 51"/>
            <p:cNvGrpSpPr/>
            <p:nvPr/>
          </p:nvGrpSpPr>
          <p:grpSpPr>
            <a:xfrm>
              <a:off x="-600" y="0"/>
              <a:ext cx="12193200" cy="6858000"/>
              <a:chOff x="-600" y="0"/>
              <a:chExt cx="12193200" cy="6858000"/>
            </a:xfrm>
          </p:grpSpPr>
          <p:sp>
            <p:nvSpPr>
              <p:cNvPr id="53" name="Slide edges"/>
              <p:cNvSpPr>
                <a:spLocks/>
              </p:cNvSpPr>
              <p:nvPr/>
            </p:nvSpPr>
            <p:spPr bwMode="auto">
              <a:xfrm>
                <a:off x="-600" y="0"/>
                <a:ext cx="12193200" cy="6858000"/>
              </a:xfrm>
              <a:custGeom>
                <a:avLst/>
                <a:gdLst>
                  <a:gd name="T0" fmla="*/ 6024 w 6026"/>
                  <a:gd name="T1" fmla="*/ 3394 h 3396"/>
                  <a:gd name="T2" fmla="*/ 6024 w 6026"/>
                  <a:gd name="T3" fmla="*/ 3391 h 3396"/>
                  <a:gd name="T4" fmla="*/ 5 w 6026"/>
                  <a:gd name="T5" fmla="*/ 3391 h 3396"/>
                  <a:gd name="T6" fmla="*/ 5 w 6026"/>
                  <a:gd name="T7" fmla="*/ 5 h 3396"/>
                  <a:gd name="T8" fmla="*/ 6021 w 6026"/>
                  <a:gd name="T9" fmla="*/ 5 h 3396"/>
                  <a:gd name="T10" fmla="*/ 6021 w 6026"/>
                  <a:gd name="T11" fmla="*/ 3394 h 3396"/>
                  <a:gd name="T12" fmla="*/ 6024 w 6026"/>
                  <a:gd name="T13" fmla="*/ 3394 h 3396"/>
                  <a:gd name="T14" fmla="*/ 6024 w 6026"/>
                  <a:gd name="T15" fmla="*/ 3391 h 3396"/>
                  <a:gd name="T16" fmla="*/ 6024 w 6026"/>
                  <a:gd name="T17" fmla="*/ 3394 h 3396"/>
                  <a:gd name="T18" fmla="*/ 6026 w 6026"/>
                  <a:gd name="T19" fmla="*/ 3394 h 3396"/>
                  <a:gd name="T20" fmla="*/ 6026 w 6026"/>
                  <a:gd name="T21" fmla="*/ 0 h 3396"/>
                  <a:gd name="T22" fmla="*/ 0 w 6026"/>
                  <a:gd name="T23" fmla="*/ 0 h 3396"/>
                  <a:gd name="T24" fmla="*/ 0 w 6026"/>
                  <a:gd name="T25" fmla="*/ 3396 h 3396"/>
                  <a:gd name="T26" fmla="*/ 6026 w 6026"/>
                  <a:gd name="T27" fmla="*/ 3396 h 3396"/>
                  <a:gd name="T28" fmla="*/ 6026 w 6026"/>
                  <a:gd name="T29" fmla="*/ 3394 h 3396"/>
                  <a:gd name="T30" fmla="*/ 6024 w 6026"/>
                  <a:gd name="T31" fmla="*/ 3394 h 33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6026" h="3396">
                    <a:moveTo>
                      <a:pt x="6024" y="3394"/>
                    </a:moveTo>
                    <a:lnTo>
                      <a:pt x="6024" y="3391"/>
                    </a:lnTo>
                    <a:lnTo>
                      <a:pt x="5" y="3391"/>
                    </a:lnTo>
                    <a:lnTo>
                      <a:pt x="5" y="5"/>
                    </a:lnTo>
                    <a:lnTo>
                      <a:pt x="6021" y="5"/>
                    </a:lnTo>
                    <a:lnTo>
                      <a:pt x="6021" y="3394"/>
                    </a:lnTo>
                    <a:lnTo>
                      <a:pt x="6024" y="3394"/>
                    </a:lnTo>
                    <a:lnTo>
                      <a:pt x="6024" y="3391"/>
                    </a:lnTo>
                    <a:lnTo>
                      <a:pt x="6024" y="3394"/>
                    </a:lnTo>
                    <a:lnTo>
                      <a:pt x="6026" y="3394"/>
                    </a:lnTo>
                    <a:lnTo>
                      <a:pt x="6026" y="0"/>
                    </a:lnTo>
                    <a:lnTo>
                      <a:pt x="0" y="0"/>
                    </a:lnTo>
                    <a:lnTo>
                      <a:pt x="0" y="3396"/>
                    </a:lnTo>
                    <a:lnTo>
                      <a:pt x="6026" y="3396"/>
                    </a:lnTo>
                    <a:lnTo>
                      <a:pt x="6026" y="3394"/>
                    </a:lnTo>
                    <a:lnTo>
                      <a:pt x="6024" y="3394"/>
                    </a:lnTo>
                    <a:close/>
                  </a:path>
                </a:pathLst>
              </a:custGeom>
              <a:solidFill>
                <a:schemeClr val="accent5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575757"/>
                  </a:solidFill>
                  <a:effectLst/>
                  <a:uLnTx/>
                  <a:uFillTx/>
                  <a:ea typeface="+mn-ea"/>
                  <a:cs typeface="+mn-cs"/>
                </a:endParaRPr>
              </a:p>
            </p:txBody>
          </p:sp>
          <p:sp>
            <p:nvSpPr>
              <p:cNvPr id="54" name="Footnote measure"/>
              <p:cNvSpPr>
                <a:spLocks noChangeArrowheads="1"/>
              </p:cNvSpPr>
              <p:nvPr/>
            </p:nvSpPr>
            <p:spPr bwMode="auto">
              <a:xfrm>
                <a:off x="629400" y="5678521"/>
                <a:ext cx="10933200" cy="905159"/>
              </a:xfrm>
              <a:prstGeom prst="rect">
                <a:avLst/>
              </a:prstGeom>
              <a:solidFill>
                <a:schemeClr val="accent3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5" name="Whitespace measure"/>
              <p:cNvSpPr>
                <a:spLocks noChangeArrowheads="1"/>
              </p:cNvSpPr>
              <p:nvPr/>
            </p:nvSpPr>
            <p:spPr bwMode="auto">
              <a:xfrm>
                <a:off x="629400" y="1514985"/>
                <a:ext cx="10932229" cy="594790"/>
              </a:xfrm>
              <a:prstGeom prst="rect">
                <a:avLst/>
              </a:prstGeom>
              <a:solidFill>
                <a:schemeClr val="accent3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6" name="Live area"/>
              <p:cNvSpPr/>
              <p:nvPr/>
            </p:nvSpPr>
            <p:spPr>
              <a:xfrm>
                <a:off x="629400" y="2109775"/>
                <a:ext cx="10933200" cy="3568747"/>
              </a:xfrm>
              <a:custGeom>
                <a:avLst/>
                <a:gdLst>
                  <a:gd name="connsiteX0" fmla="*/ 0 w 10931999"/>
                  <a:gd name="connsiteY0" fmla="*/ 0 h 5537797"/>
                  <a:gd name="connsiteX1" fmla="*/ 10931999 w 10931999"/>
                  <a:gd name="connsiteY1" fmla="*/ 0 h 5537797"/>
                  <a:gd name="connsiteX2" fmla="*/ 10931999 w 10931999"/>
                  <a:gd name="connsiteY2" fmla="*/ 5537797 h 5537797"/>
                  <a:gd name="connsiteX3" fmla="*/ 0 w 10931999"/>
                  <a:gd name="connsiteY3" fmla="*/ 5537797 h 55377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0931999" h="5537797">
                    <a:moveTo>
                      <a:pt x="0" y="0"/>
                    </a:moveTo>
                    <a:lnTo>
                      <a:pt x="10931999" y="0"/>
                    </a:lnTo>
                    <a:lnTo>
                      <a:pt x="10931999" y="5537797"/>
                    </a:lnTo>
                    <a:lnTo>
                      <a:pt x="0" y="5537797"/>
                    </a:lnTo>
                    <a:close/>
                  </a:path>
                </a:pathLst>
              </a:custGeom>
              <a:noFill/>
              <a:ln w="9525">
                <a:solidFill>
                  <a:srgbClr val="ED1B24">
                    <a:alpha val="35000"/>
                  </a:srgbClr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>
                  <a:lnSpc>
                    <a:spcPct val="90000"/>
                  </a:lnSpc>
                  <a:spcAft>
                    <a:spcPts val="1000"/>
                  </a:spcAft>
                </a:pPr>
                <a:endParaRPr lang="en-US" sz="1200">
                  <a:solidFill>
                    <a:schemeClr val="bg1"/>
                  </a:solidFill>
                </a:endParaRPr>
              </a:p>
            </p:txBody>
          </p:sp>
          <p:sp>
            <p:nvSpPr>
              <p:cNvPr id="57" name="Footnote example"/>
              <p:cNvSpPr txBox="1"/>
              <p:nvPr/>
            </p:nvSpPr>
            <p:spPr>
              <a:xfrm>
                <a:off x="630000" y="5678521"/>
                <a:ext cx="9030914" cy="332399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b">
                <a:spAutoFit/>
              </a:bodyPr>
              <a:lstStyle/>
              <a:p>
                <a:pPr lvl="0">
                  <a:lnSpc>
                    <a:spcPct val="90000"/>
                  </a:lnSpc>
                  <a:defRPr/>
                </a:pPr>
                <a:r>
                  <a:rPr lang="en-US" sz="800">
                    <a:solidFill>
                      <a:prstClr val="white">
                        <a:lumMod val="65000"/>
                      </a:prstClr>
                    </a:solidFill>
                    <a:sym typeface="Trebuchet MS" panose="020B0603020202020204" pitchFamily="34" charset="0"/>
                  </a:rPr>
                  <a:t>1. xxxx  2. xxxx  3. List footnotes in numerical order. Footnote numbers are not bracketed. Use 8pt font</a:t>
                </a:r>
              </a:p>
              <a:p>
                <a:pPr lvl="0">
                  <a:lnSpc>
                    <a:spcPct val="90000"/>
                  </a:lnSpc>
                  <a:defRPr/>
                </a:pPr>
                <a:r>
                  <a:rPr lang="en-US" sz="800">
                    <a:solidFill>
                      <a:prstClr val="white">
                        <a:lumMod val="65000"/>
                      </a:prstClr>
                    </a:solidFill>
                    <a:sym typeface="Trebuchet MS" panose="020B0603020202020204" pitchFamily="34" charset="0"/>
                  </a:rPr>
                  <a:t>Note: Do not put a period at the end of the note or the source</a:t>
                </a:r>
              </a:p>
              <a:p>
                <a:pPr lvl="0">
                  <a:lnSpc>
                    <a:spcPct val="90000"/>
                  </a:lnSpc>
                  <a:defRPr/>
                </a:pPr>
                <a:r>
                  <a:rPr lang="en-US" sz="800">
                    <a:solidFill>
                      <a:prstClr val="white">
                        <a:lumMod val="65000"/>
                      </a:prstClr>
                    </a:solidFill>
                    <a:sym typeface="Trebuchet MS" panose="020B0603020202020204" pitchFamily="34" charset="0"/>
                  </a:rPr>
                  <a:t>Source: Include a source for every chart that you use. Separate sources with a semicolon; BCG-related sources go at the end</a:t>
                </a:r>
                <a:endParaRPr kumimoji="0" lang="en-US" sz="800" b="0" i="0" u="none" strike="noStrike" kern="1200" cap="none" spc="0" normalizeH="0" baseline="0" noProof="0">
                  <a:ln>
                    <a:noFill/>
                  </a:ln>
                  <a:solidFill>
                    <a:prstClr val="white">
                      <a:lumMod val="65000"/>
                    </a:prstClr>
                  </a:solidFill>
                  <a:effectLst/>
                  <a:uLnTx/>
                  <a:uFillTx/>
                  <a:sym typeface="Trebuchet MS" panose="020B0603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7168680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genda Section Header Overview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2475455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/>
          <p:cNvSpPr/>
          <p:nvPr/>
        </p:nvSpPr>
        <p:spPr bwMode="invGray">
          <a:xfrm>
            <a:off x="1388145" y="4691187"/>
            <a:ext cx="929337" cy="995874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</a:endParaRPr>
          </a:p>
        </p:txBody>
      </p:sp>
      <p:sp>
        <p:nvSpPr>
          <p:cNvPr id="12" name="Rectangle 11"/>
          <p:cNvSpPr/>
          <p:nvPr>
            <p:custDataLst>
              <p:tags r:id="rId2"/>
            </p:custDataLst>
          </p:nvPr>
        </p:nvSpPr>
        <p:spPr>
          <a:xfrm>
            <a:off x="2509482" y="4691187"/>
            <a:ext cx="1570152" cy="1468176"/>
          </a:xfrm>
          <a:prstGeom prst="rect">
            <a:avLst/>
          </a:prstGeom>
          <a:noFill/>
          <a:ln w="9525" cmpd="sng">
            <a:solidFill>
              <a:srgbClr val="FFFFFF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000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1200">
              <a:solidFill>
                <a:srgbClr val="FFFFFF"/>
              </a:solidFill>
              <a:latin typeface="Trebuchet MS" panose="020B0603020202020204" pitchFamily="34" charset="0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630000" y="1161143"/>
            <a:ext cx="3448800" cy="3234456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txBody>
          <a:bodyPr wrap="square" lIns="612000" tIns="468000" rIns="0" bIns="0" rtlCol="0" anchor="t">
            <a:no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5400">
              <a:solidFill>
                <a:schemeClr val="bg1"/>
              </a:solidFill>
            </a:endParaRPr>
          </a:p>
        </p:txBody>
      </p:sp>
      <p:sp>
        <p:nvSpPr>
          <p:cNvPr id="10" name="TextBox 1"/>
          <p:cNvSpPr txBox="1"/>
          <p:nvPr/>
        </p:nvSpPr>
        <p:spPr>
          <a:xfrm>
            <a:off x="1109949" y="1347645"/>
            <a:ext cx="2488182" cy="8963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5400">
                <a:solidFill>
                  <a:schemeClr val="bg1"/>
                </a:solidFill>
                <a:latin typeface="+mj-lt"/>
              </a:rPr>
              <a:t>Agenda</a:t>
            </a:r>
          </a:p>
        </p:txBody>
      </p:sp>
      <p:sp>
        <p:nvSpPr>
          <p:cNvPr id="13" name="Copyright" hidden="1"/>
          <p:cNvSpPr txBox="1"/>
          <p:nvPr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064877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genda Section Header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7041614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/>
          <p:cNvSpPr/>
          <p:nvPr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1285200" y="2667600"/>
            <a:ext cx="9619200" cy="3200400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</a:endParaRPr>
          </a:p>
        </p:txBody>
      </p:sp>
      <p:sp>
        <p:nvSpPr>
          <p:cNvPr id="8" name="Copyright" hidden="1"/>
          <p:cNvSpPr txBox="1"/>
          <p:nvPr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0466210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genda Full Width Overview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3788583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tle 1"/>
          <p:cNvSpPr txBox="1">
            <a:spLocks/>
          </p:cNvSpPr>
          <p:nvPr/>
        </p:nvSpPr>
        <p:spPr>
          <a:xfrm>
            <a:off x="2000250" y="622800"/>
            <a:ext cx="5819748" cy="4708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>
                <a:solidFill>
                  <a:schemeClr val="bg1"/>
                </a:solidFill>
              </a:rPr>
              <a:t>Agenda</a:t>
            </a:r>
          </a:p>
        </p:txBody>
      </p:sp>
      <p:cxnSp>
        <p:nvCxnSpPr>
          <p:cNvPr id="13" name="Straight Connector 12"/>
          <p:cNvCxnSpPr/>
          <p:nvPr/>
        </p:nvCxnSpPr>
        <p:spPr bwMode="white">
          <a:xfrm>
            <a:off x="618898" y="1206000"/>
            <a:ext cx="11576304" cy="0"/>
          </a:xfrm>
          <a:prstGeom prst="line">
            <a:avLst/>
          </a:prstGeom>
          <a:ln w="9525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Copyright" hidden="1"/>
          <p:cNvSpPr txBox="1"/>
          <p:nvPr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6726364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genda Two-Thirds">
    <p:bg>
      <p:bgPr>
        <a:gradFill>
          <a:gsLst>
            <a:gs pos="39000">
              <a:srgbClr val="D81F30"/>
            </a:gs>
            <a:gs pos="100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67089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/>
        </p:nvSpPr>
        <p:spPr bwMode="white">
          <a:xfrm>
            <a:off x="4080763" y="-1309"/>
            <a:ext cx="8111237" cy="685930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630000" y="3207715"/>
            <a:ext cx="1547143" cy="4431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3200">
                <a:solidFill>
                  <a:schemeClr val="bg1"/>
                </a:solidFill>
              </a:rPr>
              <a:t>Agenda</a:t>
            </a:r>
          </a:p>
        </p:txBody>
      </p:sp>
      <p:sp>
        <p:nvSpPr>
          <p:cNvPr id="9" name="Copyright" hidden="1"/>
          <p:cNvSpPr txBox="1"/>
          <p:nvPr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4" name="Freeform 13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/>
        </p:nvSpPr>
        <p:spPr>
          <a:xfrm>
            <a:off x="4151664" y="6326127"/>
            <a:ext cx="8037289" cy="531873"/>
          </a:xfrm>
          <a:custGeom>
            <a:avLst/>
            <a:gdLst>
              <a:gd name="connsiteX0" fmla="*/ 4248622 w 8037289"/>
              <a:gd name="connsiteY0" fmla="*/ 0 h 531873"/>
              <a:gd name="connsiteX1" fmla="*/ 8037287 w 8037289"/>
              <a:gd name="connsiteY1" fmla="*/ 0 h 531873"/>
              <a:gd name="connsiteX2" fmla="*/ 8037287 w 8037289"/>
              <a:gd name="connsiteY2" fmla="*/ 239773 h 531873"/>
              <a:gd name="connsiteX3" fmla="*/ 8037289 w 8037289"/>
              <a:gd name="connsiteY3" fmla="*/ 239773 h 531873"/>
              <a:gd name="connsiteX4" fmla="*/ 8037289 w 8037289"/>
              <a:gd name="connsiteY4" fmla="*/ 531873 h 531873"/>
              <a:gd name="connsiteX5" fmla="*/ 0 w 8037289"/>
              <a:gd name="connsiteY5" fmla="*/ 531873 h 531873"/>
              <a:gd name="connsiteX6" fmla="*/ 0 w 8037289"/>
              <a:gd name="connsiteY6" fmla="*/ 239773 h 531873"/>
              <a:gd name="connsiteX7" fmla="*/ 4068966 w 8037289"/>
              <a:gd name="connsiteY7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037289" h="531873">
                <a:moveTo>
                  <a:pt x="4248622" y="0"/>
                </a:moveTo>
                <a:lnTo>
                  <a:pt x="8037287" y="0"/>
                </a:lnTo>
                <a:lnTo>
                  <a:pt x="8037287" y="239773"/>
                </a:lnTo>
                <a:lnTo>
                  <a:pt x="8037289" y="239773"/>
                </a:lnTo>
                <a:lnTo>
                  <a:pt x="8037289" y="531873"/>
                </a:lnTo>
                <a:lnTo>
                  <a:pt x="0" y="531873"/>
                </a:lnTo>
                <a:lnTo>
                  <a:pt x="0" y="239773"/>
                </a:lnTo>
                <a:lnTo>
                  <a:pt x="4068966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5585885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 Overvie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5477709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/>
        </p:nvSpPr>
        <p:spPr bwMode="invGray">
          <a:xfrm>
            <a:off x="1388145" y="4691187"/>
            <a:ext cx="929337" cy="995874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</a:endParaRPr>
          </a:p>
        </p:txBody>
      </p:sp>
      <p:sp>
        <p:nvSpPr>
          <p:cNvPr id="10" name="Rectangle 9"/>
          <p:cNvSpPr/>
          <p:nvPr>
            <p:custDataLst>
              <p:tags r:id="rId2"/>
            </p:custDataLst>
          </p:nvPr>
        </p:nvSpPr>
        <p:spPr>
          <a:xfrm>
            <a:off x="2509482" y="4691187"/>
            <a:ext cx="1570152" cy="1468176"/>
          </a:xfrm>
          <a:prstGeom prst="rect">
            <a:avLst/>
          </a:prstGeom>
          <a:noFill/>
          <a:ln w="9525" cmpd="sng">
            <a:solidFill>
              <a:schemeClr val="accent4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000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1200">
              <a:solidFill>
                <a:srgbClr val="FFFFFF"/>
              </a:solidFill>
              <a:latin typeface="Trebuchet MS" panose="020B0603020202020204" pitchFamily="34" charset="0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630000" y="1161143"/>
            <a:ext cx="3448800" cy="3234456"/>
          </a:xfrm>
          <a:prstGeom prst="rect">
            <a:avLst/>
          </a:prstGeom>
          <a:noFill/>
          <a:ln>
            <a:solidFill>
              <a:schemeClr val="accent4"/>
            </a:solidFill>
          </a:ln>
        </p:spPr>
        <p:txBody>
          <a:bodyPr wrap="square" lIns="612000" tIns="468000" rIns="0" bIns="0" rtlCol="0" anchor="t">
            <a:no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5400">
              <a:solidFill>
                <a:schemeClr val="accent4"/>
              </a:solidFill>
            </a:endParaRPr>
          </a:p>
        </p:txBody>
      </p:sp>
      <p:sp>
        <p:nvSpPr>
          <p:cNvPr id="9" name="TextBox 1"/>
          <p:cNvSpPr txBox="1"/>
          <p:nvPr/>
        </p:nvSpPr>
        <p:spPr>
          <a:xfrm>
            <a:off x="1109949" y="1347645"/>
            <a:ext cx="2488182" cy="8963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 sz="5400">
                <a:solidFill>
                  <a:schemeClr val="accent4"/>
                </a:solidFill>
                <a:latin typeface="+mj-lt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r>
              <a:rPr lang="en-US"/>
              <a:t>Agenda</a:t>
            </a:r>
          </a:p>
        </p:txBody>
      </p:sp>
      <p:sp>
        <p:nvSpPr>
          <p:cNvPr id="12" name="Copyright" hidden="1"/>
          <p:cNvSpPr txBox="1"/>
          <p:nvPr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3919262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1942321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1285200" y="2667600"/>
            <a:ext cx="9619200" cy="3200400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</a:endParaRPr>
          </a:p>
        </p:txBody>
      </p:sp>
      <p:sp>
        <p:nvSpPr>
          <p:cNvPr id="6" name="Copyright" hidden="1"/>
          <p:cNvSpPr txBox="1"/>
          <p:nvPr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5482797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Full Width Overvie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8082548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1"/>
          <p:cNvSpPr txBox="1">
            <a:spLocks/>
          </p:cNvSpPr>
          <p:nvPr/>
        </p:nvSpPr>
        <p:spPr>
          <a:xfrm>
            <a:off x="2000250" y="622800"/>
            <a:ext cx="5819748" cy="4708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>
                <a:solidFill>
                  <a:schemeClr val="accent4"/>
                </a:solidFill>
              </a:rPr>
              <a:t>Agenda</a:t>
            </a:r>
          </a:p>
        </p:txBody>
      </p:sp>
      <p:cxnSp>
        <p:nvCxnSpPr>
          <p:cNvPr id="9" name="Straight Connector 8"/>
          <p:cNvCxnSpPr/>
          <p:nvPr/>
        </p:nvCxnSpPr>
        <p:spPr bwMode="white">
          <a:xfrm>
            <a:off x="618898" y="1206000"/>
            <a:ext cx="11576304" cy="0"/>
          </a:xfrm>
          <a:prstGeom prst="line">
            <a:avLst/>
          </a:prstGeom>
          <a:ln w="9525" cmpd="sng">
            <a:solidFill>
              <a:schemeClr val="accent4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Copyright" hidden="1"/>
          <p:cNvSpPr txBox="1"/>
          <p:nvPr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7294560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genda D. Two-Thirds">
    <p:bg>
      <p:bgPr>
        <a:gradFill>
          <a:gsLst>
            <a:gs pos="39000">
              <a:srgbClr val="D81F30"/>
            </a:gs>
            <a:gs pos="100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2397497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22"/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26" name="Rectangle 25"/>
          <p:cNvSpPr/>
          <p:nvPr/>
        </p:nvSpPr>
        <p:spPr bwMode="ltGray">
          <a:xfrm>
            <a:off x="4080763" y="-1309"/>
            <a:ext cx="8111237" cy="68593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630000" y="3262145"/>
            <a:ext cx="1161047" cy="3323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2400">
                <a:solidFill>
                  <a:schemeClr val="bg1"/>
                </a:solidFill>
              </a:rPr>
              <a:t>Agenda</a:t>
            </a:r>
          </a:p>
        </p:txBody>
      </p:sp>
      <p:sp>
        <p:nvSpPr>
          <p:cNvPr id="9" name="Copyright" hidden="1"/>
          <p:cNvSpPr txBox="1"/>
          <p:nvPr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1" name="Freeform 10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/>
        </p:nvSpPr>
        <p:spPr>
          <a:xfrm>
            <a:off x="4151664" y="6326127"/>
            <a:ext cx="8037289" cy="531873"/>
          </a:xfrm>
          <a:custGeom>
            <a:avLst/>
            <a:gdLst>
              <a:gd name="connsiteX0" fmla="*/ 4248622 w 8037289"/>
              <a:gd name="connsiteY0" fmla="*/ 0 h 531873"/>
              <a:gd name="connsiteX1" fmla="*/ 8037287 w 8037289"/>
              <a:gd name="connsiteY1" fmla="*/ 0 h 531873"/>
              <a:gd name="connsiteX2" fmla="*/ 8037287 w 8037289"/>
              <a:gd name="connsiteY2" fmla="*/ 239773 h 531873"/>
              <a:gd name="connsiteX3" fmla="*/ 8037289 w 8037289"/>
              <a:gd name="connsiteY3" fmla="*/ 239773 h 531873"/>
              <a:gd name="connsiteX4" fmla="*/ 8037289 w 8037289"/>
              <a:gd name="connsiteY4" fmla="*/ 531873 h 531873"/>
              <a:gd name="connsiteX5" fmla="*/ 0 w 8037289"/>
              <a:gd name="connsiteY5" fmla="*/ 531873 h 531873"/>
              <a:gd name="connsiteX6" fmla="*/ 0 w 8037289"/>
              <a:gd name="connsiteY6" fmla="*/ 239773 h 531873"/>
              <a:gd name="connsiteX7" fmla="*/ 4068966 w 8037289"/>
              <a:gd name="connsiteY7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037289" h="531873">
                <a:moveTo>
                  <a:pt x="4248622" y="0"/>
                </a:moveTo>
                <a:lnTo>
                  <a:pt x="8037287" y="0"/>
                </a:lnTo>
                <a:lnTo>
                  <a:pt x="8037287" y="239773"/>
                </a:lnTo>
                <a:lnTo>
                  <a:pt x="8037289" y="239773"/>
                </a:lnTo>
                <a:lnTo>
                  <a:pt x="8037289" y="531873"/>
                </a:lnTo>
                <a:lnTo>
                  <a:pt x="0" y="531873"/>
                </a:lnTo>
                <a:lnTo>
                  <a:pt x="0" y="239773"/>
                </a:lnTo>
                <a:lnTo>
                  <a:pt x="4068966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4186459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genda D. Table of Contents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2193408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 12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7" name="Freeform 12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630000" y="2577934"/>
            <a:ext cx="2819400" cy="17617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indent="0">
              <a:lnSpc>
                <a:spcPct val="106000"/>
              </a:lnSpc>
              <a:spcAft>
                <a:spcPts val="700"/>
              </a:spcAft>
              <a:buFontTx/>
              <a:buNone/>
            </a:pPr>
            <a:r>
              <a:rPr lang="en-US" sz="54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Table of contents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8638" y="3586748"/>
            <a:ext cx="1365250" cy="3382962"/>
          </a:xfrm>
          <a:custGeom>
            <a:avLst/>
            <a:gdLst>
              <a:gd name="connsiteX0" fmla="*/ 94280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28720 w 1365250"/>
              <a:gd name="connsiteY3" fmla="*/ 3382962 h 3382962"/>
              <a:gd name="connsiteX4" fmla="*/ 0 w 1365250"/>
              <a:gd name="connsiteY4" fmla="*/ 0 h 3382962"/>
              <a:gd name="connsiteX5" fmla="*/ 929501 w 1365250"/>
              <a:gd name="connsiteY5" fmla="*/ 0 h 3382962"/>
              <a:gd name="connsiteX6" fmla="*/ 0 w 1365250"/>
              <a:gd name="connsiteY6" fmla="*/ 2860398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65250" h="3382962">
                <a:moveTo>
                  <a:pt x="94280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28720" y="3382962"/>
                </a:lnTo>
                <a:close/>
                <a:moveTo>
                  <a:pt x="0" y="0"/>
                </a:moveTo>
                <a:lnTo>
                  <a:pt x="929501" y="0"/>
                </a:lnTo>
                <a:lnTo>
                  <a:pt x="0" y="2860398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Copyright" hidden="1"/>
          <p:cNvSpPr txBox="1"/>
          <p:nvPr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4" name="Freeform 13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/>
        </p:nvSpPr>
        <p:spPr>
          <a:xfrm>
            <a:off x="1" y="6565900"/>
            <a:ext cx="3266011" cy="292100"/>
          </a:xfrm>
          <a:custGeom>
            <a:avLst/>
            <a:gdLst>
              <a:gd name="connsiteX0" fmla="*/ 0 w 3266011"/>
              <a:gd name="connsiteY0" fmla="*/ 0 h 292100"/>
              <a:gd name="connsiteX1" fmla="*/ 3266011 w 3266011"/>
              <a:gd name="connsiteY1" fmla="*/ 0 h 292100"/>
              <a:gd name="connsiteX2" fmla="*/ 3195872 w 3266011"/>
              <a:gd name="connsiteY2" fmla="*/ 292100 h 292100"/>
              <a:gd name="connsiteX3" fmla="*/ 0 w 3266011"/>
              <a:gd name="connsiteY3" fmla="*/ 292100 h 292100"/>
              <a:gd name="connsiteX4" fmla="*/ 0 w 3266011"/>
              <a:gd name="connsiteY4" fmla="*/ 0 h 292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266011" h="292100">
                <a:moveTo>
                  <a:pt x="0" y="0"/>
                </a:moveTo>
                <a:lnTo>
                  <a:pt x="3266011" y="0"/>
                </a:lnTo>
                <a:lnTo>
                  <a:pt x="3195872" y="292100"/>
                </a:lnTo>
                <a:lnTo>
                  <a:pt x="0" y="292100"/>
                </a:lnTo>
                <a:lnTo>
                  <a:pt x="0" y="0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9599212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anner">
    <p:bg>
      <p:bgPr>
        <a:solidFill>
          <a:schemeClr val="bg1">
            <a:alpha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6CD8CD75-6EB9-63FD-BE3A-4B5C3A1BF46F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-1" y="-7070"/>
            <a:ext cx="10515600" cy="3367725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nl-BE"/>
              <a:t> </a:t>
            </a:r>
            <a:endParaRPr lang="en-IN"/>
          </a:p>
        </p:txBody>
      </p:sp>
      <p:sp>
        <p:nvSpPr>
          <p:cNvPr id="24" name="Text Placeholder 23">
            <a:extLst>
              <a:ext uri="{FF2B5EF4-FFF2-40B4-BE49-F238E27FC236}">
                <a16:creationId xmlns:a16="http://schemas.microsoft.com/office/drawing/2014/main" id="{E690229A-3490-77D3-9E54-2BA22E536AB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 rot="979969">
            <a:off x="10310735" y="2475691"/>
            <a:ext cx="318096" cy="969965"/>
          </a:xfrm>
          <a:solidFill>
            <a:schemeClr val="bg1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nl-BE"/>
              <a:t> </a:t>
            </a:r>
            <a:endParaRPr lang="en-IN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848D734-64F7-4EAD-848D-BBE864C7ACA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845320AC-DD4B-443B-9124-A76A02BBF0F0}" type="datetimeFigureOut">
              <a:rPr lang="en-IN" smtClean="0"/>
              <a:t>28-05-2025</a:t>
            </a:fld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DC0E4C3-45EC-41CA-A181-267F66D5881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CA1A946-C4A7-49E2-996F-99E68C7F5C9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E7FF1D80-0C43-4B56-BCBD-119C695EDC96}" type="slidenum">
              <a:rPr lang="en-IN" smtClean="0"/>
              <a:t>‹#›</a:t>
            </a:fld>
            <a:endParaRPr lang="en-IN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ECEFFEE-453C-7FB4-4EE2-E031AC05DC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1" y="2488675"/>
            <a:ext cx="4412529" cy="727653"/>
          </a:xfrm>
          <a:prstGeom prst="homePlate">
            <a:avLst/>
          </a:prstGeom>
          <a:solidFill>
            <a:srgbClr val="C00000">
              <a:alpha val="60000"/>
            </a:srgbClr>
          </a:solidFill>
        </p:spPr>
        <p:txBody>
          <a:bodyPr>
            <a:normAutofit/>
          </a:bodyPr>
          <a:lstStyle>
            <a:lvl1pPr>
              <a:defRPr sz="320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2E8B2B89-7C98-0C7F-0DA1-A1B84F3BB001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838200" y="3572759"/>
            <a:ext cx="10515600" cy="260609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14D9FDB7-C5E8-7B49-4FBC-67FF7720449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705457" y="-7070"/>
            <a:ext cx="1880559" cy="3367725"/>
          </a:xfrm>
          <a:blipFill>
            <a:blip r:embed="rId2"/>
            <a:stretch>
              <a:fillRect/>
            </a:stretch>
          </a:blipFill>
          <a:ln w="31750">
            <a:noFill/>
          </a:ln>
          <a:effectLst>
            <a:outerShdw dist="38100" dir="12000000" sx="105000" sy="105000" algn="tr" rotWithShape="0">
              <a:schemeClr val="bg1"/>
            </a:outerShdw>
          </a:effectLst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nl-BE"/>
              <a:t> </a:t>
            </a:r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183077410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Left arrow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Freeform 14"/>
          <p:cNvSpPr/>
          <p:nvPr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pic>
        <p:nvPicPr>
          <p:cNvPr id="9" name="Picture 8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32442" y="3590399"/>
            <a:ext cx="1365250" cy="3382962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</p:spPr>
        <p:txBody>
          <a:bodyPr vert="horz" anchor="ctr" anchorCtr="0">
            <a:noAutofit/>
          </a:bodyPr>
          <a:lstStyle>
            <a:lvl1pPr>
              <a:defRPr sz="3200" baseline="0">
                <a:solidFill>
                  <a:srgbClr val="FF0000"/>
                </a:solidFill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8" name="Copyright" hidden="1"/>
          <p:cNvSpPr txBox="1"/>
          <p:nvPr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28" name="Freeform 27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/>
        </p:nvSpPr>
        <p:spPr>
          <a:xfrm>
            <a:off x="1" y="6565900"/>
            <a:ext cx="3266011" cy="292100"/>
          </a:xfrm>
          <a:custGeom>
            <a:avLst/>
            <a:gdLst>
              <a:gd name="connsiteX0" fmla="*/ 0 w 3266011"/>
              <a:gd name="connsiteY0" fmla="*/ 0 h 292100"/>
              <a:gd name="connsiteX1" fmla="*/ 3266011 w 3266011"/>
              <a:gd name="connsiteY1" fmla="*/ 0 h 292100"/>
              <a:gd name="connsiteX2" fmla="*/ 3195872 w 3266011"/>
              <a:gd name="connsiteY2" fmla="*/ 292100 h 292100"/>
              <a:gd name="connsiteX3" fmla="*/ 0 w 3266011"/>
              <a:gd name="connsiteY3" fmla="*/ 292100 h 292100"/>
              <a:gd name="connsiteX4" fmla="*/ 0 w 3266011"/>
              <a:gd name="connsiteY4" fmla="*/ 0 h 292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266011" h="292100">
                <a:moveTo>
                  <a:pt x="0" y="0"/>
                </a:moveTo>
                <a:lnTo>
                  <a:pt x="3266011" y="0"/>
                </a:lnTo>
                <a:lnTo>
                  <a:pt x="3195872" y="292100"/>
                </a:lnTo>
                <a:lnTo>
                  <a:pt x="0" y="292100"/>
                </a:lnTo>
                <a:lnTo>
                  <a:pt x="0" y="0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2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  <p:sp>
        <p:nvSpPr>
          <p:cNvPr id="2" name="Textfeld 1">
            <a:extLst>
              <a:ext uri="{FF2B5EF4-FFF2-40B4-BE49-F238E27FC236}">
                <a16:creationId xmlns:a16="http://schemas.microsoft.com/office/drawing/2014/main" id="{9D5EF2CF-515C-F359-0A9E-8D3CD2AA271C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3581400" y="159413"/>
            <a:ext cx="5029200" cy="323165"/>
          </a:xfrm>
          <a:prstGeom prst="rect">
            <a:avLst/>
          </a:prstGeom>
          <a:pattFill>
            <a:fgClr>
              <a:srgbClr val="EEA632"/>
            </a:fgClr>
            <a:bgClr>
              <a:srgbClr val="EEA632"/>
            </a:bgClr>
          </a:pattFill>
          <a:ln w="9525" cap="rnd">
            <a:solidFill>
              <a:srgbClr val="575757"/>
            </a:solidFill>
            <a:prstDash val="solid"/>
          </a:ln>
        </p:spPr>
        <p:txBody>
          <a:bodyPr vert="horz" wrap="square" lIns="36576" tIns="36576" rIns="36576" bIns="36576" rtlCol="0" anchor="t">
            <a:sp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en-US" b="1">
                <a:solidFill>
                  <a:srgbClr val="000000"/>
                </a:solidFill>
                <a:sym typeface="Trebuchet MS" panose="020B0603020202020204" pitchFamily="34" charset="0"/>
              </a:rPr>
              <a:t>Draft document – Pre-read</a:t>
            </a:r>
          </a:p>
        </p:txBody>
      </p:sp>
    </p:spTree>
    <p:extLst>
      <p:ext uri="{BB962C8B-B14F-4D97-AF65-F5344CB8AC3E}">
        <p14:creationId xmlns:p14="http://schemas.microsoft.com/office/powerpoint/2010/main" val="99418930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D. Gray slice head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14DB36A4-3C22-4171-A7C0-131095FDCC9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807718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14DB36A4-3C22-4171-A7C0-131095FDCC9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/>
        </p:nvSpPr>
        <p:spPr bwMode="white">
          <a:xfrm>
            <a:off x="1" y="-1309"/>
            <a:ext cx="3252485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2" name="Copyright" hidden="1"/>
          <p:cNvSpPr txBox="1"/>
          <p:nvPr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3" name="Freeform: Shape 31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/>
        </p:nvSpPr>
        <p:spPr>
          <a:xfrm>
            <a:off x="0" y="6326127"/>
            <a:ext cx="12188952" cy="531873"/>
          </a:xfrm>
          <a:custGeom>
            <a:avLst/>
            <a:gdLst>
              <a:gd name="connsiteX0" fmla="*/ 8400285 w 12188952"/>
              <a:gd name="connsiteY0" fmla="*/ 0 h 531873"/>
              <a:gd name="connsiteX1" fmla="*/ 12188950 w 12188952"/>
              <a:gd name="connsiteY1" fmla="*/ 0 h 531873"/>
              <a:gd name="connsiteX2" fmla="*/ 12188950 w 12188952"/>
              <a:gd name="connsiteY2" fmla="*/ 239773 h 531873"/>
              <a:gd name="connsiteX3" fmla="*/ 12188952 w 12188952"/>
              <a:gd name="connsiteY3" fmla="*/ 239773 h 531873"/>
              <a:gd name="connsiteX4" fmla="*/ 12188952 w 12188952"/>
              <a:gd name="connsiteY4" fmla="*/ 531873 h 531873"/>
              <a:gd name="connsiteX5" fmla="*/ 0 w 12188952"/>
              <a:gd name="connsiteY5" fmla="*/ 531873 h 531873"/>
              <a:gd name="connsiteX6" fmla="*/ 0 w 12188952"/>
              <a:gd name="connsiteY6" fmla="*/ 239773 h 531873"/>
              <a:gd name="connsiteX7" fmla="*/ 8220629 w 12188952"/>
              <a:gd name="connsiteY7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88952" h="531873">
                <a:moveTo>
                  <a:pt x="8400285" y="0"/>
                </a:moveTo>
                <a:lnTo>
                  <a:pt x="12188950" y="0"/>
                </a:lnTo>
                <a:lnTo>
                  <a:pt x="12188950" y="239773"/>
                </a:lnTo>
                <a:lnTo>
                  <a:pt x="12188952" y="239773"/>
                </a:lnTo>
                <a:lnTo>
                  <a:pt x="12188952" y="531873"/>
                </a:lnTo>
                <a:lnTo>
                  <a:pt x="0" y="531873"/>
                </a:lnTo>
                <a:lnTo>
                  <a:pt x="0" y="239773"/>
                </a:lnTo>
                <a:lnTo>
                  <a:pt x="8220629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5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fld id="{AC3312C5-EFF4-47B0-B4A9-3F5E27BC8EC7}" type="datetimeFigureOut">
              <a:rPr lang="en-IN" smtClean="0"/>
              <a:t>28-05-2025</a:t>
            </a:fld>
            <a:endParaRPr lang="en-IN"/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  <p:sp>
        <p:nvSpPr>
          <p:cNvPr id="17" name="Title 1">
            <a:extLst>
              <a:ext uri="{FF2B5EF4-FFF2-40B4-BE49-F238E27FC236}">
                <a16:creationId xmlns:a16="http://schemas.microsoft.com/office/drawing/2014/main" id="{8C8680F0-21E4-46C4-A4F9-6D480C873DD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16539" y="622800"/>
            <a:ext cx="6731334" cy="332399"/>
          </a:xfrm>
          <a:prstGeom prst="rect">
            <a:avLst/>
          </a:prstGeom>
        </p:spPr>
        <p:txBody>
          <a:bodyPr vert="horz"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9663395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>
            <a:extLst>
              <a:ext uri="{FF2B5EF4-FFF2-40B4-BE49-F238E27FC236}">
                <a16:creationId xmlns:a16="http://schemas.microsoft.com/office/drawing/2014/main" id="{F5F6405D-70AC-D5EE-2FF9-676D83EAAC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97568"/>
            <a:ext cx="10515600" cy="1084401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3180A132-83E7-E859-1DBC-654CA44CF6F2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560443"/>
            <a:ext cx="10515600" cy="461652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9" name="Date Placeholder 3">
            <a:extLst>
              <a:ext uri="{FF2B5EF4-FFF2-40B4-BE49-F238E27FC236}">
                <a16:creationId xmlns:a16="http://schemas.microsoft.com/office/drawing/2014/main" id="{B0FF59CB-3BC5-8CCE-4484-E5EFBAD9006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604825"/>
            <a:ext cx="2743200" cy="216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latin typeface="Trebuchet MS" panose="020B0603020202020204" pitchFamily="34" charset="0"/>
              </a:defRPr>
            </a:lvl1pPr>
          </a:lstStyle>
          <a:p>
            <a:fld id="{AC3312C5-EFF4-47B0-B4A9-3F5E27BC8EC7}" type="datetimeFigureOut">
              <a:rPr lang="en-IN" smtClean="0"/>
              <a:t>28-05-2025</a:t>
            </a:fld>
            <a:endParaRPr lang="en-IN"/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A79369F8-4CD1-8FF9-84CA-27C8F3B1F33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604825"/>
            <a:ext cx="4114800" cy="216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rgbClr val="FF0000"/>
                </a:solidFill>
                <a:latin typeface="Trebuchet MS" panose="020B0603020202020204" pitchFamily="34" charset="0"/>
              </a:defRPr>
            </a:lvl1pPr>
          </a:lstStyle>
          <a:p>
            <a:endParaRPr lang="en-IN"/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82215182-A3AA-4A6A-3DF5-FAAC2715831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604825"/>
            <a:ext cx="2743200" cy="216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Trebuchet MS" panose="020B0603020202020204" pitchFamily="34" charset="0"/>
              </a:defRPr>
            </a:lvl1pPr>
          </a:lstStyle>
          <a:p>
            <a:fld id="{8AD194FB-8BCF-4B9C-8204-8FECD0B9FB20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496992480"/>
      </p:ext>
    </p:extLst>
  </p:cSld>
  <p:clrMapOvr>
    <a:masterClrMapping/>
  </p:clrMapOvr>
</p:sldLayout>
</file>

<file path=ppt/slideLayouts/slideLayout3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93561322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2"/>
            </p:custDataLst>
          </p:nvPr>
        </p:nvSpPr>
        <p:spPr>
          <a:xfrm>
            <a:off x="1" y="0"/>
            <a:ext cx="158751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</a:pPr>
            <a:endParaRPr lang="en-US" sz="4050" b="0" i="0" baseline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11" name="Freeform: Shape 31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/>
        </p:nvSpPr>
        <p:spPr>
          <a:xfrm>
            <a:off x="0" y="6326129"/>
            <a:ext cx="12188952" cy="531873"/>
          </a:xfrm>
          <a:custGeom>
            <a:avLst/>
            <a:gdLst>
              <a:gd name="connsiteX0" fmla="*/ 8400285 w 12188952"/>
              <a:gd name="connsiteY0" fmla="*/ 0 h 531873"/>
              <a:gd name="connsiteX1" fmla="*/ 12188950 w 12188952"/>
              <a:gd name="connsiteY1" fmla="*/ 0 h 531873"/>
              <a:gd name="connsiteX2" fmla="*/ 12188950 w 12188952"/>
              <a:gd name="connsiteY2" fmla="*/ 239773 h 531873"/>
              <a:gd name="connsiteX3" fmla="*/ 12188952 w 12188952"/>
              <a:gd name="connsiteY3" fmla="*/ 239773 h 531873"/>
              <a:gd name="connsiteX4" fmla="*/ 12188952 w 12188952"/>
              <a:gd name="connsiteY4" fmla="*/ 531873 h 531873"/>
              <a:gd name="connsiteX5" fmla="*/ 0 w 12188952"/>
              <a:gd name="connsiteY5" fmla="*/ 531873 h 531873"/>
              <a:gd name="connsiteX6" fmla="*/ 0 w 12188952"/>
              <a:gd name="connsiteY6" fmla="*/ 239773 h 531873"/>
              <a:gd name="connsiteX7" fmla="*/ 8220629 w 12188952"/>
              <a:gd name="connsiteY7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88952" h="531873">
                <a:moveTo>
                  <a:pt x="8400285" y="0"/>
                </a:moveTo>
                <a:lnTo>
                  <a:pt x="12188950" y="0"/>
                </a:lnTo>
                <a:lnTo>
                  <a:pt x="12188950" y="239773"/>
                </a:lnTo>
                <a:lnTo>
                  <a:pt x="12188952" y="239773"/>
                </a:lnTo>
                <a:lnTo>
                  <a:pt x="12188952" y="531873"/>
                </a:lnTo>
                <a:lnTo>
                  <a:pt x="0" y="531873"/>
                </a:lnTo>
                <a:lnTo>
                  <a:pt x="0" y="239773"/>
                </a:lnTo>
                <a:lnTo>
                  <a:pt x="8220629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900">
              <a:solidFill>
                <a:srgbClr val="FFFFFF"/>
              </a:solidFill>
            </a:endParaRPr>
          </a:p>
        </p:txBody>
      </p:sp>
      <p:sp>
        <p:nvSpPr>
          <p:cNvPr id="20" name="Title 1">
            <a:extLst>
              <a:ext uri="{FF2B5EF4-FFF2-40B4-BE49-F238E27FC236}">
                <a16:creationId xmlns:a16="http://schemas.microsoft.com/office/drawing/2014/main" id="{5256DD11-030E-4276-B7F9-8800AF6ADF2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1122363"/>
            <a:ext cx="9144000" cy="2387600"/>
          </a:xfrm>
        </p:spPr>
        <p:txBody>
          <a:bodyPr vert="horz" anchor="b">
            <a:noAutofit/>
          </a:bodyPr>
          <a:lstStyle>
            <a:lvl1pPr algn="ctr">
              <a:defRPr sz="4500" b="1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</a:t>
            </a:r>
            <a:br>
              <a:rPr lang="en-US"/>
            </a:br>
            <a:r>
              <a:rPr lang="en-US"/>
              <a:t>title style</a:t>
            </a:r>
            <a:endParaRPr lang="en-IN"/>
          </a:p>
        </p:txBody>
      </p:sp>
      <p:sp>
        <p:nvSpPr>
          <p:cNvPr id="21" name="Subtitle 2">
            <a:extLst>
              <a:ext uri="{FF2B5EF4-FFF2-40B4-BE49-F238E27FC236}">
                <a16:creationId xmlns:a16="http://schemas.microsoft.com/office/drawing/2014/main" id="{780C3700-E3C2-478C-8875-962D0768B72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  <a:endParaRPr lang="en-IN"/>
          </a:p>
        </p:txBody>
      </p:sp>
      <p:pic>
        <p:nvPicPr>
          <p:cNvPr id="28" name="Picture 27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897" y="574339"/>
            <a:ext cx="1550283" cy="4007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552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</p:sldLayout>
</file>

<file path=ppt/slideLayouts/slideLayout3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lient Agenda Section Header">
    <p:bg>
      <p:bgPr>
        <a:solidFill>
          <a:srgbClr val="ED1C2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16972934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/>
          <p:cNvSpPr/>
          <p:nvPr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900">
              <a:solidFill>
                <a:schemeClr val="bg1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1285200" y="2667600"/>
            <a:ext cx="9619200" cy="3200400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500">
              <a:solidFill>
                <a:prstClr val="white"/>
              </a:solidFill>
              <a:latin typeface="Trebuchet MS" panose="020B0603020202020204" pitchFamily="34" charset="0"/>
            </a:endParaRPr>
          </a:p>
        </p:txBody>
      </p:sp>
      <p:sp>
        <p:nvSpPr>
          <p:cNvPr id="8" name="Copyright" hidden="1"/>
          <p:cNvSpPr txBox="1"/>
          <p:nvPr/>
        </p:nvSpPr>
        <p:spPr>
          <a:xfrm rot="16200000">
            <a:off x="9486902" y="3533783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897" y="572658"/>
            <a:ext cx="1550283" cy="403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696232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</p:sldLayout>
</file>

<file path=ppt/slideLayouts/slideLayout3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69004287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Copyright" hidden="1"/>
          <p:cNvSpPr txBox="1"/>
          <p:nvPr/>
        </p:nvSpPr>
        <p:spPr>
          <a:xfrm rot="16200000">
            <a:off x="9486902" y="3533783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2000251" y="622800"/>
            <a:ext cx="9563100" cy="353174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2550" b="0" i="0" u="none" kern="1200" spc="0">
                <a:solidFill>
                  <a:srgbClr val="FF000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0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1" y="6553592"/>
            <a:ext cx="1482051" cy="115416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75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" name="Copyright">
            <a:extLst>
              <a:ext uri="{FF2B5EF4-FFF2-40B4-BE49-F238E27FC236}">
                <a16:creationId xmlns:a16="http://schemas.microsoft.com/office/drawing/2014/main" id="{75D066C0-68F8-A976-BDEF-BA3448759C9E}"/>
              </a:ext>
            </a:extLst>
          </p:cNvPr>
          <p:cNvSpPr txBox="1"/>
          <p:nvPr/>
        </p:nvSpPr>
        <p:spPr>
          <a:xfrm rot="16200000">
            <a:off x="9486902" y="3934616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40094454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ex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5914716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FCE4FFF-81B3-4CDA-B0A1-3363FFB22A6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000251" y="622800"/>
            <a:ext cx="9563100" cy="353174"/>
          </a:xfrm>
        </p:spPr>
        <p:txBody>
          <a:bodyPr vert="horz"/>
          <a:lstStyle>
            <a:lvl1pPr>
              <a:defRPr sz="2550"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1F54B2F8-C51F-4566-BAC0-8A0C8E57548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29401" y="2085630"/>
            <a:ext cx="10933801" cy="4089131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500"/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500"/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500"/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100"/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Copyright" hidden="1"/>
          <p:cNvSpPr txBox="1"/>
          <p:nvPr/>
        </p:nvSpPr>
        <p:spPr>
          <a:xfrm rot="16200000">
            <a:off x="9486902" y="3533783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0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1" y="6553592"/>
            <a:ext cx="1482051" cy="115416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75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440399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</p:sldLayout>
</file>

<file path=ppt/slideLayouts/slideLayout3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Gray slice head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/>
        </p:nvSpPr>
        <p:spPr bwMode="ltGray">
          <a:xfrm>
            <a:off x="1" y="-1309"/>
            <a:ext cx="46944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750"/>
              </a:spcAft>
            </a:pPr>
            <a:endParaRPr lang="en-US" sz="900">
              <a:solidFill>
                <a:schemeClr val="bg1"/>
              </a:solidFill>
              <a:latin typeface="+mn-lt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ltGray">
          <a:xfrm>
            <a:off x="630000" y="1544274"/>
            <a:ext cx="3452400" cy="1495794"/>
          </a:xfrm>
          <a:noFill/>
        </p:spPr>
        <p:txBody>
          <a:bodyPr vert="horz" wrap="square" lIns="0" tIns="0" rIns="320040" bIns="0" anchor="b">
            <a:noAutofit/>
          </a:bodyPr>
          <a:lstStyle>
            <a:lvl1pPr>
              <a:defRPr sz="2400">
                <a:solidFill>
                  <a:srgbClr val="FF0000"/>
                </a:solidFill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2" name="Copyright" hidden="1"/>
          <p:cNvSpPr txBox="1"/>
          <p:nvPr/>
        </p:nvSpPr>
        <p:spPr>
          <a:xfrm rot="16200000">
            <a:off x="9486902" y="3533783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3" name="Freeform: Shape 31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/>
        </p:nvSpPr>
        <p:spPr>
          <a:xfrm>
            <a:off x="0" y="6326129"/>
            <a:ext cx="12188952" cy="531873"/>
          </a:xfrm>
          <a:custGeom>
            <a:avLst/>
            <a:gdLst>
              <a:gd name="connsiteX0" fmla="*/ 8400285 w 12188952"/>
              <a:gd name="connsiteY0" fmla="*/ 0 h 531873"/>
              <a:gd name="connsiteX1" fmla="*/ 12188950 w 12188952"/>
              <a:gd name="connsiteY1" fmla="*/ 0 h 531873"/>
              <a:gd name="connsiteX2" fmla="*/ 12188950 w 12188952"/>
              <a:gd name="connsiteY2" fmla="*/ 239773 h 531873"/>
              <a:gd name="connsiteX3" fmla="*/ 12188952 w 12188952"/>
              <a:gd name="connsiteY3" fmla="*/ 239773 h 531873"/>
              <a:gd name="connsiteX4" fmla="*/ 12188952 w 12188952"/>
              <a:gd name="connsiteY4" fmla="*/ 531873 h 531873"/>
              <a:gd name="connsiteX5" fmla="*/ 0 w 12188952"/>
              <a:gd name="connsiteY5" fmla="*/ 531873 h 531873"/>
              <a:gd name="connsiteX6" fmla="*/ 0 w 12188952"/>
              <a:gd name="connsiteY6" fmla="*/ 239773 h 531873"/>
              <a:gd name="connsiteX7" fmla="*/ 8220629 w 12188952"/>
              <a:gd name="connsiteY7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88952" h="531873">
                <a:moveTo>
                  <a:pt x="8400285" y="0"/>
                </a:moveTo>
                <a:lnTo>
                  <a:pt x="12188950" y="0"/>
                </a:lnTo>
                <a:lnTo>
                  <a:pt x="12188950" y="239773"/>
                </a:lnTo>
                <a:lnTo>
                  <a:pt x="12188952" y="239773"/>
                </a:lnTo>
                <a:lnTo>
                  <a:pt x="12188952" y="531873"/>
                </a:lnTo>
                <a:lnTo>
                  <a:pt x="0" y="531873"/>
                </a:lnTo>
                <a:lnTo>
                  <a:pt x="0" y="239773"/>
                </a:lnTo>
                <a:lnTo>
                  <a:pt x="8220629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900">
              <a:solidFill>
                <a:srgbClr val="FFFFFF"/>
              </a:solidFill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5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1" y="6553592"/>
            <a:ext cx="1482051" cy="115416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75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6" name="Picture 15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897" y="574339"/>
            <a:ext cx="1550283" cy="400753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83B4F690-7BC8-BB3E-3A42-DB7F1E1290F8}"/>
              </a:ext>
            </a:extLst>
          </p:cNvPr>
          <p:cNvSpPr/>
          <p:nvPr/>
        </p:nvSpPr>
        <p:spPr bwMode="ltGray">
          <a:xfrm>
            <a:off x="1" y="-1309"/>
            <a:ext cx="46944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750"/>
              </a:spcAft>
            </a:pPr>
            <a:endParaRPr lang="en-US" sz="900">
              <a:solidFill>
                <a:schemeClr val="bg1"/>
              </a:solidFill>
              <a:latin typeface="+mn-lt"/>
            </a:endParaRPr>
          </a:p>
        </p:txBody>
      </p:sp>
      <p:sp>
        <p:nvSpPr>
          <p:cNvPr id="3" name="Copyright">
            <a:extLst>
              <a:ext uri="{FF2B5EF4-FFF2-40B4-BE49-F238E27FC236}">
                <a16:creationId xmlns:a16="http://schemas.microsoft.com/office/drawing/2014/main" id="{A5FCC416-9D99-700C-AEA0-C8351803E64F}"/>
              </a:ext>
            </a:extLst>
          </p:cNvPr>
          <p:cNvSpPr txBox="1"/>
          <p:nvPr/>
        </p:nvSpPr>
        <p:spPr>
          <a:xfrm rot="16200000">
            <a:off x="9486902" y="3934616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8710857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box">
    <p:bg bwMode="grayWhite"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284743" y="2668041"/>
            <a:ext cx="9620491" cy="3201026"/>
          </a:xfrm>
          <a:prstGeom prst="rect">
            <a:avLst/>
          </a:prstGeom>
          <a:ln w="9525">
            <a:solidFill>
              <a:schemeClr val="bg1"/>
            </a:solidFill>
          </a:ln>
        </p:spPr>
        <p:txBody>
          <a:bodyPr lIns="274320" tIns="274320" rIns="274320" bIns="137160" anchor="b">
            <a:noAutofit/>
          </a:bodyPr>
          <a:lstStyle>
            <a:lvl1pPr marL="0" algn="l" defTabSz="685800" rtl="0" eaLnBrk="1" fontAlgn="auto" latinLnBrk="0" hangingPunct="1">
              <a:lnSpc>
                <a:spcPts val="4500"/>
              </a:lnSpc>
              <a:spcBef>
                <a:spcPts val="0"/>
              </a:spcBef>
              <a:spcAft>
                <a:spcPts val="0"/>
              </a:spcAft>
              <a:defRPr lang="en-US" sz="4050" kern="1200" baseline="0" dirty="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sp>
        <p:nvSpPr>
          <p:cNvPr id="59" name="Rectangle 58"/>
          <p:cNvSpPr/>
          <p:nvPr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9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8" name="Copyright" hidden="1"/>
          <p:cNvSpPr txBox="1"/>
          <p:nvPr/>
        </p:nvSpPr>
        <p:spPr>
          <a:xfrm rot="16200000">
            <a:off x="9486902" y="3533783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1" y="6553592"/>
            <a:ext cx="1482051" cy="115416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75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897" y="572658"/>
            <a:ext cx="1550283" cy="403326"/>
          </a:xfrm>
          <a:prstGeom prst="rect">
            <a:avLst/>
          </a:prstGeom>
        </p:spPr>
      </p:pic>
      <p:sp>
        <p:nvSpPr>
          <p:cNvPr id="3" name="Copyright">
            <a:extLst>
              <a:ext uri="{FF2B5EF4-FFF2-40B4-BE49-F238E27FC236}">
                <a16:creationId xmlns:a16="http://schemas.microsoft.com/office/drawing/2014/main" id="{870CB4EA-3B7A-EA50-74D8-8E2D2E8AD284}"/>
              </a:ext>
            </a:extLst>
          </p:cNvPr>
          <p:cNvSpPr txBox="1"/>
          <p:nvPr/>
        </p:nvSpPr>
        <p:spPr>
          <a:xfrm rot="16200000">
            <a:off x="9486902" y="3934616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66ED9846-E45A-B0D4-1E3F-4F9C6BD7F4C1}"/>
              </a:ext>
            </a:extLst>
          </p:cNvPr>
          <p:cNvSpPr/>
          <p:nvPr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9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735613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0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line">
    <p:bg bwMode="blackWhite"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3826800"/>
            <a:ext cx="10936800" cy="2041200"/>
          </a:xfrm>
        </p:spPr>
        <p:txBody>
          <a:bodyPr anchor="t">
            <a:noAutofit/>
          </a:bodyPr>
          <a:lstStyle>
            <a:lvl1pPr>
              <a:defRPr sz="405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cxnSp>
        <p:nvCxnSpPr>
          <p:cNvPr id="148" name="Straight Connector 147"/>
          <p:cNvCxnSpPr/>
          <p:nvPr/>
        </p:nvCxnSpPr>
        <p:spPr bwMode="white">
          <a:xfrm>
            <a:off x="618899" y="3680016"/>
            <a:ext cx="11576304" cy="0"/>
          </a:xfrm>
          <a:prstGeom prst="line">
            <a:avLst/>
          </a:prstGeom>
          <a:ln w="19050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Box 6"/>
          <p:cNvSpPr txBox="1"/>
          <p:nvPr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1" y="6553592"/>
            <a:ext cx="1482051" cy="115416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75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897" y="572658"/>
            <a:ext cx="1550283" cy="403326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6690D572-AE4C-3CAA-3D78-94AC6479195F}"/>
              </a:ext>
            </a:extLst>
          </p:cNvPr>
          <p:cNvSpPr txBox="1"/>
          <p:nvPr/>
        </p:nvSpPr>
        <p:spPr>
          <a:xfrm>
            <a:off x="11167872" y="6443508"/>
            <a:ext cx="38100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32F154D1-38D1-24BD-B5CA-26708D5170AA}"/>
              </a:ext>
            </a:extLst>
          </p:cNvPr>
          <p:cNvCxnSpPr/>
          <p:nvPr/>
        </p:nvCxnSpPr>
        <p:spPr bwMode="white">
          <a:xfrm>
            <a:off x="618899" y="3680016"/>
            <a:ext cx="11576304" cy="0"/>
          </a:xfrm>
          <a:prstGeom prst="line">
            <a:avLst/>
          </a:prstGeom>
          <a:ln w="19050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1521325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0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White one third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Picture 15"/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4064995" y="0"/>
            <a:ext cx="416951" cy="6858000"/>
          </a:xfrm>
          <a:prstGeom prst="rect">
            <a:avLst/>
          </a:prstGeom>
        </p:spPr>
      </p:pic>
      <p:sp>
        <p:nvSpPr>
          <p:cNvPr id="26" name="Rectangle 25"/>
          <p:cNvSpPr/>
          <p:nvPr/>
        </p:nvSpPr>
        <p:spPr bwMode="white">
          <a:xfrm>
            <a:off x="1" y="0"/>
            <a:ext cx="4079508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9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7" name="Title 4"/>
          <p:cNvSpPr>
            <a:spLocks noGrp="1"/>
          </p:cNvSpPr>
          <p:nvPr>
            <p:ph type="title" hasCustomPrompt="1"/>
          </p:nvPr>
        </p:nvSpPr>
        <p:spPr>
          <a:xfrm>
            <a:off x="630001" y="2681103"/>
            <a:ext cx="3127881" cy="1495794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2400">
                <a:solidFill>
                  <a:srgbClr val="FF000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2" name="Copyright" hidden="1"/>
          <p:cNvSpPr txBox="1"/>
          <p:nvPr/>
        </p:nvSpPr>
        <p:spPr>
          <a:xfrm rot="16200000">
            <a:off x="9486902" y="3533783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21" name="Freeform 20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/>
        </p:nvSpPr>
        <p:spPr>
          <a:xfrm>
            <a:off x="0" y="6565900"/>
            <a:ext cx="4008608" cy="292100"/>
          </a:xfrm>
          <a:custGeom>
            <a:avLst/>
            <a:gdLst>
              <a:gd name="connsiteX0" fmla="*/ 0 w 4008608"/>
              <a:gd name="connsiteY0" fmla="*/ 0 h 292100"/>
              <a:gd name="connsiteX1" fmla="*/ 4008608 w 4008608"/>
              <a:gd name="connsiteY1" fmla="*/ 0 h 292100"/>
              <a:gd name="connsiteX2" fmla="*/ 4008608 w 4008608"/>
              <a:gd name="connsiteY2" fmla="*/ 292100 h 292100"/>
              <a:gd name="connsiteX3" fmla="*/ 0 w 4008608"/>
              <a:gd name="connsiteY3" fmla="*/ 292100 h 292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08608" h="292100">
                <a:moveTo>
                  <a:pt x="0" y="0"/>
                </a:moveTo>
                <a:lnTo>
                  <a:pt x="4008608" y="0"/>
                </a:lnTo>
                <a:lnTo>
                  <a:pt x="4008608" y="292100"/>
                </a:lnTo>
                <a:lnTo>
                  <a:pt x="0" y="292100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900">
              <a:solidFill>
                <a:srgbClr val="FFFFFF"/>
              </a:solidFill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5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1" y="6553592"/>
            <a:ext cx="1482051" cy="115416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75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897" y="574339"/>
            <a:ext cx="1550283" cy="400753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97C6A8D6-B4C3-3B88-BCC6-2BCDF70E14A8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4064995" y="0"/>
            <a:ext cx="416951" cy="6858000"/>
          </a:xfrm>
          <a:prstGeom prst="rect">
            <a:avLst/>
          </a:prstGeom>
        </p:spPr>
      </p:pic>
      <p:sp>
        <p:nvSpPr>
          <p:cNvPr id="4" name="Copyright">
            <a:extLst>
              <a:ext uri="{FF2B5EF4-FFF2-40B4-BE49-F238E27FC236}">
                <a16:creationId xmlns:a16="http://schemas.microsoft.com/office/drawing/2014/main" id="{3DA82A64-D4EB-4BA0-BC0E-47FAB1766907}"/>
              </a:ext>
            </a:extLst>
          </p:cNvPr>
          <p:cNvSpPr txBox="1"/>
          <p:nvPr/>
        </p:nvSpPr>
        <p:spPr>
          <a:xfrm rot="16200000">
            <a:off x="9486902" y="3934616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4AF5494D-12A1-A278-20AE-D2CAEE881504}"/>
              </a:ext>
            </a:extLst>
          </p:cNvPr>
          <p:cNvSpPr txBox="1"/>
          <p:nvPr/>
        </p:nvSpPr>
        <p:spPr>
          <a:xfrm>
            <a:off x="11167872" y="6443508"/>
            <a:ext cx="38100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5B8291CF-624F-B6B2-4D09-C540B4C4D562}"/>
              </a:ext>
            </a:extLst>
          </p:cNvPr>
          <p:cNvSpPr/>
          <p:nvPr/>
        </p:nvSpPr>
        <p:spPr bwMode="white">
          <a:xfrm>
            <a:off x="1" y="0"/>
            <a:ext cx="4079508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9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4764067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Green left arrow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14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gradFill flip="none" rotWithShape="1">
            <a:gsLst>
              <a:gs pos="0">
                <a:srgbClr val="403F85"/>
              </a:gs>
              <a:gs pos="81000">
                <a:srgbClr val="ED1B24"/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</p:spPr>
        <p:txBody>
          <a:bodyPr anchor="ctr" anchorCtr="0">
            <a:noAutofit/>
          </a:bodyPr>
          <a:lstStyle>
            <a:lvl1pPr>
              <a:defRPr sz="3200" baseline="0">
                <a:solidFill>
                  <a:srgbClr val="FFFFFF"/>
                </a:solidFill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216" b="7716"/>
          <a:stretch/>
        </p:blipFill>
        <p:spPr>
          <a:xfrm rot="120000">
            <a:off x="2174642" y="3402828"/>
            <a:ext cx="2694666" cy="3461745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  <p:sp>
        <p:nvSpPr>
          <p:cNvPr id="10" name="Copyright" hidden="1"/>
          <p:cNvSpPr txBox="1"/>
          <p:nvPr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22" name="Freeform 21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/>
        </p:nvSpPr>
        <p:spPr>
          <a:xfrm>
            <a:off x="3335834" y="6326127"/>
            <a:ext cx="8853119" cy="531873"/>
          </a:xfrm>
          <a:custGeom>
            <a:avLst/>
            <a:gdLst>
              <a:gd name="connsiteX0" fmla="*/ 5064452 w 8853119"/>
              <a:gd name="connsiteY0" fmla="*/ 0 h 531873"/>
              <a:gd name="connsiteX1" fmla="*/ 8853117 w 8853119"/>
              <a:gd name="connsiteY1" fmla="*/ 0 h 531873"/>
              <a:gd name="connsiteX2" fmla="*/ 8853117 w 8853119"/>
              <a:gd name="connsiteY2" fmla="*/ 239773 h 531873"/>
              <a:gd name="connsiteX3" fmla="*/ 8853119 w 8853119"/>
              <a:gd name="connsiteY3" fmla="*/ 239773 h 531873"/>
              <a:gd name="connsiteX4" fmla="*/ 8853119 w 8853119"/>
              <a:gd name="connsiteY4" fmla="*/ 531873 h 531873"/>
              <a:gd name="connsiteX5" fmla="*/ 0 w 8853119"/>
              <a:gd name="connsiteY5" fmla="*/ 531873 h 531873"/>
              <a:gd name="connsiteX6" fmla="*/ 70140 w 8853119"/>
              <a:gd name="connsiteY6" fmla="*/ 239773 h 531873"/>
              <a:gd name="connsiteX7" fmla="*/ 4884796 w 8853119"/>
              <a:gd name="connsiteY7" fmla="*/ 239773 h 531873"/>
              <a:gd name="connsiteX8" fmla="*/ 5064452 w 8853119"/>
              <a:gd name="connsiteY8" fmla="*/ 0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8853119" h="531873">
                <a:moveTo>
                  <a:pt x="5064452" y="0"/>
                </a:moveTo>
                <a:lnTo>
                  <a:pt x="8853117" y="0"/>
                </a:lnTo>
                <a:lnTo>
                  <a:pt x="8853117" y="239773"/>
                </a:lnTo>
                <a:lnTo>
                  <a:pt x="8853119" y="239773"/>
                </a:lnTo>
                <a:lnTo>
                  <a:pt x="8853119" y="531873"/>
                </a:lnTo>
                <a:lnTo>
                  <a:pt x="0" y="531873"/>
                </a:lnTo>
                <a:lnTo>
                  <a:pt x="70140" y="239773"/>
                </a:lnTo>
                <a:lnTo>
                  <a:pt x="4884796" y="239773"/>
                </a:lnTo>
                <a:lnTo>
                  <a:pt x="5064452" y="0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8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3" name="Picture 1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97222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Green highlight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9217795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7165607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/>
        </p:nvSpPr>
        <p:spPr bwMode="white">
          <a:xfrm>
            <a:off x="1" y="0"/>
            <a:ext cx="7171956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9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3" name="Title 3"/>
          <p:cNvSpPr>
            <a:spLocks noGrp="1"/>
          </p:cNvSpPr>
          <p:nvPr>
            <p:ph type="title" hasCustomPrompt="1"/>
          </p:nvPr>
        </p:nvSpPr>
        <p:spPr>
          <a:xfrm>
            <a:off x="2000250" y="622800"/>
            <a:ext cx="4886551" cy="353174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2550" b="0" i="0" u="none" kern="1200" spc="0">
                <a:solidFill>
                  <a:srgbClr val="FF000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2" name="Copyright" hidden="1"/>
          <p:cNvSpPr txBox="1"/>
          <p:nvPr/>
        </p:nvSpPr>
        <p:spPr>
          <a:xfrm rot="16200000">
            <a:off x="9486902" y="3533783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21" name="Freeform 20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/>
        </p:nvSpPr>
        <p:spPr>
          <a:xfrm>
            <a:off x="0" y="6565900"/>
            <a:ext cx="7101056" cy="292100"/>
          </a:xfrm>
          <a:custGeom>
            <a:avLst/>
            <a:gdLst>
              <a:gd name="connsiteX0" fmla="*/ 0 w 7101056"/>
              <a:gd name="connsiteY0" fmla="*/ 0 h 292100"/>
              <a:gd name="connsiteX1" fmla="*/ 7101056 w 7101056"/>
              <a:gd name="connsiteY1" fmla="*/ 0 h 292100"/>
              <a:gd name="connsiteX2" fmla="*/ 7101056 w 7101056"/>
              <a:gd name="connsiteY2" fmla="*/ 292100 h 292100"/>
              <a:gd name="connsiteX3" fmla="*/ 0 w 7101056"/>
              <a:gd name="connsiteY3" fmla="*/ 292100 h 292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101056" h="292100">
                <a:moveTo>
                  <a:pt x="0" y="0"/>
                </a:moveTo>
                <a:lnTo>
                  <a:pt x="7101056" y="0"/>
                </a:lnTo>
                <a:lnTo>
                  <a:pt x="7101056" y="292100"/>
                </a:lnTo>
                <a:lnTo>
                  <a:pt x="0" y="292100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900">
              <a:solidFill>
                <a:srgbClr val="FFFFFF"/>
              </a:solidFill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8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1" y="6553592"/>
            <a:ext cx="1482051" cy="115416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75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897" y="574339"/>
            <a:ext cx="1550283" cy="400753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C2F77E35-8794-9979-C393-E3A5266C815B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7165607" y="0"/>
            <a:ext cx="416951" cy="6858000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2CBD57A2-7DA3-4346-FFAC-50AAF4022406}"/>
              </a:ext>
            </a:extLst>
          </p:cNvPr>
          <p:cNvSpPr/>
          <p:nvPr/>
        </p:nvSpPr>
        <p:spPr bwMode="white">
          <a:xfrm>
            <a:off x="1" y="0"/>
            <a:ext cx="7171956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9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5" name="Copyright">
            <a:extLst>
              <a:ext uri="{FF2B5EF4-FFF2-40B4-BE49-F238E27FC236}">
                <a16:creationId xmlns:a16="http://schemas.microsoft.com/office/drawing/2014/main" id="{4F4E5357-09FA-1814-3C49-001128C799F5}"/>
              </a:ext>
            </a:extLst>
          </p:cNvPr>
          <p:cNvSpPr txBox="1"/>
          <p:nvPr/>
        </p:nvSpPr>
        <p:spPr>
          <a:xfrm rot="16200000">
            <a:off x="9486902" y="3934616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DD70417A-14FD-32D2-7187-F8524E5A4548}"/>
              </a:ext>
            </a:extLst>
          </p:cNvPr>
          <p:cNvSpPr txBox="1"/>
          <p:nvPr/>
        </p:nvSpPr>
        <p:spPr>
          <a:xfrm>
            <a:off x="11167872" y="6443508"/>
            <a:ext cx="38100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8662170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Green one third">
    <p:bg>
      <p:bgPr>
        <a:gradFill>
          <a:gsLst>
            <a:gs pos="39000">
              <a:srgbClr val="D81F30"/>
            </a:gs>
            <a:gs pos="100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70" y="0"/>
            <a:ext cx="416951" cy="6858000"/>
          </a:xfrm>
          <a:prstGeom prst="rect">
            <a:avLst/>
          </a:prstGeom>
        </p:spPr>
      </p:pic>
      <p:sp>
        <p:nvSpPr>
          <p:cNvPr id="11" name="Title 4"/>
          <p:cNvSpPr>
            <a:spLocks noGrp="1"/>
          </p:cNvSpPr>
          <p:nvPr>
            <p:ph type="title" hasCustomPrompt="1"/>
          </p:nvPr>
        </p:nvSpPr>
        <p:spPr>
          <a:xfrm>
            <a:off x="630001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3" name="Rectangle 12"/>
          <p:cNvSpPr/>
          <p:nvPr/>
        </p:nvSpPr>
        <p:spPr bwMode="white">
          <a:xfrm>
            <a:off x="4080764" y="-1309"/>
            <a:ext cx="8111237" cy="685930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9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9" name="Copyright" hidden="1"/>
          <p:cNvSpPr txBox="1"/>
          <p:nvPr/>
        </p:nvSpPr>
        <p:spPr>
          <a:xfrm rot="16200000">
            <a:off x="9486902" y="3533783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21" name="Freeform 20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/>
        </p:nvSpPr>
        <p:spPr>
          <a:xfrm>
            <a:off x="4151665" y="6326129"/>
            <a:ext cx="8037289" cy="531873"/>
          </a:xfrm>
          <a:custGeom>
            <a:avLst/>
            <a:gdLst>
              <a:gd name="connsiteX0" fmla="*/ 4248622 w 8037289"/>
              <a:gd name="connsiteY0" fmla="*/ 0 h 531873"/>
              <a:gd name="connsiteX1" fmla="*/ 8037287 w 8037289"/>
              <a:gd name="connsiteY1" fmla="*/ 0 h 531873"/>
              <a:gd name="connsiteX2" fmla="*/ 8037287 w 8037289"/>
              <a:gd name="connsiteY2" fmla="*/ 239773 h 531873"/>
              <a:gd name="connsiteX3" fmla="*/ 8037289 w 8037289"/>
              <a:gd name="connsiteY3" fmla="*/ 239773 h 531873"/>
              <a:gd name="connsiteX4" fmla="*/ 8037289 w 8037289"/>
              <a:gd name="connsiteY4" fmla="*/ 531873 h 531873"/>
              <a:gd name="connsiteX5" fmla="*/ 0 w 8037289"/>
              <a:gd name="connsiteY5" fmla="*/ 531873 h 531873"/>
              <a:gd name="connsiteX6" fmla="*/ 0 w 8037289"/>
              <a:gd name="connsiteY6" fmla="*/ 239773 h 531873"/>
              <a:gd name="connsiteX7" fmla="*/ 4068966 w 8037289"/>
              <a:gd name="connsiteY7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037289" h="531873">
                <a:moveTo>
                  <a:pt x="4248622" y="0"/>
                </a:moveTo>
                <a:lnTo>
                  <a:pt x="8037287" y="0"/>
                </a:lnTo>
                <a:lnTo>
                  <a:pt x="8037287" y="239773"/>
                </a:lnTo>
                <a:lnTo>
                  <a:pt x="8037289" y="239773"/>
                </a:lnTo>
                <a:lnTo>
                  <a:pt x="8037289" y="531873"/>
                </a:lnTo>
                <a:lnTo>
                  <a:pt x="0" y="531873"/>
                </a:lnTo>
                <a:lnTo>
                  <a:pt x="0" y="239773"/>
                </a:lnTo>
                <a:lnTo>
                  <a:pt x="4068966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900">
              <a:solidFill>
                <a:srgbClr val="FFFFFF"/>
              </a:solidFill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9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1" y="6553592"/>
            <a:ext cx="1482051" cy="115416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75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897" y="572658"/>
            <a:ext cx="1550283" cy="403326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D0E4E4B9-1351-C1FA-C91E-4FE131E45F23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70" y="0"/>
            <a:ext cx="416951" cy="6858000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AFD3A707-48B4-9FE4-40F0-E2DF7800F466}"/>
              </a:ext>
            </a:extLst>
          </p:cNvPr>
          <p:cNvSpPr/>
          <p:nvPr/>
        </p:nvSpPr>
        <p:spPr bwMode="white">
          <a:xfrm>
            <a:off x="4080764" y="-1309"/>
            <a:ext cx="8111237" cy="685930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9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4" name="Copyright">
            <a:extLst>
              <a:ext uri="{FF2B5EF4-FFF2-40B4-BE49-F238E27FC236}">
                <a16:creationId xmlns:a16="http://schemas.microsoft.com/office/drawing/2014/main" id="{0344B3A5-E637-60D5-566A-990F8D15AF6A}"/>
              </a:ext>
            </a:extLst>
          </p:cNvPr>
          <p:cNvSpPr txBox="1"/>
          <p:nvPr/>
        </p:nvSpPr>
        <p:spPr>
          <a:xfrm rot="16200000">
            <a:off x="9486902" y="3934616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6661BC97-6DC3-2137-2014-432D7BF2E230}"/>
              </a:ext>
            </a:extLst>
          </p:cNvPr>
          <p:cNvSpPr txBox="1"/>
          <p:nvPr/>
        </p:nvSpPr>
        <p:spPr>
          <a:xfrm>
            <a:off x="11167872" y="6443508"/>
            <a:ext cx="38100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0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7146811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Green half">
    <p:bg bwMode="grayWhite">
      <p:bgPr>
        <a:gradFill>
          <a:gsLst>
            <a:gs pos="39000">
              <a:srgbClr val="D81F30"/>
            </a:gs>
            <a:gs pos="100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5689583" y="0"/>
            <a:ext cx="416951" cy="6858000"/>
          </a:xfrm>
          <a:prstGeom prst="rect">
            <a:avLst/>
          </a:prstGeom>
        </p:spPr>
      </p:pic>
      <p:sp>
        <p:nvSpPr>
          <p:cNvPr id="12" name="Rectangle 11"/>
          <p:cNvSpPr/>
          <p:nvPr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750"/>
              </a:spcAft>
            </a:pPr>
            <a:endParaRPr lang="en-US" sz="9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3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2022" y="0"/>
            <a:ext cx="6099977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350" baseline="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630000" y="1785600"/>
            <a:ext cx="4388400" cy="3286800"/>
          </a:xfrm>
          <a:prstGeom prst="rect">
            <a:avLst/>
          </a:prstGeom>
          <a:noFill/>
        </p:spPr>
        <p:txBody>
          <a:bodyPr wrap="square" lIns="0" tIns="0" rIns="320040" bIns="0" anchor="ctr">
            <a:noAutofit/>
          </a:bodyPr>
          <a:lstStyle>
            <a:lvl1pPr>
              <a:defRPr sz="33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0" name="Copyright" hidden="1"/>
          <p:cNvSpPr txBox="1"/>
          <p:nvPr/>
        </p:nvSpPr>
        <p:spPr>
          <a:xfrm rot="16200000">
            <a:off x="9486902" y="3533783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23" name="Freeform 22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/>
        </p:nvSpPr>
        <p:spPr>
          <a:xfrm>
            <a:off x="6162923" y="6326129"/>
            <a:ext cx="6026031" cy="531873"/>
          </a:xfrm>
          <a:custGeom>
            <a:avLst/>
            <a:gdLst>
              <a:gd name="connsiteX0" fmla="*/ 2237364 w 6026031"/>
              <a:gd name="connsiteY0" fmla="*/ 0 h 531873"/>
              <a:gd name="connsiteX1" fmla="*/ 6026029 w 6026031"/>
              <a:gd name="connsiteY1" fmla="*/ 0 h 531873"/>
              <a:gd name="connsiteX2" fmla="*/ 6026029 w 6026031"/>
              <a:gd name="connsiteY2" fmla="*/ 239773 h 531873"/>
              <a:gd name="connsiteX3" fmla="*/ 6026031 w 6026031"/>
              <a:gd name="connsiteY3" fmla="*/ 239773 h 531873"/>
              <a:gd name="connsiteX4" fmla="*/ 6026031 w 6026031"/>
              <a:gd name="connsiteY4" fmla="*/ 531873 h 531873"/>
              <a:gd name="connsiteX5" fmla="*/ 0 w 6026031"/>
              <a:gd name="connsiteY5" fmla="*/ 531873 h 531873"/>
              <a:gd name="connsiteX6" fmla="*/ 0 w 6026031"/>
              <a:gd name="connsiteY6" fmla="*/ 239773 h 531873"/>
              <a:gd name="connsiteX7" fmla="*/ 2057708 w 6026031"/>
              <a:gd name="connsiteY7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026031" h="531873">
                <a:moveTo>
                  <a:pt x="2237364" y="0"/>
                </a:moveTo>
                <a:lnTo>
                  <a:pt x="6026029" y="0"/>
                </a:lnTo>
                <a:lnTo>
                  <a:pt x="6026029" y="239773"/>
                </a:lnTo>
                <a:lnTo>
                  <a:pt x="6026031" y="239773"/>
                </a:lnTo>
                <a:lnTo>
                  <a:pt x="6026031" y="531873"/>
                </a:lnTo>
                <a:lnTo>
                  <a:pt x="0" y="531873"/>
                </a:lnTo>
                <a:lnTo>
                  <a:pt x="0" y="239773"/>
                </a:lnTo>
                <a:lnTo>
                  <a:pt x="2057708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900">
              <a:solidFill>
                <a:srgbClr val="FFFFFF"/>
              </a:solidFill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0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1" y="6553592"/>
            <a:ext cx="1482051" cy="115416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75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6" name="Picture 1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897" y="572658"/>
            <a:ext cx="1550283" cy="403326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BA6B9791-4D10-A1E9-213F-5F5D0C568CA5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5689583" y="0"/>
            <a:ext cx="416951" cy="6858000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56F37AC2-6E50-8FB6-8620-85D489ED06B4}"/>
              </a:ext>
            </a:extLst>
          </p:cNvPr>
          <p:cNvSpPr/>
          <p:nvPr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750"/>
              </a:spcAft>
            </a:pPr>
            <a:endParaRPr lang="en-US" sz="9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C695275-73FC-1904-7DDA-C8F4153B78AC}"/>
              </a:ext>
            </a:extLst>
          </p:cNvPr>
          <p:cNvSpPr txBox="1"/>
          <p:nvPr/>
        </p:nvSpPr>
        <p:spPr>
          <a:xfrm>
            <a:off x="11167872" y="6443508"/>
            <a:ext cx="38100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600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5" name="Copyright">
            <a:extLst>
              <a:ext uri="{FF2B5EF4-FFF2-40B4-BE49-F238E27FC236}">
                <a16:creationId xmlns:a16="http://schemas.microsoft.com/office/drawing/2014/main" id="{71A11F34-B372-1296-76D8-4DE5FFFF2427}"/>
              </a:ext>
            </a:extLst>
          </p:cNvPr>
          <p:cNvSpPr txBox="1"/>
          <p:nvPr/>
        </p:nvSpPr>
        <p:spPr>
          <a:xfrm rot="16200000">
            <a:off x="9486902" y="3934616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87391535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Green two third">
    <p:bg bwMode="grayWhite">
      <p:bgPr>
        <a:gradFill>
          <a:gsLst>
            <a:gs pos="39000">
              <a:srgbClr val="D81F30"/>
            </a:gs>
            <a:gs pos="100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7409850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/>
        </p:nvSpPr>
        <p:spPr bwMode="gray">
          <a:xfrm>
            <a:off x="7819545" y="0"/>
            <a:ext cx="4372457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9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1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20026" y="0"/>
            <a:ext cx="4371975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200">
                <a:solidFill>
                  <a:schemeClr val="tx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1804650"/>
            <a:ext cx="6247552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3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17" name="Copyright" hidden="1"/>
          <p:cNvSpPr txBox="1"/>
          <p:nvPr/>
        </p:nvSpPr>
        <p:spPr>
          <a:xfrm rot="16200000">
            <a:off x="9486902" y="3533783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22" name="Freeform 21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/>
        </p:nvSpPr>
        <p:spPr>
          <a:xfrm>
            <a:off x="7890927" y="6326129"/>
            <a:ext cx="4298027" cy="531873"/>
          </a:xfrm>
          <a:custGeom>
            <a:avLst/>
            <a:gdLst>
              <a:gd name="connsiteX0" fmla="*/ 509360 w 4298027"/>
              <a:gd name="connsiteY0" fmla="*/ 0 h 531873"/>
              <a:gd name="connsiteX1" fmla="*/ 4298025 w 4298027"/>
              <a:gd name="connsiteY1" fmla="*/ 0 h 531873"/>
              <a:gd name="connsiteX2" fmla="*/ 4298025 w 4298027"/>
              <a:gd name="connsiteY2" fmla="*/ 239773 h 531873"/>
              <a:gd name="connsiteX3" fmla="*/ 4298027 w 4298027"/>
              <a:gd name="connsiteY3" fmla="*/ 239773 h 531873"/>
              <a:gd name="connsiteX4" fmla="*/ 4298027 w 4298027"/>
              <a:gd name="connsiteY4" fmla="*/ 531873 h 531873"/>
              <a:gd name="connsiteX5" fmla="*/ 0 w 4298027"/>
              <a:gd name="connsiteY5" fmla="*/ 531873 h 531873"/>
              <a:gd name="connsiteX6" fmla="*/ 0 w 4298027"/>
              <a:gd name="connsiteY6" fmla="*/ 239773 h 531873"/>
              <a:gd name="connsiteX7" fmla="*/ 329704 w 4298027"/>
              <a:gd name="connsiteY7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298027" h="531873">
                <a:moveTo>
                  <a:pt x="509360" y="0"/>
                </a:moveTo>
                <a:lnTo>
                  <a:pt x="4298025" y="0"/>
                </a:lnTo>
                <a:lnTo>
                  <a:pt x="4298025" y="239773"/>
                </a:lnTo>
                <a:lnTo>
                  <a:pt x="4298027" y="239773"/>
                </a:lnTo>
                <a:lnTo>
                  <a:pt x="4298027" y="531873"/>
                </a:lnTo>
                <a:lnTo>
                  <a:pt x="0" y="531873"/>
                </a:lnTo>
                <a:lnTo>
                  <a:pt x="0" y="239773"/>
                </a:lnTo>
                <a:lnTo>
                  <a:pt x="329704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900">
              <a:solidFill>
                <a:srgbClr val="FFFFFF"/>
              </a:solidFill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0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1" y="6553592"/>
            <a:ext cx="1482051" cy="115416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75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3" name="Picture 1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897" y="572658"/>
            <a:ext cx="1550283" cy="403326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FD60C099-9C77-7820-37C7-AA69C3912F3E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7409850" y="0"/>
            <a:ext cx="416951" cy="6858000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BDE0767E-3A47-8F55-7E5C-3866F6889622}"/>
              </a:ext>
            </a:extLst>
          </p:cNvPr>
          <p:cNvSpPr/>
          <p:nvPr/>
        </p:nvSpPr>
        <p:spPr bwMode="gray">
          <a:xfrm>
            <a:off x="7819545" y="0"/>
            <a:ext cx="4372457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9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4" name="Copyright">
            <a:extLst>
              <a:ext uri="{FF2B5EF4-FFF2-40B4-BE49-F238E27FC236}">
                <a16:creationId xmlns:a16="http://schemas.microsoft.com/office/drawing/2014/main" id="{9D25B035-B75D-56A7-898F-AABE62A04BDA}"/>
              </a:ext>
            </a:extLst>
          </p:cNvPr>
          <p:cNvSpPr txBox="1"/>
          <p:nvPr/>
        </p:nvSpPr>
        <p:spPr>
          <a:xfrm rot="16200000">
            <a:off x="9486902" y="3929410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008ECC2E-E036-04CC-B7E3-04625C118C3C}"/>
              </a:ext>
            </a:extLst>
          </p:cNvPr>
          <p:cNvSpPr txBox="1"/>
          <p:nvPr/>
        </p:nvSpPr>
        <p:spPr>
          <a:xfrm>
            <a:off x="11167872" y="6443508"/>
            <a:ext cx="38100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600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75394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Left arrow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Freeform 14"/>
          <p:cNvSpPr/>
          <p:nvPr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750"/>
              </a:spcAft>
            </a:pPr>
            <a:endParaRPr lang="en-US" sz="9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pic>
        <p:nvPicPr>
          <p:cNvPr id="9" name="Picture 8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32441" y="3590399"/>
            <a:ext cx="1365251" cy="3382962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Title 2"/>
          <p:cNvSpPr>
            <a:spLocks noGrp="1"/>
          </p:cNvSpPr>
          <p:nvPr>
            <p:ph type="title" hasCustomPrompt="1"/>
          </p:nvPr>
        </p:nvSpPr>
        <p:spPr>
          <a:xfrm>
            <a:off x="630001" y="2764205"/>
            <a:ext cx="2478639" cy="1314311"/>
          </a:xfrm>
        </p:spPr>
        <p:txBody>
          <a:bodyPr vert="horz" anchor="ctr" anchorCtr="0">
            <a:noAutofit/>
          </a:bodyPr>
          <a:lstStyle>
            <a:lvl1pPr>
              <a:defRPr sz="2400" baseline="0">
                <a:solidFill>
                  <a:srgbClr val="FF0000"/>
                </a:solidFill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8" name="Copyright" hidden="1"/>
          <p:cNvSpPr txBox="1"/>
          <p:nvPr/>
        </p:nvSpPr>
        <p:spPr>
          <a:xfrm rot="16200000">
            <a:off x="9486902" y="3533783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28" name="Freeform 27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/>
        </p:nvSpPr>
        <p:spPr>
          <a:xfrm>
            <a:off x="1" y="6565900"/>
            <a:ext cx="3266011" cy="292100"/>
          </a:xfrm>
          <a:custGeom>
            <a:avLst/>
            <a:gdLst>
              <a:gd name="connsiteX0" fmla="*/ 0 w 3266011"/>
              <a:gd name="connsiteY0" fmla="*/ 0 h 292100"/>
              <a:gd name="connsiteX1" fmla="*/ 3266011 w 3266011"/>
              <a:gd name="connsiteY1" fmla="*/ 0 h 292100"/>
              <a:gd name="connsiteX2" fmla="*/ 3195872 w 3266011"/>
              <a:gd name="connsiteY2" fmla="*/ 292100 h 292100"/>
              <a:gd name="connsiteX3" fmla="*/ 0 w 3266011"/>
              <a:gd name="connsiteY3" fmla="*/ 292100 h 292100"/>
              <a:gd name="connsiteX4" fmla="*/ 0 w 3266011"/>
              <a:gd name="connsiteY4" fmla="*/ 0 h 292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266011" h="292100">
                <a:moveTo>
                  <a:pt x="0" y="0"/>
                </a:moveTo>
                <a:lnTo>
                  <a:pt x="3266011" y="0"/>
                </a:lnTo>
                <a:lnTo>
                  <a:pt x="3195872" y="292100"/>
                </a:lnTo>
                <a:lnTo>
                  <a:pt x="0" y="292100"/>
                </a:lnTo>
                <a:lnTo>
                  <a:pt x="0" y="0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900">
              <a:solidFill>
                <a:srgbClr val="FFFFFF"/>
              </a:solidFill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2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1" y="6553592"/>
            <a:ext cx="1482051" cy="115416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75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897" y="574339"/>
            <a:ext cx="1550283" cy="400753"/>
          </a:xfrm>
          <a:prstGeom prst="rect">
            <a:avLst/>
          </a:prstGeom>
        </p:spPr>
      </p:pic>
      <p:sp>
        <p:nvSpPr>
          <p:cNvPr id="2" name="Freeform 14">
            <a:extLst>
              <a:ext uri="{FF2B5EF4-FFF2-40B4-BE49-F238E27FC236}">
                <a16:creationId xmlns:a16="http://schemas.microsoft.com/office/drawing/2014/main" id="{D48841B0-EBA4-7316-1F97-3DE0AB94D45B}"/>
              </a:ext>
            </a:extLst>
          </p:cNvPr>
          <p:cNvSpPr/>
          <p:nvPr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750"/>
              </a:spcAft>
            </a:pPr>
            <a:endParaRPr lang="en-US" sz="9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4" name="Copyright">
            <a:extLst>
              <a:ext uri="{FF2B5EF4-FFF2-40B4-BE49-F238E27FC236}">
                <a16:creationId xmlns:a16="http://schemas.microsoft.com/office/drawing/2014/main" id="{1310B0CF-14A2-CC4C-4499-D347439DA117}"/>
              </a:ext>
            </a:extLst>
          </p:cNvPr>
          <p:cNvSpPr txBox="1"/>
          <p:nvPr/>
        </p:nvSpPr>
        <p:spPr>
          <a:xfrm rot="16200000">
            <a:off x="9486902" y="3934616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305F3325-B4F5-643A-B87D-55B4F2516523}"/>
              </a:ext>
            </a:extLst>
          </p:cNvPr>
          <p:cNvSpPr txBox="1"/>
          <p:nvPr/>
        </p:nvSpPr>
        <p:spPr>
          <a:xfrm>
            <a:off x="11167872" y="6443508"/>
            <a:ext cx="38100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25E0D146-A36C-1D7F-E24D-F5341474423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32441" y="3590399"/>
            <a:ext cx="1365251" cy="3382962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89624001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Green left arrow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14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gradFill flip="none" rotWithShape="1">
            <a:gsLst>
              <a:gs pos="0">
                <a:srgbClr val="403F85"/>
              </a:gs>
              <a:gs pos="81000">
                <a:srgbClr val="ED1B24"/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endParaRPr lang="en-US" sz="150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1" y="2764205"/>
            <a:ext cx="2478639" cy="1314311"/>
          </a:xfrm>
        </p:spPr>
        <p:txBody>
          <a:bodyPr anchor="ctr" anchorCtr="0">
            <a:noAutofit/>
          </a:bodyPr>
          <a:lstStyle>
            <a:lvl1pPr>
              <a:defRPr sz="2400" baseline="0">
                <a:solidFill>
                  <a:srgbClr val="FFFFFF"/>
                </a:solidFill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216" b="7716"/>
          <a:stretch/>
        </p:blipFill>
        <p:spPr>
          <a:xfrm rot="120000">
            <a:off x="2174641" y="3402830"/>
            <a:ext cx="2694667" cy="3461745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  <p:sp>
        <p:nvSpPr>
          <p:cNvPr id="10" name="Copyright" hidden="1"/>
          <p:cNvSpPr txBox="1"/>
          <p:nvPr/>
        </p:nvSpPr>
        <p:spPr>
          <a:xfrm rot="16200000">
            <a:off x="9486902" y="3533783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22" name="Freeform 21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/>
        </p:nvSpPr>
        <p:spPr>
          <a:xfrm>
            <a:off x="3335835" y="6326129"/>
            <a:ext cx="8853119" cy="531873"/>
          </a:xfrm>
          <a:custGeom>
            <a:avLst/>
            <a:gdLst>
              <a:gd name="connsiteX0" fmla="*/ 5064452 w 8853119"/>
              <a:gd name="connsiteY0" fmla="*/ 0 h 531873"/>
              <a:gd name="connsiteX1" fmla="*/ 8853117 w 8853119"/>
              <a:gd name="connsiteY1" fmla="*/ 0 h 531873"/>
              <a:gd name="connsiteX2" fmla="*/ 8853117 w 8853119"/>
              <a:gd name="connsiteY2" fmla="*/ 239773 h 531873"/>
              <a:gd name="connsiteX3" fmla="*/ 8853119 w 8853119"/>
              <a:gd name="connsiteY3" fmla="*/ 239773 h 531873"/>
              <a:gd name="connsiteX4" fmla="*/ 8853119 w 8853119"/>
              <a:gd name="connsiteY4" fmla="*/ 531873 h 531873"/>
              <a:gd name="connsiteX5" fmla="*/ 0 w 8853119"/>
              <a:gd name="connsiteY5" fmla="*/ 531873 h 531873"/>
              <a:gd name="connsiteX6" fmla="*/ 70140 w 8853119"/>
              <a:gd name="connsiteY6" fmla="*/ 239773 h 531873"/>
              <a:gd name="connsiteX7" fmla="*/ 4884796 w 8853119"/>
              <a:gd name="connsiteY7" fmla="*/ 239773 h 531873"/>
              <a:gd name="connsiteX8" fmla="*/ 5064452 w 8853119"/>
              <a:gd name="connsiteY8" fmla="*/ 0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8853119" h="531873">
                <a:moveTo>
                  <a:pt x="5064452" y="0"/>
                </a:moveTo>
                <a:lnTo>
                  <a:pt x="8853117" y="0"/>
                </a:lnTo>
                <a:lnTo>
                  <a:pt x="8853117" y="239773"/>
                </a:lnTo>
                <a:lnTo>
                  <a:pt x="8853119" y="239773"/>
                </a:lnTo>
                <a:lnTo>
                  <a:pt x="8853119" y="531873"/>
                </a:lnTo>
                <a:lnTo>
                  <a:pt x="0" y="531873"/>
                </a:lnTo>
                <a:lnTo>
                  <a:pt x="70140" y="239773"/>
                </a:lnTo>
                <a:lnTo>
                  <a:pt x="4884796" y="239773"/>
                </a:lnTo>
                <a:lnTo>
                  <a:pt x="5064452" y="0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900">
              <a:solidFill>
                <a:srgbClr val="FFFFFF"/>
              </a:solidFill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8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1" y="6553592"/>
            <a:ext cx="1482051" cy="115416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75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3" name="Picture 1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897" y="572658"/>
            <a:ext cx="1550283" cy="403326"/>
          </a:xfrm>
          <a:prstGeom prst="rect">
            <a:avLst/>
          </a:prstGeom>
        </p:spPr>
      </p:pic>
      <p:sp>
        <p:nvSpPr>
          <p:cNvPr id="2" name="Freeform 14">
            <a:extLst>
              <a:ext uri="{FF2B5EF4-FFF2-40B4-BE49-F238E27FC236}">
                <a16:creationId xmlns:a16="http://schemas.microsoft.com/office/drawing/2014/main" id="{9588D67D-50DA-9ECD-ACB2-005B361A38A3}"/>
              </a:ext>
            </a:extLst>
          </p:cNvPr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750"/>
              </a:spcAft>
            </a:pPr>
            <a:endParaRPr lang="en-US" sz="9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03880696-4AE8-5FBA-7811-C5588AABEAC8}"/>
              </a:ext>
            </a:extLst>
          </p:cNvPr>
          <p:cNvSpPr txBox="1"/>
          <p:nvPr/>
        </p:nvSpPr>
        <p:spPr>
          <a:xfrm>
            <a:off x="11167872" y="6443508"/>
            <a:ext cx="38100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0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5" name="Copyright">
            <a:extLst>
              <a:ext uri="{FF2B5EF4-FFF2-40B4-BE49-F238E27FC236}">
                <a16:creationId xmlns:a16="http://schemas.microsoft.com/office/drawing/2014/main" id="{0B389B25-AEEF-7AC3-F438-9FA90795E774}"/>
              </a:ext>
            </a:extLst>
          </p:cNvPr>
          <p:cNvSpPr txBox="1"/>
          <p:nvPr/>
        </p:nvSpPr>
        <p:spPr>
          <a:xfrm rot="16200000">
            <a:off x="9486902" y="3934616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85F5C773-5A80-4A45-614A-C2636275B1B8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216" b="7716"/>
          <a:stretch/>
        </p:blipFill>
        <p:spPr>
          <a:xfrm rot="120000">
            <a:off x="2174641" y="3402830"/>
            <a:ext cx="2694667" cy="3461745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27804926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rrow one third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24" imgH="324" progId="TCLayout.ActiveDocument.1">
                  <p:embed/>
                </p:oleObj>
              </mc:Choice>
              <mc:Fallback>
                <p:oleObj name="think-cell Slide" r:id="rId4" imgW="324" imgH="32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Pentagon 3"/>
          <p:cNvSpPr/>
          <p:nvPr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750"/>
              </a:spcAft>
            </a:pPr>
            <a:endParaRPr lang="en-US" sz="9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630001" y="1785600"/>
            <a:ext cx="4062235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3300" b="0">
                <a:solidFill>
                  <a:srgbClr val="FF000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5" name="Picture 14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81526" y="3394394"/>
            <a:ext cx="1298575" cy="3571875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Copyright" hidden="1"/>
          <p:cNvSpPr txBox="1"/>
          <p:nvPr/>
        </p:nvSpPr>
        <p:spPr>
          <a:xfrm rot="16200000">
            <a:off x="9486902" y="3533783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8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1" y="6553592"/>
            <a:ext cx="1482051" cy="115416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75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6" name="Freeform 25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/>
        </p:nvSpPr>
        <p:spPr>
          <a:xfrm>
            <a:off x="2" y="6565900"/>
            <a:ext cx="4713649" cy="292100"/>
          </a:xfrm>
          <a:custGeom>
            <a:avLst/>
            <a:gdLst>
              <a:gd name="connsiteX0" fmla="*/ 0 w 4713649"/>
              <a:gd name="connsiteY0" fmla="*/ 0 h 292100"/>
              <a:gd name="connsiteX1" fmla="*/ 4713649 w 4713649"/>
              <a:gd name="connsiteY1" fmla="*/ 0 h 292100"/>
              <a:gd name="connsiteX2" fmla="*/ 4653832 w 4713649"/>
              <a:gd name="connsiteY2" fmla="*/ 292100 h 292100"/>
              <a:gd name="connsiteX3" fmla="*/ 0 w 4713649"/>
              <a:gd name="connsiteY3" fmla="*/ 292100 h 292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713649" h="292100">
                <a:moveTo>
                  <a:pt x="0" y="0"/>
                </a:moveTo>
                <a:lnTo>
                  <a:pt x="4713649" y="0"/>
                </a:lnTo>
                <a:lnTo>
                  <a:pt x="4653832" y="292100"/>
                </a:lnTo>
                <a:lnTo>
                  <a:pt x="0" y="292100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900">
              <a:solidFill>
                <a:srgbClr val="FFFFFF"/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897" y="574339"/>
            <a:ext cx="1550283" cy="400753"/>
          </a:xfrm>
          <a:prstGeom prst="rect">
            <a:avLst/>
          </a:prstGeom>
        </p:spPr>
      </p:pic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74F81880-0E7C-98E2-8E56-51AA0FA20CB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25268785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324" imgH="324" progId="TCLayout.ActiveDocument.1">
                  <p:embed/>
                </p:oleObj>
              </mc:Choice>
              <mc:Fallback>
                <p:oleObj name="think-cell Slide" r:id="rId8" imgW="324" imgH="32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74F81880-0E7C-98E2-8E56-51AA0FA20CB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Copyright">
            <a:extLst>
              <a:ext uri="{FF2B5EF4-FFF2-40B4-BE49-F238E27FC236}">
                <a16:creationId xmlns:a16="http://schemas.microsoft.com/office/drawing/2014/main" id="{A4A824B0-AD2C-A561-BA0B-42EF02D70DEB}"/>
              </a:ext>
            </a:extLst>
          </p:cNvPr>
          <p:cNvSpPr txBox="1"/>
          <p:nvPr/>
        </p:nvSpPr>
        <p:spPr>
          <a:xfrm rot="16200000">
            <a:off x="9486902" y="3934616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5" name="Pentagon 3">
            <a:extLst>
              <a:ext uri="{FF2B5EF4-FFF2-40B4-BE49-F238E27FC236}">
                <a16:creationId xmlns:a16="http://schemas.microsoft.com/office/drawing/2014/main" id="{FADE3E4D-22E4-E9E3-A008-A457EC571210}"/>
              </a:ext>
            </a:extLst>
          </p:cNvPr>
          <p:cNvSpPr/>
          <p:nvPr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750"/>
              </a:spcAft>
            </a:pPr>
            <a:endParaRPr lang="en-US" sz="9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1ABEFE02-E735-E2DF-DA2F-A1060EDDC13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81526" y="3394394"/>
            <a:ext cx="1298575" cy="3571875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76679771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Green arrow one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entagon 3"/>
          <p:cNvSpPr/>
          <p:nvPr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gradFill flip="none" rotWithShape="1">
            <a:gsLst>
              <a:gs pos="0">
                <a:srgbClr val="403F85"/>
              </a:gs>
              <a:gs pos="81000">
                <a:srgbClr val="ED1B24"/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endParaRPr lang="en-US" sz="150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630001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300" b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562" b="6867"/>
          <a:stretch/>
        </p:blipFill>
        <p:spPr>
          <a:xfrm>
            <a:off x="3578059" y="3416300"/>
            <a:ext cx="2694667" cy="3441700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  <p:sp>
        <p:nvSpPr>
          <p:cNvPr id="10" name="Copyright" hidden="1"/>
          <p:cNvSpPr txBox="1"/>
          <p:nvPr/>
        </p:nvSpPr>
        <p:spPr>
          <a:xfrm rot="16200000">
            <a:off x="9486902" y="3533783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23" name="Freeform 22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/>
        </p:nvSpPr>
        <p:spPr>
          <a:xfrm>
            <a:off x="4795633" y="6326129"/>
            <a:ext cx="7393321" cy="531873"/>
          </a:xfrm>
          <a:custGeom>
            <a:avLst/>
            <a:gdLst>
              <a:gd name="connsiteX0" fmla="*/ 3604654 w 7393321"/>
              <a:gd name="connsiteY0" fmla="*/ 0 h 531873"/>
              <a:gd name="connsiteX1" fmla="*/ 7393319 w 7393321"/>
              <a:gd name="connsiteY1" fmla="*/ 0 h 531873"/>
              <a:gd name="connsiteX2" fmla="*/ 7393319 w 7393321"/>
              <a:gd name="connsiteY2" fmla="*/ 239773 h 531873"/>
              <a:gd name="connsiteX3" fmla="*/ 7393321 w 7393321"/>
              <a:gd name="connsiteY3" fmla="*/ 239773 h 531873"/>
              <a:gd name="connsiteX4" fmla="*/ 7393321 w 7393321"/>
              <a:gd name="connsiteY4" fmla="*/ 531873 h 531873"/>
              <a:gd name="connsiteX5" fmla="*/ 0 w 7393321"/>
              <a:gd name="connsiteY5" fmla="*/ 531873 h 531873"/>
              <a:gd name="connsiteX6" fmla="*/ 59817 w 7393321"/>
              <a:gd name="connsiteY6" fmla="*/ 239773 h 531873"/>
              <a:gd name="connsiteX7" fmla="*/ 3424998 w 7393321"/>
              <a:gd name="connsiteY7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393321" h="531873">
                <a:moveTo>
                  <a:pt x="3604654" y="0"/>
                </a:moveTo>
                <a:lnTo>
                  <a:pt x="7393319" y="0"/>
                </a:lnTo>
                <a:lnTo>
                  <a:pt x="7393319" y="239773"/>
                </a:lnTo>
                <a:lnTo>
                  <a:pt x="7393321" y="239773"/>
                </a:lnTo>
                <a:lnTo>
                  <a:pt x="7393321" y="531873"/>
                </a:lnTo>
                <a:lnTo>
                  <a:pt x="0" y="531873"/>
                </a:lnTo>
                <a:lnTo>
                  <a:pt x="59817" y="239773"/>
                </a:lnTo>
                <a:lnTo>
                  <a:pt x="3424998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900">
              <a:solidFill>
                <a:srgbClr val="FFFFFF"/>
              </a:solidFill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9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1" y="6553592"/>
            <a:ext cx="1482051" cy="115416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75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897" y="572658"/>
            <a:ext cx="1550283" cy="403326"/>
          </a:xfrm>
          <a:prstGeom prst="rect">
            <a:avLst/>
          </a:prstGeom>
        </p:spPr>
      </p:pic>
      <p:sp>
        <p:nvSpPr>
          <p:cNvPr id="2" name="Pentagon 3">
            <a:extLst>
              <a:ext uri="{FF2B5EF4-FFF2-40B4-BE49-F238E27FC236}">
                <a16:creationId xmlns:a16="http://schemas.microsoft.com/office/drawing/2014/main" id="{16C6C0F8-B5CD-D6C5-FDAE-71AB7EF96610}"/>
              </a:ext>
            </a:extLst>
          </p:cNvPr>
          <p:cNvSpPr/>
          <p:nvPr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750"/>
              </a:spcAft>
            </a:pPr>
            <a:endParaRPr lang="en-US" sz="9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5167F620-552F-844B-1F36-255D6D0BD863}"/>
              </a:ext>
            </a:extLst>
          </p:cNvPr>
          <p:cNvSpPr txBox="1"/>
          <p:nvPr/>
        </p:nvSpPr>
        <p:spPr>
          <a:xfrm>
            <a:off x="11167872" y="6443508"/>
            <a:ext cx="38100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0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4" name="Copyright">
            <a:extLst>
              <a:ext uri="{FF2B5EF4-FFF2-40B4-BE49-F238E27FC236}">
                <a16:creationId xmlns:a16="http://schemas.microsoft.com/office/drawing/2014/main" id="{9A40CAD7-9128-5E44-3B6A-D4EB62ECE605}"/>
              </a:ext>
            </a:extLst>
          </p:cNvPr>
          <p:cNvSpPr txBox="1"/>
          <p:nvPr/>
        </p:nvSpPr>
        <p:spPr>
          <a:xfrm rot="16200000">
            <a:off x="9486902" y="3934616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74AA633C-DBAC-D87C-BE7A-D5B63477914B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562" b="6867"/>
          <a:stretch/>
        </p:blipFill>
        <p:spPr>
          <a:xfrm>
            <a:off x="3578059" y="3416300"/>
            <a:ext cx="2694667" cy="3441700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25503202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rrow half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76591295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entagon 8"/>
          <p:cNvSpPr/>
          <p:nvPr/>
        </p:nvSpPr>
        <p:spPr bwMode="white">
          <a:xfrm>
            <a:off x="0" y="0"/>
            <a:ext cx="6363547" cy="6858000"/>
          </a:xfrm>
          <a:prstGeom prst="homePlate">
            <a:avLst>
              <a:gd name="adj" fmla="val 12939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750"/>
              </a:spcAft>
            </a:pPr>
            <a:endParaRPr lang="en-US" sz="9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2000251" y="622800"/>
            <a:ext cx="3303396" cy="353174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2550" b="0" i="0" u="none" kern="1200" spc="0">
                <a:solidFill>
                  <a:srgbClr val="FF000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7805" y="3589606"/>
            <a:ext cx="1365251" cy="3382962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Copyright" hidden="1"/>
          <p:cNvSpPr txBox="1"/>
          <p:nvPr/>
        </p:nvSpPr>
        <p:spPr>
          <a:xfrm rot="16200000">
            <a:off x="9486902" y="3533783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1" y="6553592"/>
            <a:ext cx="1482051" cy="115416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75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grpSp>
        <p:nvGrpSpPr>
          <p:cNvPr id="6" name="Group 5"/>
          <p:cNvGrpSpPr/>
          <p:nvPr/>
        </p:nvGrpSpPr>
        <p:grpSpPr>
          <a:xfrm>
            <a:off x="0" y="6565900"/>
            <a:ext cx="5538597" cy="292100"/>
            <a:chOff x="0" y="6565900"/>
            <a:chExt cx="5538597" cy="292100"/>
          </a:xfrm>
        </p:grpSpPr>
        <p:sp>
          <p:nvSpPr>
            <p:cNvPr id="34" name="Freeform 33">
              <a:extLst>
                <a:ext uri="{FF2B5EF4-FFF2-40B4-BE49-F238E27FC236}">
                  <a16:creationId xmlns:a16="http://schemas.microsoft.com/office/drawing/2014/main" id="{D6F1E491-2552-48AF-8871-FAF6B673CB54}"/>
                </a:ext>
              </a:extLst>
            </p:cNvPr>
            <p:cNvSpPr/>
            <p:nvPr/>
          </p:nvSpPr>
          <p:spPr>
            <a:xfrm>
              <a:off x="824948" y="6565900"/>
              <a:ext cx="4713649" cy="292100"/>
            </a:xfrm>
            <a:custGeom>
              <a:avLst/>
              <a:gdLst>
                <a:gd name="connsiteX0" fmla="*/ 0 w 4713649"/>
                <a:gd name="connsiteY0" fmla="*/ 0 h 292100"/>
                <a:gd name="connsiteX1" fmla="*/ 4713649 w 4713649"/>
                <a:gd name="connsiteY1" fmla="*/ 0 h 292100"/>
                <a:gd name="connsiteX2" fmla="*/ 4653832 w 4713649"/>
                <a:gd name="connsiteY2" fmla="*/ 292100 h 292100"/>
                <a:gd name="connsiteX3" fmla="*/ 0 w 4713649"/>
                <a:gd name="connsiteY3" fmla="*/ 292100 h 292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713649" h="292100">
                  <a:moveTo>
                    <a:pt x="0" y="0"/>
                  </a:moveTo>
                  <a:lnTo>
                    <a:pt x="4713649" y="0"/>
                  </a:lnTo>
                  <a:lnTo>
                    <a:pt x="4653832" y="292100"/>
                  </a:lnTo>
                  <a:lnTo>
                    <a:pt x="0" y="292100"/>
                  </a:lnTo>
                  <a:close/>
                </a:path>
              </a:pathLst>
            </a:custGeom>
            <a:solidFill>
              <a:srgbClr val="FF0000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1240B29-F687-4F45-9708-019B960494DF}">
                <a14:hiddenLine xmlns:a14="http://schemas.microsoft.com/office/drawing/2010/main" w="9525" cap="rnd" cmpd="sng" algn="ctr">
                  <a:solidFill>
                    <a:srgbClr val="29BA74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900">
                <a:solidFill>
                  <a:srgbClr val="FFFFFF"/>
                </a:solidFill>
              </a:endParaRPr>
            </a:p>
          </p:txBody>
        </p:sp>
        <p:sp>
          <p:nvSpPr>
            <p:cNvPr id="5" name="Rectangle 4"/>
            <p:cNvSpPr/>
            <p:nvPr/>
          </p:nvSpPr>
          <p:spPr>
            <a:xfrm>
              <a:off x="0" y="6565900"/>
              <a:ext cx="1427967" cy="292100"/>
            </a:xfrm>
            <a:prstGeom prst="rect">
              <a:avLst/>
            </a:prstGeom>
            <a:solidFill>
              <a:srgbClr val="FF0000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1240B29-F687-4F45-9708-019B960494DF}">
                <a14:hiddenLine xmlns:a14="http://schemas.microsoft.com/office/drawing/2010/main" w="9525" cap="rnd" cmpd="sng" algn="ctr">
                  <a:solidFill>
                    <a:srgbClr val="29BA74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900">
                <a:solidFill>
                  <a:srgbClr val="FFFFFF"/>
                </a:solidFill>
              </a:endParaRPr>
            </a:p>
          </p:txBody>
        </p:sp>
      </p:grpSp>
      <p:pic>
        <p:nvPicPr>
          <p:cNvPr id="12" name="Picture 11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897" y="574339"/>
            <a:ext cx="1550283" cy="400753"/>
          </a:xfrm>
          <a:prstGeom prst="rect">
            <a:avLst/>
          </a:prstGeom>
        </p:spPr>
      </p:pic>
      <p:sp>
        <p:nvSpPr>
          <p:cNvPr id="2" name="Copyright">
            <a:extLst>
              <a:ext uri="{FF2B5EF4-FFF2-40B4-BE49-F238E27FC236}">
                <a16:creationId xmlns:a16="http://schemas.microsoft.com/office/drawing/2014/main" id="{F9F881E8-0ADE-6142-E82D-BEC0B1FC970F}"/>
              </a:ext>
            </a:extLst>
          </p:cNvPr>
          <p:cNvSpPr txBox="1"/>
          <p:nvPr/>
        </p:nvSpPr>
        <p:spPr>
          <a:xfrm rot="16200000">
            <a:off x="9486902" y="3934616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B36573C7-3C60-FB28-DBB9-D380738C01F6}"/>
              </a:ext>
            </a:extLst>
          </p:cNvPr>
          <p:cNvSpPr txBox="1"/>
          <p:nvPr/>
        </p:nvSpPr>
        <p:spPr>
          <a:xfrm>
            <a:off x="11167872" y="6443508"/>
            <a:ext cx="38100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7" name="Pentagon 8">
            <a:extLst>
              <a:ext uri="{FF2B5EF4-FFF2-40B4-BE49-F238E27FC236}">
                <a16:creationId xmlns:a16="http://schemas.microsoft.com/office/drawing/2014/main" id="{774C588C-C86A-A51A-BEEF-7AC4B2B2A627}"/>
              </a:ext>
            </a:extLst>
          </p:cNvPr>
          <p:cNvSpPr/>
          <p:nvPr/>
        </p:nvSpPr>
        <p:spPr bwMode="white">
          <a:xfrm>
            <a:off x="0" y="0"/>
            <a:ext cx="6363547" cy="6858000"/>
          </a:xfrm>
          <a:prstGeom prst="homePlate">
            <a:avLst>
              <a:gd name="adj" fmla="val 12939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750"/>
              </a:spcAft>
            </a:pPr>
            <a:endParaRPr lang="en-US" sz="9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40F9C6CF-212C-38D3-9B7D-290ACD95F7A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7805" y="3589606"/>
            <a:ext cx="1365251" cy="3382962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4676787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3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Green arrow half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79180966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entagon 8"/>
          <p:cNvSpPr/>
          <p:nvPr/>
        </p:nvSpPr>
        <p:spPr bwMode="white">
          <a:xfrm>
            <a:off x="0" y="0"/>
            <a:ext cx="6363547" cy="6858000"/>
          </a:xfrm>
          <a:prstGeom prst="homePlate">
            <a:avLst>
              <a:gd name="adj" fmla="val 12939"/>
            </a:avLst>
          </a:prstGeom>
          <a:gradFill flip="none" rotWithShape="1">
            <a:gsLst>
              <a:gs pos="0">
                <a:srgbClr val="403F85"/>
              </a:gs>
              <a:gs pos="81000">
                <a:srgbClr val="ED1B24"/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endParaRPr lang="en-US" sz="150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2000251" y="622800"/>
            <a:ext cx="3303396" cy="353174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2550" b="0" i="0" u="none" kern="1200" spc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4460172" y="3407805"/>
            <a:ext cx="2694667" cy="3456551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10" name="Copyright" hidden="1"/>
          <p:cNvSpPr txBox="1"/>
          <p:nvPr/>
        </p:nvSpPr>
        <p:spPr>
          <a:xfrm rot="16200000">
            <a:off x="9486902" y="3533783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23" name="Freeform 22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/>
        </p:nvSpPr>
        <p:spPr>
          <a:xfrm>
            <a:off x="914400" y="6326129"/>
            <a:ext cx="11274552" cy="531873"/>
          </a:xfrm>
          <a:custGeom>
            <a:avLst/>
            <a:gdLst>
              <a:gd name="connsiteX0" fmla="*/ 7485885 w 11274552"/>
              <a:gd name="connsiteY0" fmla="*/ 0 h 531873"/>
              <a:gd name="connsiteX1" fmla="*/ 11274550 w 11274552"/>
              <a:gd name="connsiteY1" fmla="*/ 0 h 531873"/>
              <a:gd name="connsiteX2" fmla="*/ 11274550 w 11274552"/>
              <a:gd name="connsiteY2" fmla="*/ 239773 h 531873"/>
              <a:gd name="connsiteX3" fmla="*/ 11274552 w 11274552"/>
              <a:gd name="connsiteY3" fmla="*/ 239773 h 531873"/>
              <a:gd name="connsiteX4" fmla="*/ 11274552 w 11274552"/>
              <a:gd name="connsiteY4" fmla="*/ 531873 h 531873"/>
              <a:gd name="connsiteX5" fmla="*/ 0 w 11274552"/>
              <a:gd name="connsiteY5" fmla="*/ 531873 h 531873"/>
              <a:gd name="connsiteX6" fmla="*/ 0 w 11274552"/>
              <a:gd name="connsiteY6" fmla="*/ 531872 h 531873"/>
              <a:gd name="connsiteX7" fmla="*/ 4696667 w 11274552"/>
              <a:gd name="connsiteY7" fmla="*/ 531872 h 531873"/>
              <a:gd name="connsiteX8" fmla="*/ 4766807 w 11274552"/>
              <a:gd name="connsiteY8" fmla="*/ 239773 h 531873"/>
              <a:gd name="connsiteX9" fmla="*/ 7306229 w 11274552"/>
              <a:gd name="connsiteY9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1274552" h="531873">
                <a:moveTo>
                  <a:pt x="7485885" y="0"/>
                </a:moveTo>
                <a:lnTo>
                  <a:pt x="11274550" y="0"/>
                </a:lnTo>
                <a:lnTo>
                  <a:pt x="11274550" y="239773"/>
                </a:lnTo>
                <a:lnTo>
                  <a:pt x="11274552" y="239773"/>
                </a:lnTo>
                <a:lnTo>
                  <a:pt x="11274552" y="531873"/>
                </a:lnTo>
                <a:lnTo>
                  <a:pt x="0" y="531873"/>
                </a:lnTo>
                <a:lnTo>
                  <a:pt x="0" y="531872"/>
                </a:lnTo>
                <a:lnTo>
                  <a:pt x="4696667" y="531872"/>
                </a:lnTo>
                <a:lnTo>
                  <a:pt x="4766807" y="239773"/>
                </a:lnTo>
                <a:lnTo>
                  <a:pt x="7306229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900">
              <a:solidFill>
                <a:srgbClr val="FFFFFF"/>
              </a:solidFill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1" y="6553592"/>
            <a:ext cx="1482051" cy="115416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75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897" y="572658"/>
            <a:ext cx="1550283" cy="403326"/>
          </a:xfrm>
          <a:prstGeom prst="rect">
            <a:avLst/>
          </a:prstGeom>
        </p:spPr>
      </p:pic>
      <p:sp>
        <p:nvSpPr>
          <p:cNvPr id="2" name="Pentagon 8">
            <a:extLst>
              <a:ext uri="{FF2B5EF4-FFF2-40B4-BE49-F238E27FC236}">
                <a16:creationId xmlns:a16="http://schemas.microsoft.com/office/drawing/2014/main" id="{D4192610-7609-D3E1-0770-A8C5C37B42FA}"/>
              </a:ext>
            </a:extLst>
          </p:cNvPr>
          <p:cNvSpPr/>
          <p:nvPr/>
        </p:nvSpPr>
        <p:spPr bwMode="white">
          <a:xfrm>
            <a:off x="0" y="0"/>
            <a:ext cx="6363547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750"/>
              </a:spcAft>
            </a:pPr>
            <a:endParaRPr lang="en-US" sz="9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6469AB49-FCCD-FC3E-620E-964379DE3B3E}"/>
              </a:ext>
            </a:extLst>
          </p:cNvPr>
          <p:cNvSpPr txBox="1"/>
          <p:nvPr/>
        </p:nvSpPr>
        <p:spPr>
          <a:xfrm>
            <a:off x="11167872" y="6443508"/>
            <a:ext cx="38100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0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5" name="Copyright">
            <a:extLst>
              <a:ext uri="{FF2B5EF4-FFF2-40B4-BE49-F238E27FC236}">
                <a16:creationId xmlns:a16="http://schemas.microsoft.com/office/drawing/2014/main" id="{1822C4CB-9CB3-7C00-48A4-1C0010B2F350}"/>
              </a:ext>
            </a:extLst>
          </p:cNvPr>
          <p:cNvSpPr txBox="1"/>
          <p:nvPr/>
        </p:nvSpPr>
        <p:spPr>
          <a:xfrm rot="16200000">
            <a:off x="9486902" y="3934616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CEB9BA3F-C817-1C70-3E85-8B4784BF5939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4460172" y="3407805"/>
            <a:ext cx="2694667" cy="3456551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29950011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rrow one third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24" imgH="324" progId="TCLayout.ActiveDocument.1">
                  <p:embed/>
                </p:oleObj>
              </mc:Choice>
              <mc:Fallback>
                <p:oleObj name="think-cell Slide" r:id="rId4" imgW="324" imgH="32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Pentagon 3"/>
          <p:cNvSpPr/>
          <p:nvPr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400" b="0">
                <a:solidFill>
                  <a:srgbClr val="FF000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5" name="Picture 14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81525" y="3394392"/>
            <a:ext cx="1298575" cy="3571875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Copyright" hidden="1"/>
          <p:cNvSpPr txBox="1"/>
          <p:nvPr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8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6" name="Freeform 25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/>
        </p:nvSpPr>
        <p:spPr>
          <a:xfrm>
            <a:off x="1" y="6565900"/>
            <a:ext cx="4713649" cy="292100"/>
          </a:xfrm>
          <a:custGeom>
            <a:avLst/>
            <a:gdLst>
              <a:gd name="connsiteX0" fmla="*/ 0 w 4713649"/>
              <a:gd name="connsiteY0" fmla="*/ 0 h 292100"/>
              <a:gd name="connsiteX1" fmla="*/ 4713649 w 4713649"/>
              <a:gd name="connsiteY1" fmla="*/ 0 h 292100"/>
              <a:gd name="connsiteX2" fmla="*/ 4653832 w 4713649"/>
              <a:gd name="connsiteY2" fmla="*/ 292100 h 292100"/>
              <a:gd name="connsiteX3" fmla="*/ 0 w 4713649"/>
              <a:gd name="connsiteY3" fmla="*/ 292100 h 292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713649" h="292100">
                <a:moveTo>
                  <a:pt x="0" y="0"/>
                </a:moveTo>
                <a:lnTo>
                  <a:pt x="4713649" y="0"/>
                </a:lnTo>
                <a:lnTo>
                  <a:pt x="4653832" y="292100"/>
                </a:lnTo>
                <a:lnTo>
                  <a:pt x="0" y="292100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  <p:sp>
        <p:nvSpPr>
          <p:cNvPr id="2" name="Textfeld 1">
            <a:extLst>
              <a:ext uri="{FF2B5EF4-FFF2-40B4-BE49-F238E27FC236}">
                <a16:creationId xmlns:a16="http://schemas.microsoft.com/office/drawing/2014/main" id="{0A044B66-63C1-5B37-8DAD-333D74FA3C09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3581400" y="159413"/>
            <a:ext cx="5029200" cy="323165"/>
          </a:xfrm>
          <a:prstGeom prst="rect">
            <a:avLst/>
          </a:prstGeom>
          <a:pattFill>
            <a:fgClr>
              <a:srgbClr val="EEA632"/>
            </a:fgClr>
            <a:bgClr>
              <a:srgbClr val="EEA632"/>
            </a:bgClr>
          </a:pattFill>
          <a:ln w="9525" cap="rnd">
            <a:solidFill>
              <a:srgbClr val="575757"/>
            </a:solidFill>
            <a:prstDash val="solid"/>
          </a:ln>
        </p:spPr>
        <p:txBody>
          <a:bodyPr vert="horz" wrap="square" lIns="36576" tIns="36576" rIns="36576" bIns="36576" rtlCol="0" anchor="t">
            <a:sp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en-US" b="1">
                <a:solidFill>
                  <a:srgbClr val="000000"/>
                </a:solidFill>
                <a:sym typeface="Trebuchet MS" panose="020B0603020202020204" pitchFamily="34" charset="0"/>
              </a:rPr>
              <a:t>Draft document – Pre-read</a:t>
            </a:r>
          </a:p>
        </p:txBody>
      </p:sp>
    </p:spTree>
    <p:extLst>
      <p:ext uri="{BB962C8B-B14F-4D97-AF65-F5344CB8AC3E}">
        <p14:creationId xmlns:p14="http://schemas.microsoft.com/office/powerpoint/2010/main" val="282205753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rrow two third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35954768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/>
        </p:nvSpPr>
        <p:spPr bwMode="white">
          <a:xfrm>
            <a:off x="1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750"/>
              </a:spcAft>
            </a:pPr>
            <a:endParaRPr lang="en-US" sz="9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2000250" y="622800"/>
            <a:ext cx="4886551" cy="353174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2550" b="0" i="0" u="none" kern="1200" spc="0">
                <a:solidFill>
                  <a:srgbClr val="FF000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pic>
        <p:nvPicPr>
          <p:cNvPr id="16" name="Picture 15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90339" y="3589606"/>
            <a:ext cx="1365251" cy="3382962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Copyright" hidden="1"/>
          <p:cNvSpPr txBox="1"/>
          <p:nvPr/>
        </p:nvSpPr>
        <p:spPr>
          <a:xfrm rot="16200000">
            <a:off x="9486902" y="3533783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0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1" y="6553592"/>
            <a:ext cx="1482051" cy="115416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75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3" name="Freeform 22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/>
        </p:nvSpPr>
        <p:spPr>
          <a:xfrm>
            <a:off x="-2" y="6565900"/>
            <a:ext cx="7638827" cy="292100"/>
          </a:xfrm>
          <a:custGeom>
            <a:avLst/>
            <a:gdLst>
              <a:gd name="connsiteX0" fmla="*/ 0 w 7638826"/>
              <a:gd name="connsiteY0" fmla="*/ 0 h 292100"/>
              <a:gd name="connsiteX1" fmla="*/ 2925177 w 7638826"/>
              <a:gd name="connsiteY1" fmla="*/ 0 h 292100"/>
              <a:gd name="connsiteX2" fmla="*/ 6027750 w 7638826"/>
              <a:gd name="connsiteY2" fmla="*/ 0 h 292100"/>
              <a:gd name="connsiteX3" fmla="*/ 7638826 w 7638826"/>
              <a:gd name="connsiteY3" fmla="*/ 0 h 292100"/>
              <a:gd name="connsiteX4" fmla="*/ 7579009 w 7638826"/>
              <a:gd name="connsiteY4" fmla="*/ 292100 h 292100"/>
              <a:gd name="connsiteX5" fmla="*/ 5951257 w 7638826"/>
              <a:gd name="connsiteY5" fmla="*/ 292100 h 292100"/>
              <a:gd name="connsiteX6" fmla="*/ 2925177 w 7638826"/>
              <a:gd name="connsiteY6" fmla="*/ 292100 h 292100"/>
              <a:gd name="connsiteX7" fmla="*/ 0 w 7638826"/>
              <a:gd name="connsiteY7" fmla="*/ 292100 h 292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638826" h="292100">
                <a:moveTo>
                  <a:pt x="0" y="0"/>
                </a:moveTo>
                <a:lnTo>
                  <a:pt x="2925177" y="0"/>
                </a:lnTo>
                <a:lnTo>
                  <a:pt x="6027750" y="0"/>
                </a:lnTo>
                <a:lnTo>
                  <a:pt x="7638826" y="0"/>
                </a:lnTo>
                <a:lnTo>
                  <a:pt x="7579009" y="292100"/>
                </a:lnTo>
                <a:lnTo>
                  <a:pt x="5951257" y="292100"/>
                </a:lnTo>
                <a:lnTo>
                  <a:pt x="2925177" y="292100"/>
                </a:lnTo>
                <a:lnTo>
                  <a:pt x="0" y="292100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900">
              <a:solidFill>
                <a:srgbClr val="FFFFFF"/>
              </a:solidFill>
            </a:endParaRP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897" y="574339"/>
            <a:ext cx="1550283" cy="400753"/>
          </a:xfrm>
          <a:prstGeom prst="rect">
            <a:avLst/>
          </a:prstGeom>
        </p:spPr>
      </p:pic>
      <p:sp>
        <p:nvSpPr>
          <p:cNvPr id="2" name="Freeform 18">
            <a:extLst>
              <a:ext uri="{FF2B5EF4-FFF2-40B4-BE49-F238E27FC236}">
                <a16:creationId xmlns:a16="http://schemas.microsoft.com/office/drawing/2014/main" id="{1C55F4A1-391A-1A3E-557C-A81569311705}"/>
              </a:ext>
            </a:extLst>
          </p:cNvPr>
          <p:cNvSpPr/>
          <p:nvPr/>
        </p:nvSpPr>
        <p:spPr bwMode="white">
          <a:xfrm>
            <a:off x="1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750"/>
              </a:spcAft>
            </a:pPr>
            <a:endParaRPr lang="en-US" sz="9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4" name="Copyright">
            <a:extLst>
              <a:ext uri="{FF2B5EF4-FFF2-40B4-BE49-F238E27FC236}">
                <a16:creationId xmlns:a16="http://schemas.microsoft.com/office/drawing/2014/main" id="{1F3870F2-75E6-E9D1-ABD5-5AD3D38249EF}"/>
              </a:ext>
            </a:extLst>
          </p:cNvPr>
          <p:cNvSpPr txBox="1"/>
          <p:nvPr/>
        </p:nvSpPr>
        <p:spPr>
          <a:xfrm rot="16200000">
            <a:off x="9486902" y="3934616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BE13C33E-EC9E-6DBE-4E0D-752CE29B525F}"/>
              </a:ext>
            </a:extLst>
          </p:cNvPr>
          <p:cNvSpPr txBox="1"/>
          <p:nvPr/>
        </p:nvSpPr>
        <p:spPr>
          <a:xfrm>
            <a:off x="11167872" y="6443508"/>
            <a:ext cx="38100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10A369A7-4D5B-88E7-C8A6-DA469BC0113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90339" y="3589606"/>
            <a:ext cx="1365251" cy="3382962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56331728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Green arrow two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21019880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/>
        </p:nvSpPr>
        <p:spPr bwMode="white">
          <a:xfrm>
            <a:off x="1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rgbClr val="403F85"/>
              </a:gs>
              <a:gs pos="81000">
                <a:srgbClr val="ED1B24"/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endParaRPr lang="en-US" sz="150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2000250" y="622800"/>
            <a:ext cx="4886551" cy="353174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2550" b="0" i="0" u="none" kern="1200" spc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6567628" y="3407805"/>
            <a:ext cx="2694667" cy="3456551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10" name="Copyright" hidden="1"/>
          <p:cNvSpPr txBox="1"/>
          <p:nvPr/>
        </p:nvSpPr>
        <p:spPr>
          <a:xfrm rot="16200000">
            <a:off x="9486902" y="3533783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23" name="Freeform 22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/>
        </p:nvSpPr>
        <p:spPr>
          <a:xfrm>
            <a:off x="70901" y="6326129"/>
            <a:ext cx="12118052" cy="531873"/>
          </a:xfrm>
          <a:custGeom>
            <a:avLst/>
            <a:gdLst>
              <a:gd name="connsiteX0" fmla="*/ 8329385 w 12118052"/>
              <a:gd name="connsiteY0" fmla="*/ 0 h 531873"/>
              <a:gd name="connsiteX1" fmla="*/ 12118050 w 12118052"/>
              <a:gd name="connsiteY1" fmla="*/ 0 h 531873"/>
              <a:gd name="connsiteX2" fmla="*/ 12118050 w 12118052"/>
              <a:gd name="connsiteY2" fmla="*/ 239773 h 531873"/>
              <a:gd name="connsiteX3" fmla="*/ 12118052 w 12118052"/>
              <a:gd name="connsiteY3" fmla="*/ 239773 h 531873"/>
              <a:gd name="connsiteX4" fmla="*/ 12118052 w 12118052"/>
              <a:gd name="connsiteY4" fmla="*/ 531873 h 531873"/>
              <a:gd name="connsiteX5" fmla="*/ 0 w 12118052"/>
              <a:gd name="connsiteY5" fmla="*/ 531873 h 531873"/>
              <a:gd name="connsiteX6" fmla="*/ 0 w 12118052"/>
              <a:gd name="connsiteY6" fmla="*/ 531872 h 531873"/>
              <a:gd name="connsiteX7" fmla="*/ 7645979 w 12118052"/>
              <a:gd name="connsiteY7" fmla="*/ 531872 h 531873"/>
              <a:gd name="connsiteX8" fmla="*/ 7714149 w 12118052"/>
              <a:gd name="connsiteY8" fmla="*/ 239773 h 531873"/>
              <a:gd name="connsiteX9" fmla="*/ 8149729 w 12118052"/>
              <a:gd name="connsiteY9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118052" h="531873">
                <a:moveTo>
                  <a:pt x="8329385" y="0"/>
                </a:moveTo>
                <a:lnTo>
                  <a:pt x="12118050" y="0"/>
                </a:lnTo>
                <a:lnTo>
                  <a:pt x="12118050" y="239773"/>
                </a:lnTo>
                <a:lnTo>
                  <a:pt x="12118052" y="239773"/>
                </a:lnTo>
                <a:lnTo>
                  <a:pt x="12118052" y="531873"/>
                </a:lnTo>
                <a:lnTo>
                  <a:pt x="0" y="531873"/>
                </a:lnTo>
                <a:lnTo>
                  <a:pt x="0" y="531872"/>
                </a:lnTo>
                <a:lnTo>
                  <a:pt x="7645979" y="531872"/>
                </a:lnTo>
                <a:lnTo>
                  <a:pt x="7714149" y="239773"/>
                </a:lnTo>
                <a:lnTo>
                  <a:pt x="8149729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900">
              <a:solidFill>
                <a:srgbClr val="FFFFFF"/>
              </a:solidFill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5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1" y="6553592"/>
            <a:ext cx="1482051" cy="115416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75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6" name="Picture 15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897" y="572658"/>
            <a:ext cx="1550283" cy="403326"/>
          </a:xfrm>
          <a:prstGeom prst="rect">
            <a:avLst/>
          </a:prstGeom>
        </p:spPr>
      </p:pic>
      <p:sp>
        <p:nvSpPr>
          <p:cNvPr id="2" name="Freeform 18">
            <a:extLst>
              <a:ext uri="{FF2B5EF4-FFF2-40B4-BE49-F238E27FC236}">
                <a16:creationId xmlns:a16="http://schemas.microsoft.com/office/drawing/2014/main" id="{628B366A-BC82-CE32-01EF-F61367BB8729}"/>
              </a:ext>
            </a:extLst>
          </p:cNvPr>
          <p:cNvSpPr/>
          <p:nvPr/>
        </p:nvSpPr>
        <p:spPr bwMode="white">
          <a:xfrm>
            <a:off x="1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750"/>
              </a:spcAft>
            </a:pPr>
            <a:endParaRPr lang="en-US" sz="9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456719DB-930E-D112-9C2E-01300897EBA3}"/>
              </a:ext>
            </a:extLst>
          </p:cNvPr>
          <p:cNvSpPr txBox="1"/>
          <p:nvPr/>
        </p:nvSpPr>
        <p:spPr>
          <a:xfrm>
            <a:off x="11167872" y="6443508"/>
            <a:ext cx="38100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0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5" name="Copyright">
            <a:extLst>
              <a:ext uri="{FF2B5EF4-FFF2-40B4-BE49-F238E27FC236}">
                <a16:creationId xmlns:a16="http://schemas.microsoft.com/office/drawing/2014/main" id="{1476043C-4B1B-4C5D-AECF-D13291B089DB}"/>
              </a:ext>
            </a:extLst>
          </p:cNvPr>
          <p:cNvSpPr txBox="1"/>
          <p:nvPr/>
        </p:nvSpPr>
        <p:spPr>
          <a:xfrm rot="16200000">
            <a:off x="9486902" y="3934616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46C3F5CD-9617-EADA-4943-E8340D51810A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6567628" y="3407805"/>
            <a:ext cx="2694667" cy="3456551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20431436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ig statement green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</p:spPr>
        <p:txBody>
          <a:bodyPr anchor="b">
            <a:noAutofit/>
          </a:bodyPr>
          <a:lstStyle>
            <a:lvl1pPr marL="0" algn="l" defTabSz="685800" rtl="0" eaLnBrk="1" fontAlgn="auto" latinLnBrk="0" hangingPunct="1">
              <a:lnSpc>
                <a:spcPts val="4500"/>
              </a:lnSpc>
              <a:spcBef>
                <a:spcPts val="0"/>
              </a:spcBef>
              <a:spcAft>
                <a:spcPts val="0"/>
              </a:spcAft>
              <a:defRPr lang="en-US" sz="4050" kern="1200" baseline="0" dirty="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sp>
        <p:nvSpPr>
          <p:cNvPr id="7" name="Copyright" hidden="1"/>
          <p:cNvSpPr txBox="1"/>
          <p:nvPr/>
        </p:nvSpPr>
        <p:spPr>
          <a:xfrm rot="16200000">
            <a:off x="9486902" y="3533783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1" y="6553592"/>
            <a:ext cx="1482051" cy="115416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75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897" y="572658"/>
            <a:ext cx="1550283" cy="403326"/>
          </a:xfrm>
          <a:prstGeom prst="rect">
            <a:avLst/>
          </a:prstGeom>
        </p:spPr>
      </p:pic>
      <p:sp>
        <p:nvSpPr>
          <p:cNvPr id="2" name="Copyright">
            <a:extLst>
              <a:ext uri="{FF2B5EF4-FFF2-40B4-BE49-F238E27FC236}">
                <a16:creationId xmlns:a16="http://schemas.microsoft.com/office/drawing/2014/main" id="{8D8B39C0-E2AA-9D54-98B8-21F745A66591}"/>
              </a:ext>
            </a:extLst>
          </p:cNvPr>
          <p:cNvSpPr txBox="1"/>
          <p:nvPr/>
        </p:nvSpPr>
        <p:spPr>
          <a:xfrm rot="16200000">
            <a:off x="9486902" y="3934616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43203389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ig statement icon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/>
        </p:nvSpPr>
        <p:spPr bwMode="white">
          <a:xfrm>
            <a:off x="630000" y="1435623"/>
            <a:ext cx="932688" cy="932688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9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  <a:prstGeom prst="rect">
            <a:avLst/>
          </a:prstGeom>
        </p:spPr>
        <p:txBody>
          <a:bodyPr vert="horz" anchor="b">
            <a:noAutofit/>
          </a:bodyPr>
          <a:lstStyle>
            <a:lvl1pPr marL="0" algn="l" defTabSz="685800" rtl="0" eaLnBrk="1" fontAlgn="auto" latinLnBrk="0" hangingPunct="1">
              <a:lnSpc>
                <a:spcPts val="4500"/>
              </a:lnSpc>
              <a:spcBef>
                <a:spcPts val="0"/>
              </a:spcBef>
              <a:spcAft>
                <a:spcPts val="0"/>
              </a:spcAft>
              <a:defRPr lang="en-US" sz="4050" kern="1200" baseline="0" dirty="0">
                <a:solidFill>
                  <a:srgbClr val="FF0000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sp>
        <p:nvSpPr>
          <p:cNvPr id="11" name="Copyright" hidden="1"/>
          <p:cNvSpPr txBox="1"/>
          <p:nvPr/>
        </p:nvSpPr>
        <p:spPr>
          <a:xfrm rot="16200000">
            <a:off x="9486902" y="3533783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2" name="Freeform: Shape 31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/>
        </p:nvSpPr>
        <p:spPr>
          <a:xfrm>
            <a:off x="0" y="6326129"/>
            <a:ext cx="12188952" cy="531873"/>
          </a:xfrm>
          <a:custGeom>
            <a:avLst/>
            <a:gdLst>
              <a:gd name="connsiteX0" fmla="*/ 8400285 w 12188952"/>
              <a:gd name="connsiteY0" fmla="*/ 0 h 531873"/>
              <a:gd name="connsiteX1" fmla="*/ 12188950 w 12188952"/>
              <a:gd name="connsiteY1" fmla="*/ 0 h 531873"/>
              <a:gd name="connsiteX2" fmla="*/ 12188950 w 12188952"/>
              <a:gd name="connsiteY2" fmla="*/ 239773 h 531873"/>
              <a:gd name="connsiteX3" fmla="*/ 12188952 w 12188952"/>
              <a:gd name="connsiteY3" fmla="*/ 239773 h 531873"/>
              <a:gd name="connsiteX4" fmla="*/ 12188952 w 12188952"/>
              <a:gd name="connsiteY4" fmla="*/ 531873 h 531873"/>
              <a:gd name="connsiteX5" fmla="*/ 0 w 12188952"/>
              <a:gd name="connsiteY5" fmla="*/ 531873 h 531873"/>
              <a:gd name="connsiteX6" fmla="*/ 0 w 12188952"/>
              <a:gd name="connsiteY6" fmla="*/ 239773 h 531873"/>
              <a:gd name="connsiteX7" fmla="*/ 8220629 w 12188952"/>
              <a:gd name="connsiteY7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88952" h="531873">
                <a:moveTo>
                  <a:pt x="8400285" y="0"/>
                </a:moveTo>
                <a:lnTo>
                  <a:pt x="12188950" y="0"/>
                </a:lnTo>
                <a:lnTo>
                  <a:pt x="12188950" y="239773"/>
                </a:lnTo>
                <a:lnTo>
                  <a:pt x="12188952" y="239773"/>
                </a:lnTo>
                <a:lnTo>
                  <a:pt x="12188952" y="531873"/>
                </a:lnTo>
                <a:lnTo>
                  <a:pt x="0" y="531873"/>
                </a:lnTo>
                <a:lnTo>
                  <a:pt x="0" y="239773"/>
                </a:lnTo>
                <a:lnTo>
                  <a:pt x="8220629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900">
              <a:solidFill>
                <a:srgbClr val="FFFFFF"/>
              </a:solidFill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4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1" y="6553592"/>
            <a:ext cx="1482051" cy="115416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75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897" y="574339"/>
            <a:ext cx="1550283" cy="400753"/>
          </a:xfrm>
          <a:prstGeom prst="rect">
            <a:avLst/>
          </a:prstGeom>
        </p:spPr>
      </p:pic>
      <p:sp>
        <p:nvSpPr>
          <p:cNvPr id="2" name="Copyright">
            <a:extLst>
              <a:ext uri="{FF2B5EF4-FFF2-40B4-BE49-F238E27FC236}">
                <a16:creationId xmlns:a16="http://schemas.microsoft.com/office/drawing/2014/main" id="{E57D558D-6DB9-B755-4E40-2B6B5A4F2739}"/>
              </a:ext>
            </a:extLst>
          </p:cNvPr>
          <p:cNvSpPr txBox="1"/>
          <p:nvPr/>
        </p:nvSpPr>
        <p:spPr>
          <a:xfrm rot="16200000">
            <a:off x="9486902" y="3934616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58F4BDBA-E0F3-FC2A-A876-E7D81F6F92C6}"/>
              </a:ext>
            </a:extLst>
          </p:cNvPr>
          <p:cNvSpPr/>
          <p:nvPr/>
        </p:nvSpPr>
        <p:spPr bwMode="white">
          <a:xfrm>
            <a:off x="630000" y="625475"/>
            <a:ext cx="932688" cy="932688"/>
          </a:xfrm>
          <a:prstGeom prst="rect">
            <a:avLst/>
          </a:prstGeom>
          <a:noFill/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9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347232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Quot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24" imgH="324" progId="TCLayout.ActiveDocument.1">
                  <p:embed/>
                </p:oleObj>
              </mc:Choice>
              <mc:Fallback>
                <p:oleObj name="think-cell Slide" r:id="rId4" imgW="324" imgH="32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34" b="1258"/>
          <a:stretch/>
        </p:blipFill>
        <p:spPr>
          <a:xfrm rot="16200000" flipH="1">
            <a:off x="6797462" y="101444"/>
            <a:ext cx="769257" cy="10019821"/>
          </a:xfrm>
          <a:custGeom>
            <a:avLst/>
            <a:gdLst>
              <a:gd name="connsiteX0" fmla="*/ 0 w 769257"/>
              <a:gd name="connsiteY0" fmla="*/ 0 h 10019821"/>
              <a:gd name="connsiteX1" fmla="*/ 0 w 769257"/>
              <a:gd name="connsiteY1" fmla="*/ 4631160 h 10019821"/>
              <a:gd name="connsiteX2" fmla="*/ 216750 w 769257"/>
              <a:gd name="connsiteY2" fmla="*/ 999646 h 10019821"/>
              <a:gd name="connsiteX3" fmla="*/ 197800 w 769257"/>
              <a:gd name="connsiteY3" fmla="*/ 10019821 h 10019821"/>
              <a:gd name="connsiteX4" fmla="*/ 769257 w 769257"/>
              <a:gd name="connsiteY4" fmla="*/ 10019821 h 10019821"/>
              <a:gd name="connsiteX5" fmla="*/ 769257 w 769257"/>
              <a:gd name="connsiteY5" fmla="*/ 0 h 10019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69257" h="10019821">
                <a:moveTo>
                  <a:pt x="0" y="0"/>
                </a:moveTo>
                <a:lnTo>
                  <a:pt x="0" y="4631160"/>
                </a:lnTo>
                <a:lnTo>
                  <a:pt x="216750" y="999646"/>
                </a:lnTo>
                <a:lnTo>
                  <a:pt x="197800" y="10019821"/>
                </a:lnTo>
                <a:lnTo>
                  <a:pt x="769257" y="10019821"/>
                </a:lnTo>
                <a:lnTo>
                  <a:pt x="769257" y="0"/>
                </a:lnTo>
                <a:close/>
              </a:path>
            </a:pathLst>
          </a:cu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2"/>
            <a:ext cx="12192000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sz="1350"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1" y="6553592"/>
            <a:ext cx="1482051" cy="115416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75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897" y="572658"/>
            <a:ext cx="1550283" cy="403326"/>
          </a:xfrm>
          <a:prstGeom prst="rect">
            <a:avLst/>
          </a:prstGeom>
        </p:spPr>
      </p:pic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104BD04F-0B45-93EC-B11E-D032D5A2ABC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42619711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324" imgH="324" progId="TCLayout.ActiveDocument.1">
                  <p:embed/>
                </p:oleObj>
              </mc:Choice>
              <mc:Fallback>
                <p:oleObj name="think-cell Slide" r:id="rId8" imgW="324" imgH="32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104BD04F-0B45-93EC-B11E-D032D5A2ABC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Box 3">
            <a:extLst>
              <a:ext uri="{FF2B5EF4-FFF2-40B4-BE49-F238E27FC236}">
                <a16:creationId xmlns:a16="http://schemas.microsoft.com/office/drawing/2014/main" id="{C67344D4-B59A-A5F0-8C50-050EF704ABD4}"/>
              </a:ext>
            </a:extLst>
          </p:cNvPr>
          <p:cNvSpPr txBox="1"/>
          <p:nvPr/>
        </p:nvSpPr>
        <p:spPr>
          <a:xfrm>
            <a:off x="11167872" y="6443508"/>
            <a:ext cx="38100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80982D83-0278-BE38-550A-559083DC5B3A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34" b="1258"/>
          <a:stretch/>
        </p:blipFill>
        <p:spPr>
          <a:xfrm rot="16200000" flipH="1">
            <a:off x="6797462" y="101444"/>
            <a:ext cx="769257" cy="10019821"/>
          </a:xfrm>
          <a:custGeom>
            <a:avLst/>
            <a:gdLst>
              <a:gd name="connsiteX0" fmla="*/ 0 w 769257"/>
              <a:gd name="connsiteY0" fmla="*/ 0 h 10019821"/>
              <a:gd name="connsiteX1" fmla="*/ 0 w 769257"/>
              <a:gd name="connsiteY1" fmla="*/ 4631160 h 10019821"/>
              <a:gd name="connsiteX2" fmla="*/ 216750 w 769257"/>
              <a:gd name="connsiteY2" fmla="*/ 999646 h 10019821"/>
              <a:gd name="connsiteX3" fmla="*/ 197800 w 769257"/>
              <a:gd name="connsiteY3" fmla="*/ 10019821 h 10019821"/>
              <a:gd name="connsiteX4" fmla="*/ 769257 w 769257"/>
              <a:gd name="connsiteY4" fmla="*/ 10019821 h 10019821"/>
              <a:gd name="connsiteX5" fmla="*/ 769257 w 769257"/>
              <a:gd name="connsiteY5" fmla="*/ 0 h 10019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69257" h="10019821">
                <a:moveTo>
                  <a:pt x="0" y="0"/>
                </a:moveTo>
                <a:lnTo>
                  <a:pt x="0" y="4631160"/>
                </a:lnTo>
                <a:lnTo>
                  <a:pt x="216750" y="999646"/>
                </a:lnTo>
                <a:lnTo>
                  <a:pt x="197800" y="10019821"/>
                </a:lnTo>
                <a:lnTo>
                  <a:pt x="769257" y="10019821"/>
                </a:lnTo>
                <a:lnTo>
                  <a:pt x="769257" y="0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28172293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pecial gray">
    <p:bg>
      <p:bgPr>
        <a:solidFill>
          <a:schemeClr val="tx1">
            <a:lumMod val="85000"/>
            <a:lumOff val="1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23847007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2000250" y="622800"/>
            <a:ext cx="9562951" cy="353174"/>
          </a:xfrm>
        </p:spPr>
        <p:txBody>
          <a:bodyPr vert="horz"/>
          <a:lstStyle>
            <a:lvl1pPr>
              <a:defRPr sz="255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7" name="Copyright" hidden="1"/>
          <p:cNvSpPr txBox="1"/>
          <p:nvPr/>
        </p:nvSpPr>
        <p:spPr>
          <a:xfrm rot="16200000">
            <a:off x="9486902" y="3533783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1" y="6553592"/>
            <a:ext cx="1482051" cy="115416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75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897" y="572658"/>
            <a:ext cx="1550283" cy="403326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181B477F-617C-795B-282D-264FD6E3CC9E}"/>
              </a:ext>
            </a:extLst>
          </p:cNvPr>
          <p:cNvSpPr txBox="1"/>
          <p:nvPr/>
        </p:nvSpPr>
        <p:spPr bwMode="white">
          <a:xfrm>
            <a:off x="11167872" y="6442872"/>
            <a:ext cx="38100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5" name="Copyright">
            <a:extLst>
              <a:ext uri="{FF2B5EF4-FFF2-40B4-BE49-F238E27FC236}">
                <a16:creationId xmlns:a16="http://schemas.microsoft.com/office/drawing/2014/main" id="{5A546E0B-8AE1-B404-7870-B152E5FDBC6C}"/>
              </a:ext>
            </a:extLst>
          </p:cNvPr>
          <p:cNvSpPr txBox="1"/>
          <p:nvPr/>
        </p:nvSpPr>
        <p:spPr>
          <a:xfrm rot="16200000">
            <a:off x="9486902" y="3934616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7694423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2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pyright" hidden="1"/>
          <p:cNvSpPr txBox="1"/>
          <p:nvPr/>
        </p:nvSpPr>
        <p:spPr>
          <a:xfrm rot="16200000">
            <a:off x="9486902" y="3533783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1" y="6553592"/>
            <a:ext cx="1482051" cy="115416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75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" name="Copyright">
            <a:extLst>
              <a:ext uri="{FF2B5EF4-FFF2-40B4-BE49-F238E27FC236}">
                <a16:creationId xmlns:a16="http://schemas.microsoft.com/office/drawing/2014/main" id="{3B7CAC6E-23DA-068B-FAD7-0DB2FAA4FB7E}"/>
              </a:ext>
            </a:extLst>
          </p:cNvPr>
          <p:cNvSpPr txBox="1"/>
          <p:nvPr/>
        </p:nvSpPr>
        <p:spPr>
          <a:xfrm rot="16200000">
            <a:off x="9486902" y="3934616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3836078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lank green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pyright" hidden="1"/>
          <p:cNvSpPr txBox="1"/>
          <p:nvPr/>
        </p:nvSpPr>
        <p:spPr>
          <a:xfrm rot="16200000">
            <a:off x="9486902" y="3533783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1" y="6553592"/>
            <a:ext cx="1482051" cy="115416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75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897" y="572658"/>
            <a:ext cx="1550283" cy="403326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DE506362-52D5-FB2B-0322-5F8C1B1D4AA1}"/>
              </a:ext>
            </a:extLst>
          </p:cNvPr>
          <p:cNvSpPr txBox="1"/>
          <p:nvPr/>
        </p:nvSpPr>
        <p:spPr bwMode="white">
          <a:xfrm>
            <a:off x="11167872" y="6442872"/>
            <a:ext cx="38100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3" name="Copyright">
            <a:extLst>
              <a:ext uri="{FF2B5EF4-FFF2-40B4-BE49-F238E27FC236}">
                <a16:creationId xmlns:a16="http://schemas.microsoft.com/office/drawing/2014/main" id="{8F63B979-046C-5978-B1D2-9108F031B4E6}"/>
              </a:ext>
            </a:extLst>
          </p:cNvPr>
          <p:cNvSpPr txBox="1"/>
          <p:nvPr/>
        </p:nvSpPr>
        <p:spPr>
          <a:xfrm rot="16200000">
            <a:off x="9486902" y="3934616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33702599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sclaim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pyright" hidden="1"/>
          <p:cNvSpPr txBox="1"/>
          <p:nvPr/>
        </p:nvSpPr>
        <p:spPr>
          <a:xfrm rot="16200000">
            <a:off x="9486902" y="3533783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4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1" y="6553592"/>
            <a:ext cx="1482051" cy="115416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75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" name="Copyright">
            <a:extLst>
              <a:ext uri="{FF2B5EF4-FFF2-40B4-BE49-F238E27FC236}">
                <a16:creationId xmlns:a16="http://schemas.microsoft.com/office/drawing/2014/main" id="{2381C05B-85BB-9604-C495-66C9EDBC98ED}"/>
              </a:ext>
            </a:extLst>
          </p:cNvPr>
          <p:cNvSpPr txBox="1"/>
          <p:nvPr/>
        </p:nvSpPr>
        <p:spPr>
          <a:xfrm rot="16200000">
            <a:off x="9486902" y="3934616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7326695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84" imgH="384" progId="TCLayout.ActiveDocument.1">
                  <p:embed/>
                </p:oleObj>
              </mc:Choice>
              <mc:Fallback>
                <p:oleObj name="think-cell Slide" r:id="rId6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4" name="Picture 13"/>
          <p:cNvPicPr>
            <a:picLocks noChangeAspect="1"/>
          </p:cNvPicPr>
          <p:nvPr/>
        </p:nvPicPr>
        <p:blipFill rotWithShape="1">
          <a:blip r:embed="rId8"/>
          <a:srcRect l="1079" t="8722" r="1079" b="8722"/>
          <a:stretch/>
        </p:blipFill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</p:spPr>
      </p:pic>
      <p:sp>
        <p:nvSpPr>
          <p:cNvPr id="11" name="Rectangle 10"/>
          <p:cNvSpPr/>
          <p:nvPr/>
        </p:nvSpPr>
        <p:spPr bwMode="black">
          <a:xfrm>
            <a:off x="630936" y="626200"/>
            <a:ext cx="8125200" cy="5529600"/>
          </a:xfrm>
          <a:prstGeom prst="rect">
            <a:avLst/>
          </a:prstGeom>
          <a:gradFill flip="none" rotWithShape="1">
            <a:gsLst>
              <a:gs pos="0">
                <a:srgbClr val="EF2427">
                  <a:shade val="30000"/>
                  <a:satMod val="115000"/>
                  <a:alpha val="76000"/>
                </a:srgbClr>
              </a:gs>
              <a:gs pos="100000">
                <a:srgbClr val="ED1B24">
                  <a:alpha val="61000"/>
                </a:srgb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endParaRPr lang="en-US" sz="150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62329" y="2992639"/>
            <a:ext cx="3062417" cy="796727"/>
          </a:xfrm>
          <a:prstGeom prst="rect">
            <a:avLst/>
          </a:prstGeom>
        </p:spPr>
      </p:pic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257E47D9-E3E0-036F-6466-736C54593A6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35369323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384" imgH="384" progId="TCLayout.ActiveDocument.1">
                  <p:embed/>
                </p:oleObj>
              </mc:Choice>
              <mc:Fallback>
                <p:oleObj name="think-cell Slide" r:id="rId10" imgW="384" imgH="38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257E47D9-E3E0-036F-6466-736C54593A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TitleAndEndImages">
            <a:extLst>
              <a:ext uri="{FF2B5EF4-FFF2-40B4-BE49-F238E27FC236}">
                <a16:creationId xmlns:a16="http://schemas.microsoft.com/office/drawing/2014/main" id="{7706F462-AB4B-A331-53EF-A483C81CD94F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0" y="0"/>
            <a:ext cx="12192000" cy="6858000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3088910C-C625-18D2-92C2-B6358406CCD2}"/>
              </a:ext>
            </a:extLst>
          </p:cNvPr>
          <p:cNvSpPr/>
          <p:nvPr/>
        </p:nvSpPr>
        <p:spPr bwMode="black">
          <a:xfrm>
            <a:off x="630936" y="626200"/>
            <a:ext cx="8125200" cy="5529600"/>
          </a:xfrm>
          <a:prstGeom prst="rect">
            <a:avLst/>
          </a:prstGeom>
          <a:gradFill flip="none" rotWithShape="1">
            <a:gsLst>
              <a:gs pos="0">
                <a:schemeClr val="accent1">
                  <a:alpha val="90000"/>
                </a:schemeClr>
              </a:gs>
              <a:gs pos="100000">
                <a:schemeClr val="tx2">
                  <a:alpha val="90000"/>
                </a:schemeClr>
              </a:gs>
            </a:gsLst>
            <a:lin ang="189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endParaRPr lang="en-US" sz="15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7" name="Freeform 6">
            <a:extLst>
              <a:ext uri="{FF2B5EF4-FFF2-40B4-BE49-F238E27FC236}">
                <a16:creationId xmlns:a16="http://schemas.microsoft.com/office/drawing/2014/main" id="{36195987-23CC-365D-238B-4DF17E88AF3F}"/>
              </a:ext>
            </a:extLst>
          </p:cNvPr>
          <p:cNvSpPr>
            <a:spLocks noChangeAspect="1"/>
          </p:cNvSpPr>
          <p:nvPr>
            <p:custDataLst>
              <p:tags r:id="rId4"/>
            </p:custDataLst>
          </p:nvPr>
        </p:nvSpPr>
        <p:spPr bwMode="auto">
          <a:xfrm>
            <a:off x="2676859" y="2969513"/>
            <a:ext cx="4033357" cy="842974"/>
          </a:xfrm>
          <a:custGeom>
            <a:avLst/>
            <a:gdLst>
              <a:gd name="connsiteX0" fmla="*/ 8982072 w 11499847"/>
              <a:gd name="connsiteY0" fmla="*/ 1919288 h 2403475"/>
              <a:gd name="connsiteX1" fmla="*/ 8982072 w 11499847"/>
              <a:gd name="connsiteY1" fmla="*/ 2105026 h 2403475"/>
              <a:gd name="connsiteX2" fmla="*/ 9098233 w 11499847"/>
              <a:gd name="connsiteY2" fmla="*/ 2105026 h 2403475"/>
              <a:gd name="connsiteX3" fmla="*/ 9164880 w 11499847"/>
              <a:gd name="connsiteY3" fmla="*/ 2080233 h 2403475"/>
              <a:gd name="connsiteX4" fmla="*/ 9191622 w 11499847"/>
              <a:gd name="connsiteY4" fmla="*/ 2011737 h 2403475"/>
              <a:gd name="connsiteX5" fmla="*/ 9164880 w 11499847"/>
              <a:gd name="connsiteY5" fmla="*/ 1944501 h 2403475"/>
              <a:gd name="connsiteX6" fmla="*/ 9098233 w 11499847"/>
              <a:gd name="connsiteY6" fmla="*/ 1919288 h 2403475"/>
              <a:gd name="connsiteX7" fmla="*/ 8982072 w 11499847"/>
              <a:gd name="connsiteY7" fmla="*/ 1919288 h 2403475"/>
              <a:gd name="connsiteX8" fmla="*/ 7280272 w 11499847"/>
              <a:gd name="connsiteY8" fmla="*/ 1919288 h 2403475"/>
              <a:gd name="connsiteX9" fmla="*/ 7280272 w 11499847"/>
              <a:gd name="connsiteY9" fmla="*/ 2097088 h 2403475"/>
              <a:gd name="connsiteX10" fmla="*/ 7404503 w 11499847"/>
              <a:gd name="connsiteY10" fmla="*/ 2097088 h 2403475"/>
              <a:gd name="connsiteX11" fmla="*/ 7469027 w 11499847"/>
              <a:gd name="connsiteY11" fmla="*/ 2073423 h 2403475"/>
              <a:gd name="connsiteX12" fmla="*/ 7494585 w 11499847"/>
              <a:gd name="connsiteY12" fmla="*/ 2008502 h 2403475"/>
              <a:gd name="connsiteX13" fmla="*/ 7469027 w 11499847"/>
              <a:gd name="connsiteY13" fmla="*/ 1943581 h 2403475"/>
              <a:gd name="connsiteX14" fmla="*/ 7404503 w 11499847"/>
              <a:gd name="connsiteY14" fmla="*/ 1919288 h 2403475"/>
              <a:gd name="connsiteX15" fmla="*/ 7280272 w 11499847"/>
              <a:gd name="connsiteY15" fmla="*/ 1919288 h 2403475"/>
              <a:gd name="connsiteX16" fmla="*/ 7945015 w 11499847"/>
              <a:gd name="connsiteY16" fmla="*/ 1909763 h 2403475"/>
              <a:gd name="connsiteX17" fmla="*/ 7813574 w 11499847"/>
              <a:gd name="connsiteY17" fmla="*/ 1965330 h 2403475"/>
              <a:gd name="connsiteX18" fmla="*/ 7759697 w 11499847"/>
              <a:gd name="connsiteY18" fmla="*/ 2100368 h 2403475"/>
              <a:gd name="connsiteX19" fmla="*/ 7813574 w 11499847"/>
              <a:gd name="connsiteY19" fmla="*/ 2235406 h 2403475"/>
              <a:gd name="connsiteX20" fmla="*/ 7945015 w 11499847"/>
              <a:gd name="connsiteY20" fmla="*/ 2290763 h 2403475"/>
              <a:gd name="connsiteX21" fmla="*/ 8077086 w 11499847"/>
              <a:gd name="connsiteY21" fmla="*/ 2235825 h 2403475"/>
              <a:gd name="connsiteX22" fmla="*/ 8131172 w 11499847"/>
              <a:gd name="connsiteY22" fmla="*/ 2100368 h 2403475"/>
              <a:gd name="connsiteX23" fmla="*/ 8076876 w 11499847"/>
              <a:gd name="connsiteY23" fmla="*/ 1965330 h 2403475"/>
              <a:gd name="connsiteX24" fmla="*/ 7945015 w 11499847"/>
              <a:gd name="connsiteY24" fmla="*/ 1909763 h 2403475"/>
              <a:gd name="connsiteX25" fmla="*/ 8899522 w 11499847"/>
              <a:gd name="connsiteY25" fmla="*/ 1844675 h 2403475"/>
              <a:gd name="connsiteX26" fmla="*/ 9098598 w 11499847"/>
              <a:gd name="connsiteY26" fmla="*/ 1844675 h 2403475"/>
              <a:gd name="connsiteX27" fmla="*/ 9228521 w 11499847"/>
              <a:gd name="connsiteY27" fmla="*/ 1892741 h 2403475"/>
              <a:gd name="connsiteX28" fmla="*/ 9277347 w 11499847"/>
              <a:gd name="connsiteY28" fmla="*/ 2011236 h 2403475"/>
              <a:gd name="connsiteX29" fmla="*/ 9228521 w 11499847"/>
              <a:gd name="connsiteY29" fmla="*/ 2129521 h 2403475"/>
              <a:gd name="connsiteX30" fmla="*/ 9098598 w 11499847"/>
              <a:gd name="connsiteY30" fmla="*/ 2177796 h 2403475"/>
              <a:gd name="connsiteX31" fmla="*/ 8982086 w 11499847"/>
              <a:gd name="connsiteY31" fmla="*/ 2177796 h 2403475"/>
              <a:gd name="connsiteX32" fmla="*/ 8982086 w 11499847"/>
              <a:gd name="connsiteY32" fmla="*/ 2355850 h 2403475"/>
              <a:gd name="connsiteX33" fmla="*/ 8899522 w 11499847"/>
              <a:gd name="connsiteY33" fmla="*/ 2355850 h 2403475"/>
              <a:gd name="connsiteX34" fmla="*/ 8899522 w 11499847"/>
              <a:gd name="connsiteY34" fmla="*/ 1844675 h 2403475"/>
              <a:gd name="connsiteX35" fmla="*/ 8324847 w 11499847"/>
              <a:gd name="connsiteY35" fmla="*/ 1844675 h 2403475"/>
              <a:gd name="connsiteX36" fmla="*/ 8407608 w 11499847"/>
              <a:gd name="connsiteY36" fmla="*/ 1844675 h 2403475"/>
              <a:gd name="connsiteX37" fmla="*/ 8407608 w 11499847"/>
              <a:gd name="connsiteY37" fmla="*/ 2158090 h 2403475"/>
              <a:gd name="connsiteX38" fmla="*/ 8443017 w 11499847"/>
              <a:gd name="connsiteY38" fmla="*/ 2252595 h 2403475"/>
              <a:gd name="connsiteX39" fmla="*/ 8537931 w 11499847"/>
              <a:gd name="connsiteY39" fmla="*/ 2291066 h 2403475"/>
              <a:gd name="connsiteX40" fmla="*/ 8631797 w 11499847"/>
              <a:gd name="connsiteY40" fmla="*/ 2252595 h 2403475"/>
              <a:gd name="connsiteX41" fmla="*/ 8667415 w 11499847"/>
              <a:gd name="connsiteY41" fmla="*/ 2158090 h 2403475"/>
              <a:gd name="connsiteX42" fmla="*/ 8667415 w 11499847"/>
              <a:gd name="connsiteY42" fmla="*/ 1844675 h 2403475"/>
              <a:gd name="connsiteX43" fmla="*/ 8748710 w 11499847"/>
              <a:gd name="connsiteY43" fmla="*/ 1844675 h 2403475"/>
              <a:gd name="connsiteX44" fmla="*/ 8748710 w 11499847"/>
              <a:gd name="connsiteY44" fmla="*/ 2158717 h 2403475"/>
              <a:gd name="connsiteX45" fmla="*/ 8688577 w 11499847"/>
              <a:gd name="connsiteY45" fmla="*/ 2307793 h 2403475"/>
              <a:gd name="connsiteX46" fmla="*/ 8537093 w 11499847"/>
              <a:gd name="connsiteY46" fmla="*/ 2366963 h 2403475"/>
              <a:gd name="connsiteX47" fmla="*/ 8385399 w 11499847"/>
              <a:gd name="connsiteY47" fmla="*/ 2307793 h 2403475"/>
              <a:gd name="connsiteX48" fmla="*/ 8324847 w 11499847"/>
              <a:gd name="connsiteY48" fmla="*/ 2158717 h 2403475"/>
              <a:gd name="connsiteX49" fmla="*/ 8324847 w 11499847"/>
              <a:gd name="connsiteY49" fmla="*/ 1844675 h 2403475"/>
              <a:gd name="connsiteX50" fmla="*/ 7197722 w 11499847"/>
              <a:gd name="connsiteY50" fmla="*/ 1844675 h 2403475"/>
              <a:gd name="connsiteX51" fmla="*/ 7404196 w 11499847"/>
              <a:gd name="connsiteY51" fmla="*/ 1844675 h 2403475"/>
              <a:gd name="connsiteX52" fmla="*/ 7531336 w 11499847"/>
              <a:gd name="connsiteY52" fmla="*/ 1891906 h 2403475"/>
              <a:gd name="connsiteX53" fmla="*/ 7578727 w 11499847"/>
              <a:gd name="connsiteY53" fmla="*/ 2008937 h 2403475"/>
              <a:gd name="connsiteX54" fmla="*/ 7548455 w 11499847"/>
              <a:gd name="connsiteY54" fmla="*/ 2106950 h 2403475"/>
              <a:gd name="connsiteX55" fmla="*/ 7464947 w 11499847"/>
              <a:gd name="connsiteY55" fmla="*/ 2161495 h 2403475"/>
              <a:gd name="connsiteX56" fmla="*/ 7525699 w 11499847"/>
              <a:gd name="connsiteY56" fmla="*/ 2258673 h 2403475"/>
              <a:gd name="connsiteX57" fmla="*/ 7586660 w 11499847"/>
              <a:gd name="connsiteY57" fmla="*/ 2355850 h 2403475"/>
              <a:gd name="connsiteX58" fmla="*/ 7491044 w 11499847"/>
              <a:gd name="connsiteY58" fmla="*/ 2355850 h 2403475"/>
              <a:gd name="connsiteX59" fmla="*/ 7434676 w 11499847"/>
              <a:gd name="connsiteY59" fmla="*/ 2263479 h 2403475"/>
              <a:gd name="connsiteX60" fmla="*/ 7378099 w 11499847"/>
              <a:gd name="connsiteY60" fmla="*/ 2171108 h 2403475"/>
              <a:gd name="connsiteX61" fmla="*/ 7280395 w 11499847"/>
              <a:gd name="connsiteY61" fmla="*/ 2171108 h 2403475"/>
              <a:gd name="connsiteX62" fmla="*/ 7280395 w 11499847"/>
              <a:gd name="connsiteY62" fmla="*/ 2355850 h 2403475"/>
              <a:gd name="connsiteX63" fmla="*/ 7197722 w 11499847"/>
              <a:gd name="connsiteY63" fmla="*/ 2355850 h 2403475"/>
              <a:gd name="connsiteX64" fmla="*/ 7197722 w 11499847"/>
              <a:gd name="connsiteY64" fmla="*/ 1844675 h 2403475"/>
              <a:gd name="connsiteX65" fmla="*/ 7945016 w 11499847"/>
              <a:gd name="connsiteY65" fmla="*/ 1833563 h 2403475"/>
              <a:gd name="connsiteX66" fmla="*/ 8136527 w 11499847"/>
              <a:gd name="connsiteY66" fmla="*/ 1911974 h 2403475"/>
              <a:gd name="connsiteX67" fmla="*/ 8215310 w 11499847"/>
              <a:gd name="connsiteY67" fmla="*/ 2100368 h 2403475"/>
              <a:gd name="connsiteX68" fmla="*/ 8136527 w 11499847"/>
              <a:gd name="connsiteY68" fmla="*/ 2288762 h 2403475"/>
              <a:gd name="connsiteX69" fmla="*/ 7945016 w 11499847"/>
              <a:gd name="connsiteY69" fmla="*/ 2366963 h 2403475"/>
              <a:gd name="connsiteX70" fmla="*/ 7754134 w 11499847"/>
              <a:gd name="connsiteY70" fmla="*/ 2288762 h 2403475"/>
              <a:gd name="connsiteX71" fmla="*/ 7675560 w 11499847"/>
              <a:gd name="connsiteY71" fmla="*/ 2100368 h 2403475"/>
              <a:gd name="connsiteX72" fmla="*/ 7754134 w 11499847"/>
              <a:gd name="connsiteY72" fmla="*/ 1911974 h 2403475"/>
              <a:gd name="connsiteX73" fmla="*/ 7945016 w 11499847"/>
              <a:gd name="connsiteY73" fmla="*/ 1833563 h 2403475"/>
              <a:gd name="connsiteX74" fmla="*/ 6834872 w 11499847"/>
              <a:gd name="connsiteY74" fmla="*/ 1833563 h 2403475"/>
              <a:gd name="connsiteX75" fmla="*/ 6921875 w 11499847"/>
              <a:gd name="connsiteY75" fmla="*/ 1845482 h 2403475"/>
              <a:gd name="connsiteX76" fmla="*/ 6996090 w 11499847"/>
              <a:gd name="connsiteY76" fmla="*/ 1881028 h 2403475"/>
              <a:gd name="connsiteX77" fmla="*/ 6974496 w 11499847"/>
              <a:gd name="connsiteY77" fmla="*/ 1914692 h 2403475"/>
              <a:gd name="connsiteX78" fmla="*/ 6952903 w 11499847"/>
              <a:gd name="connsiteY78" fmla="*/ 1948356 h 2403475"/>
              <a:gd name="connsiteX79" fmla="*/ 6897556 w 11499847"/>
              <a:gd name="connsiteY79" fmla="*/ 1919501 h 2403475"/>
              <a:gd name="connsiteX80" fmla="*/ 6834243 w 11499847"/>
              <a:gd name="connsiteY80" fmla="*/ 1910301 h 2403475"/>
              <a:gd name="connsiteX81" fmla="*/ 6703424 w 11499847"/>
              <a:gd name="connsiteY81" fmla="*/ 1965084 h 2403475"/>
              <a:gd name="connsiteX82" fmla="*/ 6650384 w 11499847"/>
              <a:gd name="connsiteY82" fmla="*/ 2100368 h 2403475"/>
              <a:gd name="connsiteX83" fmla="*/ 6701957 w 11499847"/>
              <a:gd name="connsiteY83" fmla="*/ 2236070 h 2403475"/>
              <a:gd name="connsiteX84" fmla="*/ 6831308 w 11499847"/>
              <a:gd name="connsiteY84" fmla="*/ 2291062 h 2403475"/>
              <a:gd name="connsiteX85" fmla="*/ 6945984 w 11499847"/>
              <a:gd name="connsiteY85" fmla="*/ 2250498 h 2403475"/>
              <a:gd name="connsiteX86" fmla="*/ 6999863 w 11499847"/>
              <a:gd name="connsiteY86" fmla="*/ 2148460 h 2403475"/>
              <a:gd name="connsiteX87" fmla="*/ 6825438 w 11499847"/>
              <a:gd name="connsiteY87" fmla="*/ 2148460 h 2403475"/>
              <a:gd name="connsiteX88" fmla="*/ 6849128 w 11499847"/>
              <a:gd name="connsiteY88" fmla="*/ 2111241 h 2403475"/>
              <a:gd name="connsiteX89" fmla="*/ 6873028 w 11499847"/>
              <a:gd name="connsiteY89" fmla="*/ 2074022 h 2403475"/>
              <a:gd name="connsiteX90" fmla="*/ 7078061 w 11499847"/>
              <a:gd name="connsiteY90" fmla="*/ 2074022 h 2403475"/>
              <a:gd name="connsiteX91" fmla="*/ 7080787 w 11499847"/>
              <a:gd name="connsiteY91" fmla="*/ 2090540 h 2403475"/>
              <a:gd name="connsiteX92" fmla="*/ 7081835 w 11499847"/>
              <a:gd name="connsiteY92" fmla="*/ 2110613 h 2403475"/>
              <a:gd name="connsiteX93" fmla="*/ 7011813 w 11499847"/>
              <a:gd name="connsiteY93" fmla="*/ 2293362 h 2403475"/>
              <a:gd name="connsiteX94" fmla="*/ 6830470 w 11499847"/>
              <a:gd name="connsiteY94" fmla="*/ 2366963 h 2403475"/>
              <a:gd name="connsiteX95" fmla="*/ 6642417 w 11499847"/>
              <a:gd name="connsiteY95" fmla="*/ 2289389 h 2403475"/>
              <a:gd name="connsiteX96" fmla="*/ 6565897 w 11499847"/>
              <a:gd name="connsiteY96" fmla="*/ 2100368 h 2403475"/>
              <a:gd name="connsiteX97" fmla="*/ 6644514 w 11499847"/>
              <a:gd name="connsiteY97" fmla="*/ 1911346 h 2403475"/>
              <a:gd name="connsiteX98" fmla="*/ 6834872 w 11499847"/>
              <a:gd name="connsiteY98" fmla="*/ 1833563 h 2403475"/>
              <a:gd name="connsiteX99" fmla="*/ 501650 w 11499847"/>
              <a:gd name="connsiteY99" fmla="*/ 1403350 h 2403475"/>
              <a:gd name="connsiteX100" fmla="*/ 501650 w 11499847"/>
              <a:gd name="connsiteY100" fmla="*/ 1925638 h 2403475"/>
              <a:gd name="connsiteX101" fmla="*/ 842112 w 11499847"/>
              <a:gd name="connsiteY101" fmla="*/ 1925638 h 2403475"/>
              <a:gd name="connsiteX102" fmla="*/ 1182574 w 11499847"/>
              <a:gd name="connsiteY102" fmla="*/ 1925638 h 2403475"/>
              <a:gd name="connsiteX103" fmla="*/ 1375900 w 11499847"/>
              <a:gd name="connsiteY103" fmla="*/ 1849684 h 2403475"/>
              <a:gd name="connsiteX104" fmla="*/ 1455738 w 11499847"/>
              <a:gd name="connsiteY104" fmla="*/ 1662720 h 2403475"/>
              <a:gd name="connsiteX105" fmla="*/ 1375900 w 11499847"/>
              <a:gd name="connsiteY105" fmla="*/ 1477635 h 2403475"/>
              <a:gd name="connsiteX106" fmla="*/ 1182574 w 11499847"/>
              <a:gd name="connsiteY106" fmla="*/ 1403350 h 2403475"/>
              <a:gd name="connsiteX107" fmla="*/ 501650 w 11499847"/>
              <a:gd name="connsiteY107" fmla="*/ 1403350 h 2403475"/>
              <a:gd name="connsiteX108" fmla="*/ 7349808 w 11499847"/>
              <a:gd name="connsiteY108" fmla="*/ 1012825 h 2403475"/>
              <a:gd name="connsiteX109" fmla="*/ 7218292 w 11499847"/>
              <a:gd name="connsiteY109" fmla="*/ 1067952 h 2403475"/>
              <a:gd name="connsiteX110" fmla="*/ 7164385 w 11499847"/>
              <a:gd name="connsiteY110" fmla="*/ 1202427 h 2403475"/>
              <a:gd name="connsiteX111" fmla="*/ 7218292 w 11499847"/>
              <a:gd name="connsiteY111" fmla="*/ 1336903 h 2403475"/>
              <a:gd name="connsiteX112" fmla="*/ 7349808 w 11499847"/>
              <a:gd name="connsiteY112" fmla="*/ 1392238 h 2403475"/>
              <a:gd name="connsiteX113" fmla="*/ 7481953 w 11499847"/>
              <a:gd name="connsiteY113" fmla="*/ 1337320 h 2403475"/>
              <a:gd name="connsiteX114" fmla="*/ 7535860 w 11499847"/>
              <a:gd name="connsiteY114" fmla="*/ 1202427 h 2403475"/>
              <a:gd name="connsiteX115" fmla="*/ 7481534 w 11499847"/>
              <a:gd name="connsiteY115" fmla="*/ 1067952 h 2403475"/>
              <a:gd name="connsiteX116" fmla="*/ 7349808 w 11499847"/>
              <a:gd name="connsiteY116" fmla="*/ 1012825 h 2403475"/>
              <a:gd name="connsiteX117" fmla="*/ 10448922 w 11499847"/>
              <a:gd name="connsiteY117" fmla="*/ 946150 h 2403475"/>
              <a:gd name="connsiteX118" fmla="*/ 10552110 w 11499847"/>
              <a:gd name="connsiteY118" fmla="*/ 946150 h 2403475"/>
              <a:gd name="connsiteX119" fmla="*/ 10671172 w 11499847"/>
              <a:gd name="connsiteY119" fmla="*/ 1139825 h 2403475"/>
              <a:gd name="connsiteX120" fmla="*/ 10790235 w 11499847"/>
              <a:gd name="connsiteY120" fmla="*/ 1333501 h 2403475"/>
              <a:gd name="connsiteX121" fmla="*/ 10790235 w 11499847"/>
              <a:gd name="connsiteY121" fmla="*/ 946150 h 2403475"/>
              <a:gd name="connsiteX122" fmla="*/ 10869610 w 11499847"/>
              <a:gd name="connsiteY122" fmla="*/ 946150 h 2403475"/>
              <a:gd name="connsiteX123" fmla="*/ 10869610 w 11499847"/>
              <a:gd name="connsiteY123" fmla="*/ 1458913 h 2403475"/>
              <a:gd name="connsiteX124" fmla="*/ 10772772 w 11499847"/>
              <a:gd name="connsiteY124" fmla="*/ 1458913 h 2403475"/>
              <a:gd name="connsiteX125" fmla="*/ 10650535 w 11499847"/>
              <a:gd name="connsiteY125" fmla="*/ 1260475 h 2403475"/>
              <a:gd name="connsiteX126" fmla="*/ 10528297 w 11499847"/>
              <a:gd name="connsiteY126" fmla="*/ 1062038 h 2403475"/>
              <a:gd name="connsiteX127" fmla="*/ 10528297 w 11499847"/>
              <a:gd name="connsiteY127" fmla="*/ 1458913 h 2403475"/>
              <a:gd name="connsiteX128" fmla="*/ 10448922 w 11499847"/>
              <a:gd name="connsiteY128" fmla="*/ 1458913 h 2403475"/>
              <a:gd name="connsiteX129" fmla="*/ 10185397 w 11499847"/>
              <a:gd name="connsiteY129" fmla="*/ 946150 h 2403475"/>
              <a:gd name="connsiteX130" fmla="*/ 10267947 w 11499847"/>
              <a:gd name="connsiteY130" fmla="*/ 946150 h 2403475"/>
              <a:gd name="connsiteX131" fmla="*/ 10267947 w 11499847"/>
              <a:gd name="connsiteY131" fmla="*/ 1458913 h 2403475"/>
              <a:gd name="connsiteX132" fmla="*/ 10185397 w 11499847"/>
              <a:gd name="connsiteY132" fmla="*/ 1458913 h 2403475"/>
              <a:gd name="connsiteX133" fmla="*/ 9656760 w 11499847"/>
              <a:gd name="connsiteY133" fmla="*/ 946150 h 2403475"/>
              <a:gd name="connsiteX134" fmla="*/ 10059985 w 11499847"/>
              <a:gd name="connsiteY134" fmla="*/ 946150 h 2403475"/>
              <a:gd name="connsiteX135" fmla="*/ 10059985 w 11499847"/>
              <a:gd name="connsiteY135" fmla="*/ 1022350 h 2403475"/>
              <a:gd name="connsiteX136" fmla="*/ 9899648 w 11499847"/>
              <a:gd name="connsiteY136" fmla="*/ 1022350 h 2403475"/>
              <a:gd name="connsiteX137" fmla="*/ 9899648 w 11499847"/>
              <a:gd name="connsiteY137" fmla="*/ 1458913 h 2403475"/>
              <a:gd name="connsiteX138" fmla="*/ 9817098 w 11499847"/>
              <a:gd name="connsiteY138" fmla="*/ 1458913 h 2403475"/>
              <a:gd name="connsiteX139" fmla="*/ 9817098 w 11499847"/>
              <a:gd name="connsiteY139" fmla="*/ 1022350 h 2403475"/>
              <a:gd name="connsiteX140" fmla="*/ 9656760 w 11499847"/>
              <a:gd name="connsiteY140" fmla="*/ 1022350 h 2403475"/>
              <a:gd name="connsiteX141" fmla="*/ 9336085 w 11499847"/>
              <a:gd name="connsiteY141" fmla="*/ 946150 h 2403475"/>
              <a:gd name="connsiteX142" fmla="*/ 9418635 w 11499847"/>
              <a:gd name="connsiteY142" fmla="*/ 946150 h 2403475"/>
              <a:gd name="connsiteX143" fmla="*/ 9418635 w 11499847"/>
              <a:gd name="connsiteY143" fmla="*/ 1382713 h 2403475"/>
              <a:gd name="connsiteX144" fmla="*/ 9671048 w 11499847"/>
              <a:gd name="connsiteY144" fmla="*/ 1382713 h 2403475"/>
              <a:gd name="connsiteX145" fmla="*/ 9671048 w 11499847"/>
              <a:gd name="connsiteY145" fmla="*/ 1458913 h 2403475"/>
              <a:gd name="connsiteX146" fmla="*/ 9336085 w 11499847"/>
              <a:gd name="connsiteY146" fmla="*/ 1458913 h 2403475"/>
              <a:gd name="connsiteX147" fmla="*/ 8766172 w 11499847"/>
              <a:gd name="connsiteY147" fmla="*/ 946150 h 2403475"/>
              <a:gd name="connsiteX148" fmla="*/ 8848414 w 11499847"/>
              <a:gd name="connsiteY148" fmla="*/ 946150 h 2403475"/>
              <a:gd name="connsiteX149" fmla="*/ 8848414 w 11499847"/>
              <a:gd name="connsiteY149" fmla="*/ 1260391 h 2403475"/>
              <a:gd name="connsiteX150" fmla="*/ 8883900 w 11499847"/>
              <a:gd name="connsiteY150" fmla="*/ 1355146 h 2403475"/>
              <a:gd name="connsiteX151" fmla="*/ 8978249 w 11499847"/>
              <a:gd name="connsiteY151" fmla="*/ 1393718 h 2403475"/>
              <a:gd name="connsiteX152" fmla="*/ 9071972 w 11499847"/>
              <a:gd name="connsiteY152" fmla="*/ 1355146 h 2403475"/>
              <a:gd name="connsiteX153" fmla="*/ 9107457 w 11499847"/>
              <a:gd name="connsiteY153" fmla="*/ 1260391 h 2403475"/>
              <a:gd name="connsiteX154" fmla="*/ 9107457 w 11499847"/>
              <a:gd name="connsiteY154" fmla="*/ 946150 h 2403475"/>
              <a:gd name="connsiteX155" fmla="*/ 9188447 w 11499847"/>
              <a:gd name="connsiteY155" fmla="*/ 946150 h 2403475"/>
              <a:gd name="connsiteX156" fmla="*/ 9188447 w 11499847"/>
              <a:gd name="connsiteY156" fmla="*/ 1261230 h 2403475"/>
              <a:gd name="connsiteX157" fmla="*/ 9128539 w 11499847"/>
              <a:gd name="connsiteY157" fmla="*/ 1410489 h 2403475"/>
              <a:gd name="connsiteX158" fmla="*/ 8977623 w 11499847"/>
              <a:gd name="connsiteY158" fmla="*/ 1470025 h 2403475"/>
              <a:gd name="connsiteX159" fmla="*/ 8826497 w 11499847"/>
              <a:gd name="connsiteY159" fmla="*/ 1410489 h 2403475"/>
              <a:gd name="connsiteX160" fmla="*/ 8766172 w 11499847"/>
              <a:gd name="connsiteY160" fmla="*/ 1261230 h 2403475"/>
              <a:gd name="connsiteX161" fmla="*/ 8766172 w 11499847"/>
              <a:gd name="connsiteY161" fmla="*/ 946150 h 2403475"/>
              <a:gd name="connsiteX162" fmla="*/ 7737472 w 11499847"/>
              <a:gd name="connsiteY162" fmla="*/ 946150 h 2403475"/>
              <a:gd name="connsiteX163" fmla="*/ 7839072 w 11499847"/>
              <a:gd name="connsiteY163" fmla="*/ 946150 h 2403475"/>
              <a:gd name="connsiteX164" fmla="*/ 7958134 w 11499847"/>
              <a:gd name="connsiteY164" fmla="*/ 1139825 h 2403475"/>
              <a:gd name="connsiteX165" fmla="*/ 8077197 w 11499847"/>
              <a:gd name="connsiteY165" fmla="*/ 1333501 h 2403475"/>
              <a:gd name="connsiteX166" fmla="*/ 8077197 w 11499847"/>
              <a:gd name="connsiteY166" fmla="*/ 946150 h 2403475"/>
              <a:gd name="connsiteX167" fmla="*/ 8156572 w 11499847"/>
              <a:gd name="connsiteY167" fmla="*/ 946150 h 2403475"/>
              <a:gd name="connsiteX168" fmla="*/ 8156572 w 11499847"/>
              <a:gd name="connsiteY168" fmla="*/ 1458913 h 2403475"/>
              <a:gd name="connsiteX169" fmla="*/ 8061322 w 11499847"/>
              <a:gd name="connsiteY169" fmla="*/ 1458913 h 2403475"/>
              <a:gd name="connsiteX170" fmla="*/ 7939084 w 11499847"/>
              <a:gd name="connsiteY170" fmla="*/ 1260475 h 2403475"/>
              <a:gd name="connsiteX171" fmla="*/ 7815259 w 11499847"/>
              <a:gd name="connsiteY171" fmla="*/ 1062038 h 2403475"/>
              <a:gd name="connsiteX172" fmla="*/ 7815259 w 11499847"/>
              <a:gd name="connsiteY172" fmla="*/ 1458913 h 2403475"/>
              <a:gd name="connsiteX173" fmla="*/ 7737472 w 11499847"/>
              <a:gd name="connsiteY173" fmla="*/ 1458913 h 2403475"/>
              <a:gd name="connsiteX174" fmla="*/ 11253544 w 11499847"/>
              <a:gd name="connsiteY174" fmla="*/ 936625 h 2403475"/>
              <a:gd name="connsiteX175" fmla="*/ 11340315 w 11499847"/>
              <a:gd name="connsiteY175" fmla="*/ 948334 h 2403475"/>
              <a:gd name="connsiteX176" fmla="*/ 11414331 w 11499847"/>
              <a:gd name="connsiteY176" fmla="*/ 984090 h 2403475"/>
              <a:gd name="connsiteX177" fmla="*/ 11392795 w 11499847"/>
              <a:gd name="connsiteY177" fmla="*/ 1017545 h 2403475"/>
              <a:gd name="connsiteX178" fmla="*/ 11371260 w 11499847"/>
              <a:gd name="connsiteY178" fmla="*/ 1051209 h 2403475"/>
              <a:gd name="connsiteX179" fmla="*/ 11316270 w 11499847"/>
              <a:gd name="connsiteY179" fmla="*/ 1022354 h 2403475"/>
              <a:gd name="connsiteX180" fmla="*/ 11252917 w 11499847"/>
              <a:gd name="connsiteY180" fmla="*/ 1013363 h 2403475"/>
              <a:gd name="connsiteX181" fmla="*/ 11122657 w 11499847"/>
              <a:gd name="connsiteY181" fmla="*/ 1067936 h 2403475"/>
              <a:gd name="connsiteX182" fmla="*/ 11069549 w 11499847"/>
              <a:gd name="connsiteY182" fmla="*/ 1203221 h 2403475"/>
              <a:gd name="connsiteX183" fmla="*/ 11120984 w 11499847"/>
              <a:gd name="connsiteY183" fmla="*/ 1338923 h 2403475"/>
              <a:gd name="connsiteX184" fmla="*/ 11249990 w 11499847"/>
              <a:gd name="connsiteY184" fmla="*/ 1394124 h 2403475"/>
              <a:gd name="connsiteX185" fmla="*/ 11364360 w 11499847"/>
              <a:gd name="connsiteY185" fmla="*/ 1353350 h 2403475"/>
              <a:gd name="connsiteX186" fmla="*/ 11418095 w 11499847"/>
              <a:gd name="connsiteY186" fmla="*/ 1251521 h 2403475"/>
              <a:gd name="connsiteX187" fmla="*/ 11244136 w 11499847"/>
              <a:gd name="connsiteY187" fmla="*/ 1251521 h 2403475"/>
              <a:gd name="connsiteX188" fmla="*/ 11267971 w 11499847"/>
              <a:gd name="connsiteY188" fmla="*/ 1214303 h 2403475"/>
              <a:gd name="connsiteX189" fmla="*/ 11291598 w 11499847"/>
              <a:gd name="connsiteY189" fmla="*/ 1177084 h 2403475"/>
              <a:gd name="connsiteX190" fmla="*/ 11496083 w 11499847"/>
              <a:gd name="connsiteY190" fmla="*/ 1177084 h 2403475"/>
              <a:gd name="connsiteX191" fmla="*/ 11498802 w 11499847"/>
              <a:gd name="connsiteY191" fmla="*/ 1193393 h 2403475"/>
              <a:gd name="connsiteX192" fmla="*/ 11499847 w 11499847"/>
              <a:gd name="connsiteY192" fmla="*/ 1213466 h 2403475"/>
              <a:gd name="connsiteX193" fmla="*/ 11430222 w 11499847"/>
              <a:gd name="connsiteY193" fmla="*/ 1396215 h 2403475"/>
              <a:gd name="connsiteX194" fmla="*/ 11249154 w 11499847"/>
              <a:gd name="connsiteY194" fmla="*/ 1470025 h 2403475"/>
              <a:gd name="connsiteX195" fmla="*/ 11061813 w 11499847"/>
              <a:gd name="connsiteY195" fmla="*/ 1392242 h 2403475"/>
              <a:gd name="connsiteX196" fmla="*/ 10985497 w 11499847"/>
              <a:gd name="connsiteY196" fmla="*/ 1203221 h 2403475"/>
              <a:gd name="connsiteX197" fmla="*/ 11063695 w 11499847"/>
              <a:gd name="connsiteY197" fmla="*/ 1014408 h 2403475"/>
              <a:gd name="connsiteX198" fmla="*/ 11253544 w 11499847"/>
              <a:gd name="connsiteY198" fmla="*/ 936625 h 2403475"/>
              <a:gd name="connsiteX199" fmla="*/ 8471697 w 11499847"/>
              <a:gd name="connsiteY199" fmla="*/ 936625 h 2403475"/>
              <a:gd name="connsiteX200" fmla="*/ 8556850 w 11499847"/>
              <a:gd name="connsiteY200" fmla="*/ 949798 h 2403475"/>
              <a:gd name="connsiteX201" fmla="*/ 8626729 w 11499847"/>
              <a:gd name="connsiteY201" fmla="*/ 984717 h 2403475"/>
              <a:gd name="connsiteX202" fmla="*/ 8606225 w 11499847"/>
              <a:gd name="connsiteY202" fmla="*/ 1017336 h 2403475"/>
              <a:gd name="connsiteX203" fmla="*/ 8585722 w 11499847"/>
              <a:gd name="connsiteY203" fmla="*/ 1049745 h 2403475"/>
              <a:gd name="connsiteX204" fmla="*/ 8528605 w 11499847"/>
              <a:gd name="connsiteY204" fmla="*/ 1021099 h 2403475"/>
              <a:gd name="connsiteX205" fmla="*/ 8471070 w 11499847"/>
              <a:gd name="connsiteY205" fmla="*/ 1011063 h 2403475"/>
              <a:gd name="connsiteX206" fmla="*/ 8404328 w 11499847"/>
              <a:gd name="connsiteY206" fmla="*/ 1032181 h 2403475"/>
              <a:gd name="connsiteX207" fmla="*/ 8382570 w 11499847"/>
              <a:gd name="connsiteY207" fmla="*/ 1084246 h 2403475"/>
              <a:gd name="connsiteX208" fmla="*/ 8412697 w 11499847"/>
              <a:gd name="connsiteY208" fmla="*/ 1135474 h 2403475"/>
              <a:gd name="connsiteX209" fmla="*/ 8493038 w 11499847"/>
              <a:gd name="connsiteY209" fmla="*/ 1165165 h 2403475"/>
              <a:gd name="connsiteX210" fmla="*/ 8600786 w 11499847"/>
              <a:gd name="connsiteY210" fmla="*/ 1212421 h 2403475"/>
              <a:gd name="connsiteX211" fmla="*/ 8648697 w 11499847"/>
              <a:gd name="connsiteY211" fmla="*/ 1314250 h 2403475"/>
              <a:gd name="connsiteX212" fmla="*/ 8601413 w 11499847"/>
              <a:gd name="connsiteY212" fmla="*/ 1425906 h 2403475"/>
              <a:gd name="connsiteX213" fmla="*/ 8468140 w 11499847"/>
              <a:gd name="connsiteY213" fmla="*/ 1470025 h 2403475"/>
              <a:gd name="connsiteX214" fmla="*/ 8363531 w 11499847"/>
              <a:gd name="connsiteY214" fmla="*/ 1452461 h 2403475"/>
              <a:gd name="connsiteX215" fmla="*/ 8286747 w 11499847"/>
              <a:gd name="connsiteY215" fmla="*/ 1411479 h 2403475"/>
              <a:gd name="connsiteX216" fmla="*/ 8307251 w 11499847"/>
              <a:gd name="connsiteY216" fmla="*/ 1379069 h 2403475"/>
              <a:gd name="connsiteX217" fmla="*/ 8327754 w 11499847"/>
              <a:gd name="connsiteY217" fmla="*/ 1346450 h 2403475"/>
              <a:gd name="connsiteX218" fmla="*/ 8395541 w 11499847"/>
              <a:gd name="connsiteY218" fmla="*/ 1381578 h 2403475"/>
              <a:gd name="connsiteX219" fmla="*/ 8468768 w 11499847"/>
              <a:gd name="connsiteY219" fmla="*/ 1395378 h 2403475"/>
              <a:gd name="connsiteX220" fmla="*/ 8541367 w 11499847"/>
              <a:gd name="connsiteY220" fmla="*/ 1373633 h 2403475"/>
              <a:gd name="connsiteX221" fmla="*/ 8566055 w 11499847"/>
              <a:gd name="connsiteY221" fmla="*/ 1319477 h 2403475"/>
              <a:gd name="connsiteX222" fmla="*/ 8535509 w 11499847"/>
              <a:gd name="connsiteY222" fmla="*/ 1268458 h 2403475"/>
              <a:gd name="connsiteX223" fmla="*/ 8455587 w 11499847"/>
              <a:gd name="connsiteY223" fmla="*/ 1238348 h 2403475"/>
              <a:gd name="connsiteX224" fmla="*/ 8347630 w 11499847"/>
              <a:gd name="connsiteY224" fmla="*/ 1191511 h 2403475"/>
              <a:gd name="connsiteX225" fmla="*/ 8299928 w 11499847"/>
              <a:gd name="connsiteY225" fmla="*/ 1089264 h 2403475"/>
              <a:gd name="connsiteX226" fmla="*/ 8345329 w 11499847"/>
              <a:gd name="connsiteY226" fmla="*/ 979489 h 2403475"/>
              <a:gd name="connsiteX227" fmla="*/ 8471697 w 11499847"/>
              <a:gd name="connsiteY227" fmla="*/ 936625 h 2403475"/>
              <a:gd name="connsiteX228" fmla="*/ 7349808 w 11499847"/>
              <a:gd name="connsiteY228" fmla="*/ 936625 h 2403475"/>
              <a:gd name="connsiteX229" fmla="*/ 7541183 w 11499847"/>
              <a:gd name="connsiteY229" fmla="*/ 1014826 h 2403475"/>
              <a:gd name="connsiteX230" fmla="*/ 7619997 w 11499847"/>
              <a:gd name="connsiteY230" fmla="*/ 1203221 h 2403475"/>
              <a:gd name="connsiteX231" fmla="*/ 7541183 w 11499847"/>
              <a:gd name="connsiteY231" fmla="*/ 1391615 h 2403475"/>
              <a:gd name="connsiteX232" fmla="*/ 7349808 w 11499847"/>
              <a:gd name="connsiteY232" fmla="*/ 1470025 h 2403475"/>
              <a:gd name="connsiteX233" fmla="*/ 7158642 w 11499847"/>
              <a:gd name="connsiteY233" fmla="*/ 1391615 h 2403475"/>
              <a:gd name="connsiteX234" fmla="*/ 7080247 w 11499847"/>
              <a:gd name="connsiteY234" fmla="*/ 1203221 h 2403475"/>
              <a:gd name="connsiteX235" fmla="*/ 7158642 w 11499847"/>
              <a:gd name="connsiteY235" fmla="*/ 1014826 h 2403475"/>
              <a:gd name="connsiteX236" fmla="*/ 7349808 w 11499847"/>
              <a:gd name="connsiteY236" fmla="*/ 936625 h 2403475"/>
              <a:gd name="connsiteX237" fmla="*/ 6837427 w 11499847"/>
              <a:gd name="connsiteY237" fmla="*/ 936625 h 2403475"/>
              <a:gd name="connsiteX238" fmla="*/ 6932756 w 11499847"/>
              <a:gd name="connsiteY238" fmla="*/ 951680 h 2403475"/>
              <a:gd name="connsiteX239" fmla="*/ 7008810 w 11499847"/>
              <a:gd name="connsiteY239" fmla="*/ 993499 h 2403475"/>
              <a:gd name="connsiteX240" fmla="*/ 6987439 w 11499847"/>
              <a:gd name="connsiteY240" fmla="*/ 1026745 h 2403475"/>
              <a:gd name="connsiteX241" fmla="*/ 6966278 w 11499847"/>
              <a:gd name="connsiteY241" fmla="*/ 1059991 h 2403475"/>
              <a:gd name="connsiteX242" fmla="*/ 6904891 w 11499847"/>
              <a:gd name="connsiteY242" fmla="*/ 1024863 h 2403475"/>
              <a:gd name="connsiteX243" fmla="*/ 6833027 w 11499847"/>
              <a:gd name="connsiteY243" fmla="*/ 1012526 h 2403475"/>
              <a:gd name="connsiteX244" fmla="*/ 6703338 w 11499847"/>
              <a:gd name="connsiteY244" fmla="*/ 1067727 h 2403475"/>
              <a:gd name="connsiteX245" fmla="*/ 6649912 w 11499847"/>
              <a:gd name="connsiteY245" fmla="*/ 1203221 h 2403475"/>
              <a:gd name="connsiteX246" fmla="*/ 6703338 w 11499847"/>
              <a:gd name="connsiteY246" fmla="*/ 1338923 h 2403475"/>
              <a:gd name="connsiteX247" fmla="*/ 6833027 w 11499847"/>
              <a:gd name="connsiteY247" fmla="*/ 1393915 h 2403475"/>
              <a:gd name="connsiteX248" fmla="*/ 6904891 w 11499847"/>
              <a:gd name="connsiteY248" fmla="*/ 1381787 h 2403475"/>
              <a:gd name="connsiteX249" fmla="*/ 6966278 w 11499847"/>
              <a:gd name="connsiteY249" fmla="*/ 1346450 h 2403475"/>
              <a:gd name="connsiteX250" fmla="*/ 6987439 w 11499847"/>
              <a:gd name="connsiteY250" fmla="*/ 1379696 h 2403475"/>
              <a:gd name="connsiteX251" fmla="*/ 7008810 w 11499847"/>
              <a:gd name="connsiteY251" fmla="*/ 1412942 h 2403475"/>
              <a:gd name="connsiteX252" fmla="*/ 6932756 w 11499847"/>
              <a:gd name="connsiteY252" fmla="*/ 1454970 h 2403475"/>
              <a:gd name="connsiteX253" fmla="*/ 6837427 w 11499847"/>
              <a:gd name="connsiteY253" fmla="*/ 1470025 h 2403475"/>
              <a:gd name="connsiteX254" fmla="*/ 6644674 w 11499847"/>
              <a:gd name="connsiteY254" fmla="*/ 1392242 h 2403475"/>
              <a:gd name="connsiteX255" fmla="*/ 6565897 w 11499847"/>
              <a:gd name="connsiteY255" fmla="*/ 1203221 h 2403475"/>
              <a:gd name="connsiteX256" fmla="*/ 6644674 w 11499847"/>
              <a:gd name="connsiteY256" fmla="*/ 1014408 h 2403475"/>
              <a:gd name="connsiteX257" fmla="*/ 6837427 w 11499847"/>
              <a:gd name="connsiteY257" fmla="*/ 936625 h 2403475"/>
              <a:gd name="connsiteX258" fmla="*/ 501650 w 11499847"/>
              <a:gd name="connsiteY258" fmla="*/ 477838 h 2403475"/>
              <a:gd name="connsiteX259" fmla="*/ 501650 w 11499847"/>
              <a:gd name="connsiteY259" fmla="*/ 981076 h 2403475"/>
              <a:gd name="connsiteX260" fmla="*/ 786010 w 11499847"/>
              <a:gd name="connsiteY260" fmla="*/ 981076 h 2403475"/>
              <a:gd name="connsiteX261" fmla="*/ 1070579 w 11499847"/>
              <a:gd name="connsiteY261" fmla="*/ 981076 h 2403475"/>
              <a:gd name="connsiteX262" fmla="*/ 1253188 w 11499847"/>
              <a:gd name="connsiteY262" fmla="*/ 908588 h 2403475"/>
              <a:gd name="connsiteX263" fmla="*/ 1327150 w 11499847"/>
              <a:gd name="connsiteY263" fmla="*/ 727681 h 2403475"/>
              <a:gd name="connsiteX264" fmla="*/ 1253188 w 11499847"/>
              <a:gd name="connsiteY264" fmla="*/ 548446 h 2403475"/>
              <a:gd name="connsiteX265" fmla="*/ 1070579 w 11499847"/>
              <a:gd name="connsiteY265" fmla="*/ 477838 h 2403475"/>
              <a:gd name="connsiteX266" fmla="*/ 501650 w 11499847"/>
              <a:gd name="connsiteY266" fmla="*/ 477838 h 2403475"/>
              <a:gd name="connsiteX267" fmla="*/ 6675435 w 11499847"/>
              <a:gd name="connsiteY267" fmla="*/ 336550 h 2403475"/>
              <a:gd name="connsiteX268" fmla="*/ 6675435 w 11499847"/>
              <a:gd name="connsiteY268" fmla="*/ 487363 h 2403475"/>
              <a:gd name="connsiteX269" fmla="*/ 6808467 w 11499847"/>
              <a:gd name="connsiteY269" fmla="*/ 487363 h 2403475"/>
              <a:gd name="connsiteX270" fmla="*/ 6865570 w 11499847"/>
              <a:gd name="connsiteY270" fmla="*/ 465370 h 2403475"/>
              <a:gd name="connsiteX271" fmla="*/ 6888160 w 11499847"/>
              <a:gd name="connsiteY271" fmla="*/ 411957 h 2403475"/>
              <a:gd name="connsiteX272" fmla="*/ 6865570 w 11499847"/>
              <a:gd name="connsiteY272" fmla="*/ 358334 h 2403475"/>
              <a:gd name="connsiteX273" fmla="*/ 6808467 w 11499847"/>
              <a:gd name="connsiteY273" fmla="*/ 336550 h 2403475"/>
              <a:gd name="connsiteX274" fmla="*/ 6675435 w 11499847"/>
              <a:gd name="connsiteY274" fmla="*/ 336550 h 2403475"/>
              <a:gd name="connsiteX275" fmla="*/ 6675435 w 11499847"/>
              <a:gd name="connsiteY275" fmla="*/ 122238 h 2403475"/>
              <a:gd name="connsiteX276" fmla="*/ 6675435 w 11499847"/>
              <a:gd name="connsiteY276" fmla="*/ 265113 h 2403475"/>
              <a:gd name="connsiteX277" fmla="*/ 6795279 w 11499847"/>
              <a:gd name="connsiteY277" fmla="*/ 265113 h 2403475"/>
              <a:gd name="connsiteX278" fmla="*/ 6848404 w 11499847"/>
              <a:gd name="connsiteY278" fmla="*/ 244673 h 2403475"/>
              <a:gd name="connsiteX279" fmla="*/ 6869110 w 11499847"/>
              <a:gd name="connsiteY279" fmla="*/ 193571 h 2403475"/>
              <a:gd name="connsiteX280" fmla="*/ 6848404 w 11499847"/>
              <a:gd name="connsiteY280" fmla="*/ 142679 h 2403475"/>
              <a:gd name="connsiteX281" fmla="*/ 6795279 w 11499847"/>
              <a:gd name="connsiteY281" fmla="*/ 122238 h 2403475"/>
              <a:gd name="connsiteX282" fmla="*/ 6675435 w 11499847"/>
              <a:gd name="connsiteY282" fmla="*/ 122238 h 2403475"/>
              <a:gd name="connsiteX283" fmla="*/ 8850791 w 11499847"/>
              <a:gd name="connsiteY283" fmla="*/ 114300 h 2403475"/>
              <a:gd name="connsiteX284" fmla="*/ 8719837 w 11499847"/>
              <a:gd name="connsiteY284" fmla="*/ 169657 h 2403475"/>
              <a:gd name="connsiteX285" fmla="*/ 8666160 w 11499847"/>
              <a:gd name="connsiteY285" fmla="*/ 304905 h 2403475"/>
              <a:gd name="connsiteX286" fmla="*/ 8719837 w 11499847"/>
              <a:gd name="connsiteY286" fmla="*/ 439943 h 2403475"/>
              <a:gd name="connsiteX287" fmla="*/ 8850791 w 11499847"/>
              <a:gd name="connsiteY287" fmla="*/ 495300 h 2403475"/>
              <a:gd name="connsiteX288" fmla="*/ 8982163 w 11499847"/>
              <a:gd name="connsiteY288" fmla="*/ 440153 h 2403475"/>
              <a:gd name="connsiteX289" fmla="*/ 9036048 w 11499847"/>
              <a:gd name="connsiteY289" fmla="*/ 304905 h 2403475"/>
              <a:gd name="connsiteX290" fmla="*/ 8981954 w 11499847"/>
              <a:gd name="connsiteY290" fmla="*/ 169657 h 2403475"/>
              <a:gd name="connsiteX291" fmla="*/ 8850791 w 11499847"/>
              <a:gd name="connsiteY291" fmla="*/ 114300 h 2403475"/>
              <a:gd name="connsiteX292" fmla="*/ 7335415 w 11499847"/>
              <a:gd name="connsiteY292" fmla="*/ 114300 h 2403475"/>
              <a:gd name="connsiteX293" fmla="*/ 7203974 w 11499847"/>
              <a:gd name="connsiteY293" fmla="*/ 169657 h 2403475"/>
              <a:gd name="connsiteX294" fmla="*/ 7150097 w 11499847"/>
              <a:gd name="connsiteY294" fmla="*/ 304905 h 2403475"/>
              <a:gd name="connsiteX295" fmla="*/ 7203974 w 11499847"/>
              <a:gd name="connsiteY295" fmla="*/ 439943 h 2403475"/>
              <a:gd name="connsiteX296" fmla="*/ 7335415 w 11499847"/>
              <a:gd name="connsiteY296" fmla="*/ 495300 h 2403475"/>
              <a:gd name="connsiteX297" fmla="*/ 7467486 w 11499847"/>
              <a:gd name="connsiteY297" fmla="*/ 440153 h 2403475"/>
              <a:gd name="connsiteX298" fmla="*/ 7521572 w 11499847"/>
              <a:gd name="connsiteY298" fmla="*/ 304905 h 2403475"/>
              <a:gd name="connsiteX299" fmla="*/ 7467067 w 11499847"/>
              <a:gd name="connsiteY299" fmla="*/ 169657 h 2403475"/>
              <a:gd name="connsiteX300" fmla="*/ 7335415 w 11499847"/>
              <a:gd name="connsiteY300" fmla="*/ 114300 h 2403475"/>
              <a:gd name="connsiteX301" fmla="*/ 9237660 w 11499847"/>
              <a:gd name="connsiteY301" fmla="*/ 49213 h 2403475"/>
              <a:gd name="connsiteX302" fmla="*/ 9339260 w 11499847"/>
              <a:gd name="connsiteY302" fmla="*/ 49213 h 2403475"/>
              <a:gd name="connsiteX303" fmla="*/ 9458322 w 11499847"/>
              <a:gd name="connsiteY303" fmla="*/ 242888 h 2403475"/>
              <a:gd name="connsiteX304" fmla="*/ 9578972 w 11499847"/>
              <a:gd name="connsiteY304" fmla="*/ 436563 h 2403475"/>
              <a:gd name="connsiteX305" fmla="*/ 9578972 w 11499847"/>
              <a:gd name="connsiteY305" fmla="*/ 49213 h 2403475"/>
              <a:gd name="connsiteX306" fmla="*/ 9656760 w 11499847"/>
              <a:gd name="connsiteY306" fmla="*/ 49213 h 2403475"/>
              <a:gd name="connsiteX307" fmla="*/ 9656760 w 11499847"/>
              <a:gd name="connsiteY307" fmla="*/ 560388 h 2403475"/>
              <a:gd name="connsiteX308" fmla="*/ 9561510 w 11499847"/>
              <a:gd name="connsiteY308" fmla="*/ 560388 h 2403475"/>
              <a:gd name="connsiteX309" fmla="*/ 9439272 w 11499847"/>
              <a:gd name="connsiteY309" fmla="*/ 363538 h 2403475"/>
              <a:gd name="connsiteX310" fmla="*/ 9317035 w 11499847"/>
              <a:gd name="connsiteY310" fmla="*/ 165101 h 2403475"/>
              <a:gd name="connsiteX311" fmla="*/ 9317035 w 11499847"/>
              <a:gd name="connsiteY311" fmla="*/ 560388 h 2403475"/>
              <a:gd name="connsiteX312" fmla="*/ 9237660 w 11499847"/>
              <a:gd name="connsiteY312" fmla="*/ 560388 h 2403475"/>
              <a:gd name="connsiteX313" fmla="*/ 8126410 w 11499847"/>
              <a:gd name="connsiteY313" fmla="*/ 49213 h 2403475"/>
              <a:gd name="connsiteX314" fmla="*/ 8529635 w 11499847"/>
              <a:gd name="connsiteY314" fmla="*/ 49213 h 2403475"/>
              <a:gd name="connsiteX315" fmla="*/ 8529635 w 11499847"/>
              <a:gd name="connsiteY315" fmla="*/ 125413 h 2403475"/>
              <a:gd name="connsiteX316" fmla="*/ 8369298 w 11499847"/>
              <a:gd name="connsiteY316" fmla="*/ 125413 h 2403475"/>
              <a:gd name="connsiteX317" fmla="*/ 8369298 w 11499847"/>
              <a:gd name="connsiteY317" fmla="*/ 560388 h 2403475"/>
              <a:gd name="connsiteX318" fmla="*/ 8285160 w 11499847"/>
              <a:gd name="connsiteY318" fmla="*/ 560388 h 2403475"/>
              <a:gd name="connsiteX319" fmla="*/ 8285160 w 11499847"/>
              <a:gd name="connsiteY319" fmla="*/ 125413 h 2403475"/>
              <a:gd name="connsiteX320" fmla="*/ 8126410 w 11499847"/>
              <a:gd name="connsiteY320" fmla="*/ 125413 h 2403475"/>
              <a:gd name="connsiteX321" fmla="*/ 6592885 w 11499847"/>
              <a:gd name="connsiteY321" fmla="*/ 49213 h 2403475"/>
              <a:gd name="connsiteX322" fmla="*/ 6795851 w 11499847"/>
              <a:gd name="connsiteY322" fmla="*/ 49213 h 2403475"/>
              <a:gd name="connsiteX323" fmla="*/ 6907775 w 11499847"/>
              <a:gd name="connsiteY323" fmla="*/ 87875 h 2403475"/>
              <a:gd name="connsiteX324" fmla="*/ 6952670 w 11499847"/>
              <a:gd name="connsiteY324" fmla="*/ 185680 h 2403475"/>
              <a:gd name="connsiteX325" fmla="*/ 6936382 w 11499847"/>
              <a:gd name="connsiteY325" fmla="*/ 245658 h 2403475"/>
              <a:gd name="connsiteX326" fmla="*/ 6892114 w 11499847"/>
              <a:gd name="connsiteY326" fmla="*/ 288709 h 2403475"/>
              <a:gd name="connsiteX327" fmla="*/ 6950791 w 11499847"/>
              <a:gd name="connsiteY327" fmla="*/ 339492 h 2403475"/>
              <a:gd name="connsiteX328" fmla="*/ 6972298 w 11499847"/>
              <a:gd name="connsiteY328" fmla="*/ 412845 h 2403475"/>
              <a:gd name="connsiteX329" fmla="*/ 6926359 w 11499847"/>
              <a:gd name="connsiteY329" fmla="*/ 517546 h 2403475"/>
              <a:gd name="connsiteX330" fmla="*/ 6808798 w 11499847"/>
              <a:gd name="connsiteY330" fmla="*/ 560388 h 2403475"/>
              <a:gd name="connsiteX331" fmla="*/ 6592885 w 11499847"/>
              <a:gd name="connsiteY331" fmla="*/ 560388 h 2403475"/>
              <a:gd name="connsiteX332" fmla="*/ 6592885 w 11499847"/>
              <a:gd name="connsiteY332" fmla="*/ 49213 h 2403475"/>
              <a:gd name="connsiteX333" fmla="*/ 8850790 w 11499847"/>
              <a:gd name="connsiteY333" fmla="*/ 38100 h 2403475"/>
              <a:gd name="connsiteX334" fmla="*/ 9041603 w 11499847"/>
              <a:gd name="connsiteY334" fmla="*/ 116301 h 2403475"/>
              <a:gd name="connsiteX335" fmla="*/ 9120185 w 11499847"/>
              <a:gd name="connsiteY335" fmla="*/ 304905 h 2403475"/>
              <a:gd name="connsiteX336" fmla="*/ 9041603 w 11499847"/>
              <a:gd name="connsiteY336" fmla="*/ 493090 h 2403475"/>
              <a:gd name="connsiteX337" fmla="*/ 8850790 w 11499847"/>
              <a:gd name="connsiteY337" fmla="*/ 571500 h 2403475"/>
              <a:gd name="connsiteX338" fmla="*/ 8660186 w 11499847"/>
              <a:gd name="connsiteY338" fmla="*/ 493090 h 2403475"/>
              <a:gd name="connsiteX339" fmla="*/ 8582022 w 11499847"/>
              <a:gd name="connsiteY339" fmla="*/ 304905 h 2403475"/>
              <a:gd name="connsiteX340" fmla="*/ 8660186 w 11499847"/>
              <a:gd name="connsiteY340" fmla="*/ 116301 h 2403475"/>
              <a:gd name="connsiteX341" fmla="*/ 8850790 w 11499847"/>
              <a:gd name="connsiteY341" fmla="*/ 38100 h 2403475"/>
              <a:gd name="connsiteX342" fmla="*/ 7870035 w 11499847"/>
              <a:gd name="connsiteY342" fmla="*/ 38100 h 2403475"/>
              <a:gd name="connsiteX343" fmla="*/ 7871499 w 11499847"/>
              <a:gd name="connsiteY343" fmla="*/ 38100 h 2403475"/>
              <a:gd name="connsiteX344" fmla="*/ 7955187 w 11499847"/>
              <a:gd name="connsiteY344" fmla="*/ 51273 h 2403475"/>
              <a:gd name="connsiteX345" fmla="*/ 8025067 w 11499847"/>
              <a:gd name="connsiteY345" fmla="*/ 86401 h 2403475"/>
              <a:gd name="connsiteX346" fmla="*/ 8004563 w 11499847"/>
              <a:gd name="connsiteY346" fmla="*/ 118811 h 2403475"/>
              <a:gd name="connsiteX347" fmla="*/ 7984060 w 11499847"/>
              <a:gd name="connsiteY347" fmla="*/ 151429 h 2403475"/>
              <a:gd name="connsiteX348" fmla="*/ 7926943 w 11499847"/>
              <a:gd name="connsiteY348" fmla="*/ 122574 h 2403475"/>
              <a:gd name="connsiteX349" fmla="*/ 7869198 w 11499847"/>
              <a:gd name="connsiteY349" fmla="*/ 112538 h 2403475"/>
              <a:gd name="connsiteX350" fmla="*/ 7802666 w 11499847"/>
              <a:gd name="connsiteY350" fmla="*/ 133865 h 2403475"/>
              <a:gd name="connsiteX351" fmla="*/ 7780907 w 11499847"/>
              <a:gd name="connsiteY351" fmla="*/ 185721 h 2403475"/>
              <a:gd name="connsiteX352" fmla="*/ 7811035 w 11499847"/>
              <a:gd name="connsiteY352" fmla="*/ 236949 h 2403475"/>
              <a:gd name="connsiteX353" fmla="*/ 7891166 w 11499847"/>
              <a:gd name="connsiteY353" fmla="*/ 266849 h 2403475"/>
              <a:gd name="connsiteX354" fmla="*/ 7998914 w 11499847"/>
              <a:gd name="connsiteY354" fmla="*/ 313896 h 2403475"/>
              <a:gd name="connsiteX355" fmla="*/ 8047035 w 11499847"/>
              <a:gd name="connsiteY355" fmla="*/ 415934 h 2403475"/>
              <a:gd name="connsiteX356" fmla="*/ 7999751 w 11499847"/>
              <a:gd name="connsiteY356" fmla="*/ 527381 h 2403475"/>
              <a:gd name="connsiteX357" fmla="*/ 7866478 w 11499847"/>
              <a:gd name="connsiteY357" fmla="*/ 571500 h 2403475"/>
              <a:gd name="connsiteX358" fmla="*/ 7761659 w 11499847"/>
              <a:gd name="connsiteY358" fmla="*/ 554145 h 2403475"/>
              <a:gd name="connsiteX359" fmla="*/ 7685085 w 11499847"/>
              <a:gd name="connsiteY359" fmla="*/ 512954 h 2403475"/>
              <a:gd name="connsiteX360" fmla="*/ 7725883 w 11499847"/>
              <a:gd name="connsiteY360" fmla="*/ 447925 h 2403475"/>
              <a:gd name="connsiteX361" fmla="*/ 7793879 w 11499847"/>
              <a:gd name="connsiteY361" fmla="*/ 483053 h 2403475"/>
              <a:gd name="connsiteX362" fmla="*/ 7867106 w 11499847"/>
              <a:gd name="connsiteY362" fmla="*/ 497063 h 2403475"/>
              <a:gd name="connsiteX363" fmla="*/ 7939496 w 11499847"/>
              <a:gd name="connsiteY363" fmla="*/ 475108 h 2403475"/>
              <a:gd name="connsiteX364" fmla="*/ 7964393 w 11499847"/>
              <a:gd name="connsiteY364" fmla="*/ 420952 h 2403475"/>
              <a:gd name="connsiteX365" fmla="*/ 7933847 w 11499847"/>
              <a:gd name="connsiteY365" fmla="*/ 369933 h 2403475"/>
              <a:gd name="connsiteX366" fmla="*/ 7853925 w 11499847"/>
              <a:gd name="connsiteY366" fmla="*/ 339823 h 2403475"/>
              <a:gd name="connsiteX367" fmla="*/ 7745968 w 11499847"/>
              <a:gd name="connsiteY367" fmla="*/ 292986 h 2403475"/>
              <a:gd name="connsiteX368" fmla="*/ 7698266 w 11499847"/>
              <a:gd name="connsiteY368" fmla="*/ 190739 h 2403475"/>
              <a:gd name="connsiteX369" fmla="*/ 7743666 w 11499847"/>
              <a:gd name="connsiteY369" fmla="*/ 80964 h 2403475"/>
              <a:gd name="connsiteX370" fmla="*/ 7870035 w 11499847"/>
              <a:gd name="connsiteY370" fmla="*/ 38100 h 2403475"/>
              <a:gd name="connsiteX371" fmla="*/ 7334624 w 11499847"/>
              <a:gd name="connsiteY371" fmla="*/ 38100 h 2403475"/>
              <a:gd name="connsiteX372" fmla="*/ 7525363 w 11499847"/>
              <a:gd name="connsiteY372" fmla="*/ 116301 h 2403475"/>
              <a:gd name="connsiteX373" fmla="*/ 7604123 w 11499847"/>
              <a:gd name="connsiteY373" fmla="*/ 304905 h 2403475"/>
              <a:gd name="connsiteX374" fmla="*/ 7525363 w 11499847"/>
              <a:gd name="connsiteY374" fmla="*/ 493090 h 2403475"/>
              <a:gd name="connsiteX375" fmla="*/ 7334624 w 11499847"/>
              <a:gd name="connsiteY375" fmla="*/ 571500 h 2403475"/>
              <a:gd name="connsiteX376" fmla="*/ 7144094 w 11499847"/>
              <a:gd name="connsiteY376" fmla="*/ 493090 h 2403475"/>
              <a:gd name="connsiteX377" fmla="*/ 7065960 w 11499847"/>
              <a:gd name="connsiteY377" fmla="*/ 304905 h 2403475"/>
              <a:gd name="connsiteX378" fmla="*/ 7144094 w 11499847"/>
              <a:gd name="connsiteY378" fmla="*/ 116301 h 2403475"/>
              <a:gd name="connsiteX379" fmla="*/ 7334624 w 11499847"/>
              <a:gd name="connsiteY379" fmla="*/ 38100 h 2403475"/>
              <a:gd name="connsiteX380" fmla="*/ 2766077 w 11499847"/>
              <a:gd name="connsiteY380" fmla="*/ 0 h 2403475"/>
              <a:gd name="connsiteX381" fmla="*/ 3146531 w 11499847"/>
              <a:gd name="connsiteY381" fmla="*/ 51449 h 2403475"/>
              <a:gd name="connsiteX382" fmla="*/ 3467375 w 11499847"/>
              <a:gd name="connsiteY382" fmla="*/ 204124 h 2403475"/>
              <a:gd name="connsiteX383" fmla="*/ 3340627 w 11499847"/>
              <a:gd name="connsiteY383" fmla="*/ 403228 h 2403475"/>
              <a:gd name="connsiteX384" fmla="*/ 3213880 w 11499847"/>
              <a:gd name="connsiteY384" fmla="*/ 602542 h 2403475"/>
              <a:gd name="connsiteX385" fmla="*/ 3009743 w 11499847"/>
              <a:gd name="connsiteY385" fmla="*/ 496716 h 2403475"/>
              <a:gd name="connsiteX386" fmla="*/ 2766077 w 11499847"/>
              <a:gd name="connsiteY386" fmla="*/ 457606 h 2403475"/>
              <a:gd name="connsiteX387" fmla="*/ 2232314 w 11499847"/>
              <a:gd name="connsiteY387" fmla="*/ 681180 h 2403475"/>
              <a:gd name="connsiteX388" fmla="*/ 2012073 w 11499847"/>
              <a:gd name="connsiteY388" fmla="*/ 1198391 h 2403475"/>
              <a:gd name="connsiteX389" fmla="*/ 2232314 w 11499847"/>
              <a:gd name="connsiteY389" fmla="*/ 1721250 h 2403475"/>
              <a:gd name="connsiteX390" fmla="*/ 2766077 w 11499847"/>
              <a:gd name="connsiteY390" fmla="*/ 1942732 h 2403475"/>
              <a:gd name="connsiteX391" fmla="*/ 3050111 w 11499847"/>
              <a:gd name="connsiteY391" fmla="*/ 1886682 h 2403475"/>
              <a:gd name="connsiteX392" fmla="*/ 3289594 w 11499847"/>
              <a:gd name="connsiteY392" fmla="*/ 1722086 h 2403475"/>
              <a:gd name="connsiteX393" fmla="*/ 3543925 w 11499847"/>
              <a:gd name="connsiteY393" fmla="*/ 1095493 h 2403475"/>
              <a:gd name="connsiteX394" fmla="*/ 3921866 w 11499847"/>
              <a:gd name="connsiteY394" fmla="*/ 345714 h 2403475"/>
              <a:gd name="connsiteX395" fmla="*/ 4300646 w 11499847"/>
              <a:gd name="connsiteY395" fmla="*/ 92441 h 2403475"/>
              <a:gd name="connsiteX396" fmla="*/ 4787977 w 11499847"/>
              <a:gd name="connsiteY396" fmla="*/ 0 h 2403475"/>
              <a:gd name="connsiteX397" fmla="*/ 5168221 w 11499847"/>
              <a:gd name="connsiteY397" fmla="*/ 54796 h 2403475"/>
              <a:gd name="connsiteX398" fmla="*/ 5489275 w 11499847"/>
              <a:gd name="connsiteY398" fmla="*/ 210607 h 2403475"/>
              <a:gd name="connsiteX399" fmla="*/ 5364200 w 11499847"/>
              <a:gd name="connsiteY399" fmla="*/ 409921 h 2403475"/>
              <a:gd name="connsiteX400" fmla="*/ 5239125 w 11499847"/>
              <a:gd name="connsiteY400" fmla="*/ 609025 h 2403475"/>
              <a:gd name="connsiteX401" fmla="*/ 5031643 w 11499847"/>
              <a:gd name="connsiteY401" fmla="*/ 500480 h 2403475"/>
              <a:gd name="connsiteX402" fmla="*/ 4784631 w 11499847"/>
              <a:gd name="connsiteY402" fmla="*/ 460952 h 2403475"/>
              <a:gd name="connsiteX403" fmla="*/ 4264462 w 11499847"/>
              <a:gd name="connsiteY403" fmla="*/ 679089 h 2403475"/>
              <a:gd name="connsiteX404" fmla="*/ 4050287 w 11499847"/>
              <a:gd name="connsiteY404" fmla="*/ 1198391 h 2403475"/>
              <a:gd name="connsiteX405" fmla="*/ 4262370 w 11499847"/>
              <a:gd name="connsiteY405" fmla="*/ 1725223 h 2403475"/>
              <a:gd name="connsiteX406" fmla="*/ 4778147 w 11499847"/>
              <a:gd name="connsiteY406" fmla="*/ 1945870 h 2403475"/>
              <a:gd name="connsiteX407" fmla="*/ 5191438 w 11499847"/>
              <a:gd name="connsiteY407" fmla="*/ 1804280 h 2403475"/>
              <a:gd name="connsiteX408" fmla="*/ 5426737 w 11499847"/>
              <a:gd name="connsiteY408" fmla="*/ 1445390 h 2403475"/>
              <a:gd name="connsiteX409" fmla="*/ 4708917 w 11499847"/>
              <a:gd name="connsiteY409" fmla="*/ 1445390 h 2403475"/>
              <a:gd name="connsiteX410" fmla="*/ 4850515 w 11499847"/>
              <a:gd name="connsiteY410" fmla="*/ 1223279 h 2403475"/>
              <a:gd name="connsiteX411" fmla="*/ 4992113 w 11499847"/>
              <a:gd name="connsiteY411" fmla="*/ 1000960 h 2403475"/>
              <a:gd name="connsiteX412" fmla="*/ 5457901 w 11499847"/>
              <a:gd name="connsiteY412" fmla="*/ 1000960 h 2403475"/>
              <a:gd name="connsiteX413" fmla="*/ 5924108 w 11499847"/>
              <a:gd name="connsiteY413" fmla="*/ 1000960 h 2403475"/>
              <a:gd name="connsiteX414" fmla="*/ 5936030 w 11499847"/>
              <a:gd name="connsiteY414" fmla="*/ 1100094 h 2403475"/>
              <a:gd name="connsiteX415" fmla="*/ 5940422 w 11499847"/>
              <a:gd name="connsiteY415" fmla="*/ 1201738 h 2403475"/>
              <a:gd name="connsiteX416" fmla="*/ 5600963 w 11499847"/>
              <a:gd name="connsiteY416" fmla="*/ 2050860 h 2403475"/>
              <a:gd name="connsiteX417" fmla="*/ 4764970 w 11499847"/>
              <a:gd name="connsiteY417" fmla="*/ 2403475 h 2403475"/>
              <a:gd name="connsiteX418" fmla="*/ 4178290 w 11499847"/>
              <a:gd name="connsiteY418" fmla="*/ 2262513 h 2403475"/>
              <a:gd name="connsiteX419" fmla="*/ 3757265 w 11499847"/>
              <a:gd name="connsiteY419" fmla="*/ 1886682 h 2403475"/>
              <a:gd name="connsiteX420" fmla="*/ 3332469 w 11499847"/>
              <a:gd name="connsiteY420" fmla="*/ 2263558 h 2403475"/>
              <a:gd name="connsiteX421" fmla="*/ 2749555 w 11499847"/>
              <a:gd name="connsiteY421" fmla="*/ 2403475 h 2403475"/>
              <a:gd name="connsiteX422" fmla="*/ 2242563 w 11499847"/>
              <a:gd name="connsiteY422" fmla="*/ 2295766 h 2403475"/>
              <a:gd name="connsiteX423" fmla="*/ 1844121 w 11499847"/>
              <a:gd name="connsiteY423" fmla="*/ 2005266 h 2403475"/>
              <a:gd name="connsiteX424" fmla="*/ 1583096 w 11499847"/>
              <a:gd name="connsiteY424" fmla="*/ 2257493 h 2403475"/>
              <a:gd name="connsiteX425" fmla="*/ 1188838 w 11499847"/>
              <a:gd name="connsiteY425" fmla="*/ 2354117 h 2403475"/>
              <a:gd name="connsiteX426" fmla="*/ 0 w 11499847"/>
              <a:gd name="connsiteY426" fmla="*/ 2354117 h 2403475"/>
              <a:gd name="connsiteX427" fmla="*/ 0 w 11499847"/>
              <a:gd name="connsiteY427" fmla="*/ 1201738 h 2403475"/>
              <a:gd name="connsiteX428" fmla="*/ 0 w 11499847"/>
              <a:gd name="connsiteY428" fmla="*/ 49358 h 2403475"/>
              <a:gd name="connsiteX429" fmla="*/ 538575 w 11499847"/>
              <a:gd name="connsiteY429" fmla="*/ 49358 h 2403475"/>
              <a:gd name="connsiteX430" fmla="*/ 1076940 w 11499847"/>
              <a:gd name="connsiteY430" fmla="*/ 49358 h 2403475"/>
              <a:gd name="connsiteX431" fmla="*/ 1523487 w 11499847"/>
              <a:gd name="connsiteY431" fmla="*/ 176099 h 2403475"/>
              <a:gd name="connsiteX432" fmla="*/ 1774892 w 11499847"/>
              <a:gd name="connsiteY432" fmla="*/ 500480 h 2403475"/>
              <a:gd name="connsiteX433" fmla="*/ 2196549 w 11499847"/>
              <a:gd name="connsiteY433" fmla="*/ 137826 h 2403475"/>
              <a:gd name="connsiteX434" fmla="*/ 2766077 w 11499847"/>
              <a:gd name="connsiteY434" fmla="*/ 0 h 24034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</a:cxnLst>
            <a:rect l="l" t="t" r="r" b="b"/>
            <a:pathLst>
              <a:path w="11499847" h="2403475">
                <a:moveTo>
                  <a:pt x="8982072" y="1919288"/>
                </a:moveTo>
                <a:cubicBezTo>
                  <a:pt x="8982072" y="2105026"/>
                  <a:pt x="8982072" y="2105026"/>
                  <a:pt x="8982072" y="2105026"/>
                </a:cubicBezTo>
                <a:cubicBezTo>
                  <a:pt x="9098233" y="2105026"/>
                  <a:pt x="9098233" y="2105026"/>
                  <a:pt x="9098233" y="2105026"/>
                </a:cubicBezTo>
                <a:cubicBezTo>
                  <a:pt x="9124975" y="2105026"/>
                  <a:pt x="9148166" y="2096202"/>
                  <a:pt x="9164880" y="2080233"/>
                </a:cubicBezTo>
                <a:cubicBezTo>
                  <a:pt x="9181594" y="2064055"/>
                  <a:pt x="9191622" y="2040732"/>
                  <a:pt x="9191622" y="2011737"/>
                </a:cubicBezTo>
                <a:cubicBezTo>
                  <a:pt x="9191622" y="1983792"/>
                  <a:pt x="9181594" y="1960680"/>
                  <a:pt x="9164880" y="1944501"/>
                </a:cubicBezTo>
                <a:cubicBezTo>
                  <a:pt x="9148166" y="1928323"/>
                  <a:pt x="9124975" y="1919288"/>
                  <a:pt x="9098233" y="1919288"/>
                </a:cubicBezTo>
                <a:cubicBezTo>
                  <a:pt x="8982072" y="1919288"/>
                  <a:pt x="8982072" y="1919288"/>
                  <a:pt x="8982072" y="1919288"/>
                </a:cubicBezTo>
                <a:close/>
                <a:moveTo>
                  <a:pt x="7280272" y="1919288"/>
                </a:moveTo>
                <a:cubicBezTo>
                  <a:pt x="7280272" y="2097088"/>
                  <a:pt x="7280272" y="2097088"/>
                  <a:pt x="7280272" y="2097088"/>
                </a:cubicBezTo>
                <a:cubicBezTo>
                  <a:pt x="7404503" y="2097088"/>
                  <a:pt x="7404503" y="2097088"/>
                  <a:pt x="7404503" y="2097088"/>
                </a:cubicBezTo>
                <a:cubicBezTo>
                  <a:pt x="7430689" y="2097088"/>
                  <a:pt x="7453105" y="2088711"/>
                  <a:pt x="7469027" y="2073423"/>
                </a:cubicBezTo>
                <a:cubicBezTo>
                  <a:pt x="7485158" y="2058136"/>
                  <a:pt x="7494585" y="2035937"/>
                  <a:pt x="7494585" y="2008502"/>
                </a:cubicBezTo>
                <a:cubicBezTo>
                  <a:pt x="7494585" y="1981487"/>
                  <a:pt x="7485158" y="1959078"/>
                  <a:pt x="7469027" y="1943581"/>
                </a:cubicBezTo>
                <a:cubicBezTo>
                  <a:pt x="7453105" y="1927874"/>
                  <a:pt x="7430689" y="1919288"/>
                  <a:pt x="7404503" y="1919288"/>
                </a:cubicBezTo>
                <a:cubicBezTo>
                  <a:pt x="7280272" y="1919288"/>
                  <a:pt x="7280272" y="1919288"/>
                  <a:pt x="7280272" y="1919288"/>
                </a:cubicBezTo>
                <a:close/>
                <a:moveTo>
                  <a:pt x="7945015" y="1909763"/>
                </a:moveTo>
                <a:cubicBezTo>
                  <a:pt x="7893445" y="1909763"/>
                  <a:pt x="7847115" y="1930941"/>
                  <a:pt x="7813574" y="1965330"/>
                </a:cubicBezTo>
                <a:cubicBezTo>
                  <a:pt x="7780242" y="1999719"/>
                  <a:pt x="7759697" y="2047317"/>
                  <a:pt x="7759697" y="2100368"/>
                </a:cubicBezTo>
                <a:cubicBezTo>
                  <a:pt x="7759697" y="2153419"/>
                  <a:pt x="7780242" y="2201227"/>
                  <a:pt x="7813574" y="2235406"/>
                </a:cubicBezTo>
                <a:cubicBezTo>
                  <a:pt x="7847115" y="2269795"/>
                  <a:pt x="7893445" y="2290763"/>
                  <a:pt x="7945015" y="2290763"/>
                </a:cubicBezTo>
                <a:cubicBezTo>
                  <a:pt x="7997215" y="2290763"/>
                  <a:pt x="8043544" y="2270004"/>
                  <a:pt x="8077086" y="2235825"/>
                </a:cubicBezTo>
                <a:cubicBezTo>
                  <a:pt x="8110628" y="2201437"/>
                  <a:pt x="8131172" y="2153838"/>
                  <a:pt x="8131172" y="2100368"/>
                </a:cubicBezTo>
                <a:cubicBezTo>
                  <a:pt x="8131172" y="2047317"/>
                  <a:pt x="8110418" y="1999719"/>
                  <a:pt x="8076876" y="1965330"/>
                </a:cubicBezTo>
                <a:cubicBezTo>
                  <a:pt x="8043334" y="1930941"/>
                  <a:pt x="7996796" y="1909763"/>
                  <a:pt x="7945015" y="1909763"/>
                </a:cubicBezTo>
                <a:close/>
                <a:moveTo>
                  <a:pt x="8899522" y="1844675"/>
                </a:moveTo>
                <a:cubicBezTo>
                  <a:pt x="9098598" y="1844675"/>
                  <a:pt x="9098598" y="1844675"/>
                  <a:pt x="9098598" y="1844675"/>
                </a:cubicBezTo>
                <a:cubicBezTo>
                  <a:pt x="9152872" y="1844675"/>
                  <a:pt x="9197507" y="1862857"/>
                  <a:pt x="9228521" y="1892741"/>
                </a:cubicBezTo>
                <a:cubicBezTo>
                  <a:pt x="9259744" y="1922835"/>
                  <a:pt x="9277347" y="1964423"/>
                  <a:pt x="9277347" y="2011236"/>
                </a:cubicBezTo>
                <a:cubicBezTo>
                  <a:pt x="9277347" y="2057839"/>
                  <a:pt x="9259744" y="2099427"/>
                  <a:pt x="9228521" y="2129521"/>
                </a:cubicBezTo>
                <a:cubicBezTo>
                  <a:pt x="9197507" y="2159405"/>
                  <a:pt x="9152872" y="2177796"/>
                  <a:pt x="9098598" y="2177796"/>
                </a:cubicBezTo>
                <a:cubicBezTo>
                  <a:pt x="8982086" y="2177796"/>
                  <a:pt x="8982086" y="2177796"/>
                  <a:pt x="8982086" y="2177796"/>
                </a:cubicBezTo>
                <a:cubicBezTo>
                  <a:pt x="8982086" y="2355850"/>
                  <a:pt x="8982086" y="2355850"/>
                  <a:pt x="8982086" y="2355850"/>
                </a:cubicBezTo>
                <a:cubicBezTo>
                  <a:pt x="8899522" y="2355850"/>
                  <a:pt x="8899522" y="2355850"/>
                  <a:pt x="8899522" y="2355850"/>
                </a:cubicBezTo>
                <a:cubicBezTo>
                  <a:pt x="8899522" y="1844675"/>
                  <a:pt x="8899522" y="1844675"/>
                  <a:pt x="8899522" y="1844675"/>
                </a:cubicBezTo>
                <a:close/>
                <a:moveTo>
                  <a:pt x="8324847" y="1844675"/>
                </a:moveTo>
                <a:cubicBezTo>
                  <a:pt x="8407608" y="1844675"/>
                  <a:pt x="8407608" y="1844675"/>
                  <a:pt x="8407608" y="1844675"/>
                </a:cubicBezTo>
                <a:cubicBezTo>
                  <a:pt x="8407608" y="2158090"/>
                  <a:pt x="8407608" y="2158090"/>
                  <a:pt x="8407608" y="2158090"/>
                </a:cubicBezTo>
                <a:cubicBezTo>
                  <a:pt x="8407608" y="2195307"/>
                  <a:pt x="8420389" y="2228551"/>
                  <a:pt x="8443017" y="2252595"/>
                </a:cubicBezTo>
                <a:cubicBezTo>
                  <a:pt x="8465855" y="2276431"/>
                  <a:pt x="8498331" y="2291066"/>
                  <a:pt x="8537931" y="2291066"/>
                </a:cubicBezTo>
                <a:cubicBezTo>
                  <a:pt x="8576692" y="2291066"/>
                  <a:pt x="8609168" y="2276431"/>
                  <a:pt x="8631797" y="2252595"/>
                </a:cubicBezTo>
                <a:cubicBezTo>
                  <a:pt x="8654425" y="2228551"/>
                  <a:pt x="8667415" y="2195307"/>
                  <a:pt x="8667415" y="2158090"/>
                </a:cubicBezTo>
                <a:cubicBezTo>
                  <a:pt x="8667415" y="1844675"/>
                  <a:pt x="8667415" y="1844675"/>
                  <a:pt x="8667415" y="1844675"/>
                </a:cubicBezTo>
                <a:cubicBezTo>
                  <a:pt x="8748710" y="1844675"/>
                  <a:pt x="8748710" y="1844675"/>
                  <a:pt x="8748710" y="1844675"/>
                </a:cubicBezTo>
                <a:cubicBezTo>
                  <a:pt x="8748710" y="2158717"/>
                  <a:pt x="8748710" y="2158717"/>
                  <a:pt x="8748710" y="2158717"/>
                </a:cubicBezTo>
                <a:cubicBezTo>
                  <a:pt x="8748710" y="2218724"/>
                  <a:pt x="8726291" y="2270785"/>
                  <a:pt x="8688577" y="2307793"/>
                </a:cubicBezTo>
                <a:cubicBezTo>
                  <a:pt x="8650863" y="2345010"/>
                  <a:pt x="8597854" y="2366963"/>
                  <a:pt x="8537093" y="2366963"/>
                </a:cubicBezTo>
                <a:cubicBezTo>
                  <a:pt x="8476331" y="2366963"/>
                  <a:pt x="8423322" y="2345010"/>
                  <a:pt x="8385399" y="2307793"/>
                </a:cubicBezTo>
                <a:cubicBezTo>
                  <a:pt x="8347475" y="2270785"/>
                  <a:pt x="8324847" y="2218724"/>
                  <a:pt x="8324847" y="2158717"/>
                </a:cubicBezTo>
                <a:cubicBezTo>
                  <a:pt x="8324847" y="1844675"/>
                  <a:pt x="8324847" y="1844675"/>
                  <a:pt x="8324847" y="1844675"/>
                </a:cubicBezTo>
                <a:close/>
                <a:moveTo>
                  <a:pt x="7197722" y="1844675"/>
                </a:moveTo>
                <a:cubicBezTo>
                  <a:pt x="7404196" y="1844675"/>
                  <a:pt x="7404196" y="1844675"/>
                  <a:pt x="7404196" y="1844675"/>
                </a:cubicBezTo>
                <a:cubicBezTo>
                  <a:pt x="7457641" y="1844675"/>
                  <a:pt x="7501065" y="1862439"/>
                  <a:pt x="7531336" y="1891906"/>
                </a:cubicBezTo>
                <a:cubicBezTo>
                  <a:pt x="7561608" y="1921581"/>
                  <a:pt x="7578727" y="1962542"/>
                  <a:pt x="7578727" y="2008937"/>
                </a:cubicBezTo>
                <a:cubicBezTo>
                  <a:pt x="7578727" y="2047390"/>
                  <a:pt x="7568080" y="2080827"/>
                  <a:pt x="7548455" y="2106950"/>
                </a:cubicBezTo>
                <a:cubicBezTo>
                  <a:pt x="7529040" y="2133073"/>
                  <a:pt x="7500647" y="2152091"/>
                  <a:pt x="7464947" y="2161495"/>
                </a:cubicBezTo>
                <a:cubicBezTo>
                  <a:pt x="7525699" y="2258673"/>
                  <a:pt x="7525699" y="2258673"/>
                  <a:pt x="7525699" y="2258673"/>
                </a:cubicBezTo>
                <a:cubicBezTo>
                  <a:pt x="7586660" y="2355850"/>
                  <a:pt x="7586660" y="2355850"/>
                  <a:pt x="7586660" y="2355850"/>
                </a:cubicBezTo>
                <a:cubicBezTo>
                  <a:pt x="7491044" y="2355850"/>
                  <a:pt x="7491044" y="2355850"/>
                  <a:pt x="7491044" y="2355850"/>
                </a:cubicBezTo>
                <a:cubicBezTo>
                  <a:pt x="7434676" y="2263479"/>
                  <a:pt x="7434676" y="2263479"/>
                  <a:pt x="7434676" y="2263479"/>
                </a:cubicBezTo>
                <a:cubicBezTo>
                  <a:pt x="7378099" y="2171108"/>
                  <a:pt x="7378099" y="2171108"/>
                  <a:pt x="7378099" y="2171108"/>
                </a:cubicBezTo>
                <a:cubicBezTo>
                  <a:pt x="7280395" y="2171108"/>
                  <a:pt x="7280395" y="2171108"/>
                  <a:pt x="7280395" y="2171108"/>
                </a:cubicBezTo>
                <a:cubicBezTo>
                  <a:pt x="7280395" y="2355850"/>
                  <a:pt x="7280395" y="2355850"/>
                  <a:pt x="7280395" y="2355850"/>
                </a:cubicBezTo>
                <a:cubicBezTo>
                  <a:pt x="7197722" y="2355850"/>
                  <a:pt x="7197722" y="2355850"/>
                  <a:pt x="7197722" y="2355850"/>
                </a:cubicBezTo>
                <a:cubicBezTo>
                  <a:pt x="7197722" y="1844675"/>
                  <a:pt x="7197722" y="1844675"/>
                  <a:pt x="7197722" y="1844675"/>
                </a:cubicBezTo>
                <a:close/>
                <a:moveTo>
                  <a:pt x="7945016" y="1833563"/>
                </a:moveTo>
                <a:cubicBezTo>
                  <a:pt x="8020028" y="1833563"/>
                  <a:pt x="8087706" y="1863673"/>
                  <a:pt x="8136527" y="1911974"/>
                </a:cubicBezTo>
                <a:cubicBezTo>
                  <a:pt x="8185138" y="1960274"/>
                  <a:pt x="8215310" y="2026976"/>
                  <a:pt x="8215310" y="2100368"/>
                </a:cubicBezTo>
                <a:cubicBezTo>
                  <a:pt x="8215310" y="2173760"/>
                  <a:pt x="8185138" y="2240461"/>
                  <a:pt x="8136527" y="2288762"/>
                </a:cubicBezTo>
                <a:cubicBezTo>
                  <a:pt x="8087706" y="2337063"/>
                  <a:pt x="8020028" y="2366963"/>
                  <a:pt x="7945016" y="2366963"/>
                </a:cubicBezTo>
                <a:cubicBezTo>
                  <a:pt x="7870004" y="2366963"/>
                  <a:pt x="7802745" y="2337063"/>
                  <a:pt x="7754134" y="2288762"/>
                </a:cubicBezTo>
                <a:cubicBezTo>
                  <a:pt x="7705523" y="2240461"/>
                  <a:pt x="7675560" y="2173760"/>
                  <a:pt x="7675560" y="2100368"/>
                </a:cubicBezTo>
                <a:cubicBezTo>
                  <a:pt x="7675560" y="2026976"/>
                  <a:pt x="7705523" y="1960274"/>
                  <a:pt x="7754134" y="1911974"/>
                </a:cubicBezTo>
                <a:cubicBezTo>
                  <a:pt x="7802745" y="1863673"/>
                  <a:pt x="7870004" y="1833563"/>
                  <a:pt x="7945016" y="1833563"/>
                </a:cubicBezTo>
                <a:close/>
                <a:moveTo>
                  <a:pt x="6834872" y="1833563"/>
                </a:moveTo>
                <a:cubicBezTo>
                  <a:pt x="6865690" y="1833563"/>
                  <a:pt x="6894831" y="1837536"/>
                  <a:pt x="6921875" y="1845482"/>
                </a:cubicBezTo>
                <a:cubicBezTo>
                  <a:pt x="6948919" y="1853218"/>
                  <a:pt x="6973658" y="1865136"/>
                  <a:pt x="6996090" y="1881028"/>
                </a:cubicBezTo>
                <a:cubicBezTo>
                  <a:pt x="6974496" y="1914692"/>
                  <a:pt x="6974496" y="1914692"/>
                  <a:pt x="6974496" y="1914692"/>
                </a:cubicBezTo>
                <a:cubicBezTo>
                  <a:pt x="6952903" y="1948356"/>
                  <a:pt x="6952903" y="1948356"/>
                  <a:pt x="6952903" y="1948356"/>
                </a:cubicBezTo>
                <a:cubicBezTo>
                  <a:pt x="6935712" y="1935183"/>
                  <a:pt x="6917263" y="1925774"/>
                  <a:pt x="6897556" y="1919501"/>
                </a:cubicBezTo>
                <a:cubicBezTo>
                  <a:pt x="6877850" y="1913228"/>
                  <a:pt x="6856885" y="1910301"/>
                  <a:pt x="6834243" y="1910301"/>
                </a:cubicBezTo>
                <a:cubicBezTo>
                  <a:pt x="6782461" y="1910301"/>
                  <a:pt x="6736548" y="1931001"/>
                  <a:pt x="6703424" y="1965084"/>
                </a:cubicBezTo>
                <a:cubicBezTo>
                  <a:pt x="6670510" y="1999166"/>
                  <a:pt x="6650384" y="2046631"/>
                  <a:pt x="6650384" y="2100368"/>
                </a:cubicBezTo>
                <a:cubicBezTo>
                  <a:pt x="6650384" y="2154105"/>
                  <a:pt x="6669671" y="2201779"/>
                  <a:pt x="6701957" y="2236070"/>
                </a:cubicBezTo>
                <a:cubicBezTo>
                  <a:pt x="6734242" y="2270152"/>
                  <a:pt x="6779526" y="2291062"/>
                  <a:pt x="6831308" y="2291062"/>
                </a:cubicBezTo>
                <a:cubicBezTo>
                  <a:pt x="6878898" y="2291062"/>
                  <a:pt x="6917473" y="2275798"/>
                  <a:pt x="6945984" y="2250498"/>
                </a:cubicBezTo>
                <a:cubicBezTo>
                  <a:pt x="6974496" y="2225197"/>
                  <a:pt x="6992735" y="2189442"/>
                  <a:pt x="6999863" y="2148460"/>
                </a:cubicBezTo>
                <a:cubicBezTo>
                  <a:pt x="6825438" y="2148460"/>
                  <a:pt x="6825438" y="2148460"/>
                  <a:pt x="6825438" y="2148460"/>
                </a:cubicBezTo>
                <a:cubicBezTo>
                  <a:pt x="6849128" y="2111241"/>
                  <a:pt x="6849128" y="2111241"/>
                  <a:pt x="6849128" y="2111241"/>
                </a:cubicBezTo>
                <a:cubicBezTo>
                  <a:pt x="6873028" y="2074022"/>
                  <a:pt x="6873028" y="2074022"/>
                  <a:pt x="6873028" y="2074022"/>
                </a:cubicBezTo>
                <a:cubicBezTo>
                  <a:pt x="7078061" y="2074022"/>
                  <a:pt x="7078061" y="2074022"/>
                  <a:pt x="7078061" y="2074022"/>
                </a:cubicBezTo>
                <a:cubicBezTo>
                  <a:pt x="7079319" y="2078204"/>
                  <a:pt x="7080158" y="2083849"/>
                  <a:pt x="7080787" y="2090540"/>
                </a:cubicBezTo>
                <a:cubicBezTo>
                  <a:pt x="7081415" y="2096813"/>
                  <a:pt x="7081835" y="2103922"/>
                  <a:pt x="7081835" y="2110613"/>
                </a:cubicBezTo>
                <a:cubicBezTo>
                  <a:pt x="7081835" y="2183378"/>
                  <a:pt x="7056258" y="2247361"/>
                  <a:pt x="7011813" y="2293362"/>
                </a:cubicBezTo>
                <a:cubicBezTo>
                  <a:pt x="6967788" y="2339363"/>
                  <a:pt x="6904894" y="2366963"/>
                  <a:pt x="6830470" y="2366963"/>
                </a:cubicBezTo>
                <a:cubicBezTo>
                  <a:pt x="6756255" y="2366963"/>
                  <a:pt x="6690007" y="2337481"/>
                  <a:pt x="6642417" y="2289389"/>
                </a:cubicBezTo>
                <a:cubicBezTo>
                  <a:pt x="6595037" y="2241088"/>
                  <a:pt x="6565897" y="2174387"/>
                  <a:pt x="6565897" y="2100368"/>
                </a:cubicBezTo>
                <a:cubicBezTo>
                  <a:pt x="6565897" y="2026139"/>
                  <a:pt x="6595876" y="1959438"/>
                  <a:pt x="6644514" y="1911346"/>
                </a:cubicBezTo>
                <a:cubicBezTo>
                  <a:pt x="6692942" y="1863255"/>
                  <a:pt x="6760238" y="1833563"/>
                  <a:pt x="6834872" y="1833563"/>
                </a:cubicBezTo>
                <a:close/>
                <a:moveTo>
                  <a:pt x="501650" y="1403350"/>
                </a:moveTo>
                <a:cubicBezTo>
                  <a:pt x="501650" y="1403350"/>
                  <a:pt x="501650" y="1403350"/>
                  <a:pt x="501650" y="1925638"/>
                </a:cubicBezTo>
                <a:cubicBezTo>
                  <a:pt x="501650" y="1925638"/>
                  <a:pt x="501650" y="1925638"/>
                  <a:pt x="842112" y="1925638"/>
                </a:cubicBezTo>
                <a:cubicBezTo>
                  <a:pt x="842112" y="1925638"/>
                  <a:pt x="842112" y="1925638"/>
                  <a:pt x="1182574" y="1925638"/>
                </a:cubicBezTo>
                <a:cubicBezTo>
                  <a:pt x="1258233" y="1925638"/>
                  <a:pt x="1326576" y="1896842"/>
                  <a:pt x="1375900" y="1849684"/>
                </a:cubicBezTo>
                <a:cubicBezTo>
                  <a:pt x="1425224" y="1802317"/>
                  <a:pt x="1455738" y="1736796"/>
                  <a:pt x="1455738" y="1662720"/>
                </a:cubicBezTo>
                <a:cubicBezTo>
                  <a:pt x="1455738" y="1588853"/>
                  <a:pt x="1425224" y="1523958"/>
                  <a:pt x="1375900" y="1477635"/>
                </a:cubicBezTo>
                <a:cubicBezTo>
                  <a:pt x="1326576" y="1431103"/>
                  <a:pt x="1258233" y="1403350"/>
                  <a:pt x="1182574" y="1403350"/>
                </a:cubicBezTo>
                <a:cubicBezTo>
                  <a:pt x="1182574" y="1403350"/>
                  <a:pt x="1182574" y="1403350"/>
                  <a:pt x="501650" y="1403350"/>
                </a:cubicBezTo>
                <a:close/>
                <a:moveTo>
                  <a:pt x="7349808" y="1012825"/>
                </a:moveTo>
                <a:cubicBezTo>
                  <a:pt x="7297999" y="1012825"/>
                  <a:pt x="7251643" y="1033706"/>
                  <a:pt x="7218292" y="1067952"/>
                </a:cubicBezTo>
                <a:cubicBezTo>
                  <a:pt x="7184731" y="1102197"/>
                  <a:pt x="7164385" y="1149598"/>
                  <a:pt x="7164385" y="1202427"/>
                </a:cubicBezTo>
                <a:cubicBezTo>
                  <a:pt x="7164385" y="1255466"/>
                  <a:pt x="7184731" y="1302866"/>
                  <a:pt x="7218292" y="1336903"/>
                </a:cubicBezTo>
                <a:cubicBezTo>
                  <a:pt x="7251643" y="1371148"/>
                  <a:pt x="7297999" y="1392238"/>
                  <a:pt x="7349808" y="1392238"/>
                </a:cubicBezTo>
                <a:cubicBezTo>
                  <a:pt x="7401827" y="1392238"/>
                  <a:pt x="7448393" y="1371357"/>
                  <a:pt x="7481953" y="1337320"/>
                </a:cubicBezTo>
                <a:cubicBezTo>
                  <a:pt x="7515304" y="1303075"/>
                  <a:pt x="7535860" y="1255675"/>
                  <a:pt x="7535860" y="1202427"/>
                </a:cubicBezTo>
                <a:cubicBezTo>
                  <a:pt x="7535860" y="1149598"/>
                  <a:pt x="7515304" y="1102197"/>
                  <a:pt x="7481534" y="1067952"/>
                </a:cubicBezTo>
                <a:cubicBezTo>
                  <a:pt x="7447973" y="1033706"/>
                  <a:pt x="7401408" y="1012825"/>
                  <a:pt x="7349808" y="1012825"/>
                </a:cubicBezTo>
                <a:close/>
                <a:moveTo>
                  <a:pt x="10448922" y="946150"/>
                </a:moveTo>
                <a:lnTo>
                  <a:pt x="10552110" y="946150"/>
                </a:lnTo>
                <a:lnTo>
                  <a:pt x="10671172" y="1139825"/>
                </a:lnTo>
                <a:lnTo>
                  <a:pt x="10790235" y="1333501"/>
                </a:lnTo>
                <a:lnTo>
                  <a:pt x="10790235" y="946150"/>
                </a:lnTo>
                <a:lnTo>
                  <a:pt x="10869610" y="946150"/>
                </a:lnTo>
                <a:lnTo>
                  <a:pt x="10869610" y="1458913"/>
                </a:lnTo>
                <a:lnTo>
                  <a:pt x="10772772" y="1458913"/>
                </a:lnTo>
                <a:lnTo>
                  <a:pt x="10650535" y="1260475"/>
                </a:lnTo>
                <a:lnTo>
                  <a:pt x="10528297" y="1062038"/>
                </a:lnTo>
                <a:lnTo>
                  <a:pt x="10528297" y="1458913"/>
                </a:lnTo>
                <a:lnTo>
                  <a:pt x="10448922" y="1458913"/>
                </a:lnTo>
                <a:close/>
                <a:moveTo>
                  <a:pt x="10185397" y="946150"/>
                </a:moveTo>
                <a:lnTo>
                  <a:pt x="10267947" y="946150"/>
                </a:lnTo>
                <a:lnTo>
                  <a:pt x="10267947" y="1458913"/>
                </a:lnTo>
                <a:lnTo>
                  <a:pt x="10185397" y="1458913"/>
                </a:lnTo>
                <a:close/>
                <a:moveTo>
                  <a:pt x="9656760" y="946150"/>
                </a:moveTo>
                <a:lnTo>
                  <a:pt x="10059985" y="946150"/>
                </a:lnTo>
                <a:lnTo>
                  <a:pt x="10059985" y="1022350"/>
                </a:lnTo>
                <a:lnTo>
                  <a:pt x="9899648" y="1022350"/>
                </a:lnTo>
                <a:lnTo>
                  <a:pt x="9899648" y="1458913"/>
                </a:lnTo>
                <a:lnTo>
                  <a:pt x="9817098" y="1458913"/>
                </a:lnTo>
                <a:lnTo>
                  <a:pt x="9817098" y="1022350"/>
                </a:lnTo>
                <a:lnTo>
                  <a:pt x="9656760" y="1022350"/>
                </a:lnTo>
                <a:close/>
                <a:moveTo>
                  <a:pt x="9336085" y="946150"/>
                </a:moveTo>
                <a:lnTo>
                  <a:pt x="9418635" y="946150"/>
                </a:lnTo>
                <a:lnTo>
                  <a:pt x="9418635" y="1382713"/>
                </a:lnTo>
                <a:lnTo>
                  <a:pt x="9671048" y="1382713"/>
                </a:lnTo>
                <a:lnTo>
                  <a:pt x="9671048" y="1458913"/>
                </a:lnTo>
                <a:lnTo>
                  <a:pt x="9336085" y="1458913"/>
                </a:lnTo>
                <a:close/>
                <a:moveTo>
                  <a:pt x="8766172" y="946150"/>
                </a:moveTo>
                <a:cubicBezTo>
                  <a:pt x="8848414" y="946150"/>
                  <a:pt x="8848414" y="946150"/>
                  <a:pt x="8848414" y="946150"/>
                </a:cubicBezTo>
                <a:cubicBezTo>
                  <a:pt x="8848414" y="1260391"/>
                  <a:pt x="8848414" y="1260391"/>
                  <a:pt x="8848414" y="1260391"/>
                </a:cubicBezTo>
                <a:cubicBezTo>
                  <a:pt x="8848414" y="1297706"/>
                  <a:pt x="8861356" y="1331038"/>
                  <a:pt x="8883900" y="1355146"/>
                </a:cubicBezTo>
                <a:cubicBezTo>
                  <a:pt x="8906443" y="1379044"/>
                  <a:pt x="8939006" y="1393718"/>
                  <a:pt x="8978249" y="1393718"/>
                </a:cubicBezTo>
                <a:cubicBezTo>
                  <a:pt x="9017074" y="1393718"/>
                  <a:pt x="9049219" y="1379044"/>
                  <a:pt x="9071972" y="1355146"/>
                </a:cubicBezTo>
                <a:cubicBezTo>
                  <a:pt x="9094515" y="1331038"/>
                  <a:pt x="9107457" y="1297706"/>
                  <a:pt x="9107457" y="1260391"/>
                </a:cubicBezTo>
                <a:cubicBezTo>
                  <a:pt x="9107457" y="946150"/>
                  <a:pt x="9107457" y="946150"/>
                  <a:pt x="9107457" y="946150"/>
                </a:cubicBezTo>
                <a:cubicBezTo>
                  <a:pt x="9188447" y="946150"/>
                  <a:pt x="9188447" y="946150"/>
                  <a:pt x="9188447" y="946150"/>
                </a:cubicBezTo>
                <a:cubicBezTo>
                  <a:pt x="9188447" y="1261230"/>
                  <a:pt x="9188447" y="1261230"/>
                  <a:pt x="9188447" y="1261230"/>
                </a:cubicBezTo>
                <a:cubicBezTo>
                  <a:pt x="9188447" y="1321185"/>
                  <a:pt x="9166112" y="1373384"/>
                  <a:pt x="9128539" y="1410489"/>
                </a:cubicBezTo>
                <a:cubicBezTo>
                  <a:pt x="9090758" y="1447804"/>
                  <a:pt x="9038156" y="1470025"/>
                  <a:pt x="8977623" y="1470025"/>
                </a:cubicBezTo>
                <a:cubicBezTo>
                  <a:pt x="8917089" y="1470025"/>
                  <a:pt x="8864278" y="1447804"/>
                  <a:pt x="8826497" y="1410489"/>
                </a:cubicBezTo>
                <a:cubicBezTo>
                  <a:pt x="8788716" y="1373384"/>
                  <a:pt x="8766172" y="1321185"/>
                  <a:pt x="8766172" y="1261230"/>
                </a:cubicBezTo>
                <a:cubicBezTo>
                  <a:pt x="8766172" y="946150"/>
                  <a:pt x="8766172" y="946150"/>
                  <a:pt x="8766172" y="946150"/>
                </a:cubicBezTo>
                <a:close/>
                <a:moveTo>
                  <a:pt x="7737472" y="946150"/>
                </a:moveTo>
                <a:lnTo>
                  <a:pt x="7839072" y="946150"/>
                </a:lnTo>
                <a:lnTo>
                  <a:pt x="7958134" y="1139825"/>
                </a:lnTo>
                <a:lnTo>
                  <a:pt x="8077197" y="1333501"/>
                </a:lnTo>
                <a:lnTo>
                  <a:pt x="8077197" y="946150"/>
                </a:lnTo>
                <a:lnTo>
                  <a:pt x="8156572" y="946150"/>
                </a:lnTo>
                <a:lnTo>
                  <a:pt x="8156572" y="1458913"/>
                </a:lnTo>
                <a:lnTo>
                  <a:pt x="8061322" y="1458913"/>
                </a:lnTo>
                <a:lnTo>
                  <a:pt x="7939084" y="1260475"/>
                </a:lnTo>
                <a:lnTo>
                  <a:pt x="7815259" y="1062038"/>
                </a:lnTo>
                <a:lnTo>
                  <a:pt x="7815259" y="1458913"/>
                </a:lnTo>
                <a:lnTo>
                  <a:pt x="7737472" y="1458913"/>
                </a:lnTo>
                <a:close/>
                <a:moveTo>
                  <a:pt x="11253544" y="936625"/>
                </a:moveTo>
                <a:cubicBezTo>
                  <a:pt x="11284280" y="936625"/>
                  <a:pt x="11313343" y="940389"/>
                  <a:pt x="11340315" y="948334"/>
                </a:cubicBezTo>
                <a:cubicBezTo>
                  <a:pt x="11367287" y="956071"/>
                  <a:pt x="11391959" y="967989"/>
                  <a:pt x="11414331" y="984090"/>
                </a:cubicBezTo>
                <a:cubicBezTo>
                  <a:pt x="11392795" y="1017545"/>
                  <a:pt x="11392795" y="1017545"/>
                  <a:pt x="11392795" y="1017545"/>
                </a:cubicBezTo>
                <a:cubicBezTo>
                  <a:pt x="11371260" y="1051209"/>
                  <a:pt x="11371260" y="1051209"/>
                  <a:pt x="11371260" y="1051209"/>
                </a:cubicBezTo>
                <a:cubicBezTo>
                  <a:pt x="11354114" y="1038036"/>
                  <a:pt x="11335715" y="1028627"/>
                  <a:pt x="11316270" y="1022354"/>
                </a:cubicBezTo>
                <a:cubicBezTo>
                  <a:pt x="11296616" y="1016290"/>
                  <a:pt x="11275498" y="1013363"/>
                  <a:pt x="11252917" y="1013363"/>
                </a:cubicBezTo>
                <a:cubicBezTo>
                  <a:pt x="11201273" y="1013363"/>
                  <a:pt x="11155483" y="1034063"/>
                  <a:pt x="11122657" y="1067936"/>
                </a:cubicBezTo>
                <a:cubicBezTo>
                  <a:pt x="11089622" y="1102019"/>
                  <a:pt x="11069549" y="1149692"/>
                  <a:pt x="11069549" y="1203221"/>
                </a:cubicBezTo>
                <a:cubicBezTo>
                  <a:pt x="11069549" y="1256958"/>
                  <a:pt x="11088785" y="1304631"/>
                  <a:pt x="11120984" y="1338923"/>
                </a:cubicBezTo>
                <a:cubicBezTo>
                  <a:pt x="11153393" y="1373214"/>
                  <a:pt x="11198346" y="1394124"/>
                  <a:pt x="11249990" y="1394124"/>
                </a:cubicBezTo>
                <a:cubicBezTo>
                  <a:pt x="11297452" y="1394124"/>
                  <a:pt x="11335924" y="1378860"/>
                  <a:pt x="11364360" y="1353350"/>
                </a:cubicBezTo>
                <a:cubicBezTo>
                  <a:pt x="11392795" y="1328050"/>
                  <a:pt x="11410986" y="1292295"/>
                  <a:pt x="11418095" y="1251521"/>
                </a:cubicBezTo>
                <a:cubicBezTo>
                  <a:pt x="11244136" y="1251521"/>
                  <a:pt x="11244136" y="1251521"/>
                  <a:pt x="11244136" y="1251521"/>
                </a:cubicBezTo>
                <a:cubicBezTo>
                  <a:pt x="11267971" y="1214303"/>
                  <a:pt x="11267971" y="1214303"/>
                  <a:pt x="11267971" y="1214303"/>
                </a:cubicBezTo>
                <a:cubicBezTo>
                  <a:pt x="11291598" y="1177084"/>
                  <a:pt x="11291598" y="1177084"/>
                  <a:pt x="11291598" y="1177084"/>
                </a:cubicBezTo>
                <a:cubicBezTo>
                  <a:pt x="11496083" y="1177084"/>
                  <a:pt x="11496083" y="1177084"/>
                  <a:pt x="11496083" y="1177084"/>
                </a:cubicBezTo>
                <a:cubicBezTo>
                  <a:pt x="11497338" y="1181057"/>
                  <a:pt x="11498174" y="1186911"/>
                  <a:pt x="11498802" y="1193393"/>
                </a:cubicBezTo>
                <a:cubicBezTo>
                  <a:pt x="11499429" y="1199875"/>
                  <a:pt x="11499847" y="1206984"/>
                  <a:pt x="11499847" y="1213466"/>
                </a:cubicBezTo>
                <a:cubicBezTo>
                  <a:pt x="11499847" y="1286231"/>
                  <a:pt x="11474339" y="1350214"/>
                  <a:pt x="11430222" y="1396215"/>
                </a:cubicBezTo>
                <a:cubicBezTo>
                  <a:pt x="11386105" y="1442216"/>
                  <a:pt x="11323379" y="1470025"/>
                  <a:pt x="11249154" y="1470025"/>
                </a:cubicBezTo>
                <a:cubicBezTo>
                  <a:pt x="11175137" y="1470025"/>
                  <a:pt x="11109066" y="1440334"/>
                  <a:pt x="11061813" y="1392242"/>
                </a:cubicBezTo>
                <a:cubicBezTo>
                  <a:pt x="11014351" y="1344150"/>
                  <a:pt x="10985497" y="1277449"/>
                  <a:pt x="10985497" y="1203221"/>
                </a:cubicBezTo>
                <a:cubicBezTo>
                  <a:pt x="10985497" y="1129201"/>
                  <a:pt x="11015187" y="1062500"/>
                  <a:pt x="11063695" y="1014408"/>
                </a:cubicBezTo>
                <a:cubicBezTo>
                  <a:pt x="11111994" y="966317"/>
                  <a:pt x="11179110" y="936625"/>
                  <a:pt x="11253544" y="936625"/>
                </a:cubicBezTo>
                <a:close/>
                <a:moveTo>
                  <a:pt x="8471697" y="936625"/>
                </a:moveTo>
                <a:cubicBezTo>
                  <a:pt x="8502452" y="936625"/>
                  <a:pt x="8530906" y="941434"/>
                  <a:pt x="8556850" y="949798"/>
                </a:cubicBezTo>
                <a:cubicBezTo>
                  <a:pt x="8582793" y="958162"/>
                  <a:pt x="8606225" y="970080"/>
                  <a:pt x="8626729" y="984717"/>
                </a:cubicBezTo>
                <a:cubicBezTo>
                  <a:pt x="8626729" y="984717"/>
                  <a:pt x="8626729" y="984717"/>
                  <a:pt x="8606225" y="1017336"/>
                </a:cubicBezTo>
                <a:cubicBezTo>
                  <a:pt x="8606225" y="1017336"/>
                  <a:pt x="8606225" y="1017336"/>
                  <a:pt x="8585722" y="1049745"/>
                </a:cubicBezTo>
                <a:cubicBezTo>
                  <a:pt x="8566474" y="1037409"/>
                  <a:pt x="8547644" y="1027581"/>
                  <a:pt x="8528605" y="1021099"/>
                </a:cubicBezTo>
                <a:cubicBezTo>
                  <a:pt x="8509775" y="1014617"/>
                  <a:pt x="8490736" y="1011063"/>
                  <a:pt x="8471070" y="1011063"/>
                </a:cubicBezTo>
                <a:cubicBezTo>
                  <a:pt x="8441151" y="1011063"/>
                  <a:pt x="8418974" y="1019217"/>
                  <a:pt x="8404328" y="1032181"/>
                </a:cubicBezTo>
                <a:cubicBezTo>
                  <a:pt x="8389683" y="1045354"/>
                  <a:pt x="8382570" y="1063755"/>
                  <a:pt x="8382570" y="1084246"/>
                </a:cubicBezTo>
                <a:cubicBezTo>
                  <a:pt x="8382570" y="1108292"/>
                  <a:pt x="8393449" y="1123556"/>
                  <a:pt x="8412697" y="1135474"/>
                </a:cubicBezTo>
                <a:cubicBezTo>
                  <a:pt x="8432155" y="1147183"/>
                  <a:pt x="8459772" y="1155338"/>
                  <a:pt x="8493038" y="1165165"/>
                </a:cubicBezTo>
                <a:cubicBezTo>
                  <a:pt x="8532789" y="1177293"/>
                  <a:pt x="8571704" y="1190257"/>
                  <a:pt x="8600786" y="1212421"/>
                </a:cubicBezTo>
                <a:cubicBezTo>
                  <a:pt x="8629658" y="1234585"/>
                  <a:pt x="8648697" y="1265740"/>
                  <a:pt x="8648697" y="1314250"/>
                </a:cubicBezTo>
                <a:cubicBezTo>
                  <a:pt x="8648697" y="1359205"/>
                  <a:pt x="8632169" y="1398097"/>
                  <a:pt x="8601413" y="1425906"/>
                </a:cubicBezTo>
                <a:cubicBezTo>
                  <a:pt x="8570658" y="1453507"/>
                  <a:pt x="8525467" y="1470025"/>
                  <a:pt x="8468140" y="1470025"/>
                </a:cubicBezTo>
                <a:cubicBezTo>
                  <a:pt x="8427552" y="1470025"/>
                  <a:pt x="8393031" y="1463125"/>
                  <a:pt x="8363531" y="1452461"/>
                </a:cubicBezTo>
                <a:cubicBezTo>
                  <a:pt x="8333821" y="1441797"/>
                  <a:pt x="8308715" y="1427161"/>
                  <a:pt x="8286747" y="1411479"/>
                </a:cubicBezTo>
                <a:cubicBezTo>
                  <a:pt x="8286747" y="1411479"/>
                  <a:pt x="8286747" y="1411479"/>
                  <a:pt x="8307251" y="1379069"/>
                </a:cubicBezTo>
                <a:cubicBezTo>
                  <a:pt x="8307251" y="1379069"/>
                  <a:pt x="8307251" y="1379069"/>
                  <a:pt x="8327754" y="1346450"/>
                </a:cubicBezTo>
                <a:cubicBezTo>
                  <a:pt x="8349931" y="1360669"/>
                  <a:pt x="8372318" y="1373005"/>
                  <a:pt x="8395541" y="1381578"/>
                </a:cubicBezTo>
                <a:cubicBezTo>
                  <a:pt x="8418765" y="1390360"/>
                  <a:pt x="8442825" y="1395378"/>
                  <a:pt x="8468768" y="1395378"/>
                </a:cubicBezTo>
                <a:cubicBezTo>
                  <a:pt x="8500569" y="1395378"/>
                  <a:pt x="8525048" y="1387224"/>
                  <a:pt x="8541367" y="1373633"/>
                </a:cubicBezTo>
                <a:cubicBezTo>
                  <a:pt x="8557686" y="1360041"/>
                  <a:pt x="8566055" y="1341014"/>
                  <a:pt x="8566055" y="1319477"/>
                </a:cubicBezTo>
                <a:cubicBezTo>
                  <a:pt x="8566055" y="1295640"/>
                  <a:pt x="8554967" y="1280376"/>
                  <a:pt x="8535509" y="1268458"/>
                </a:cubicBezTo>
                <a:cubicBezTo>
                  <a:pt x="8516261" y="1256540"/>
                  <a:pt x="8488644" y="1248176"/>
                  <a:pt x="8455587" y="1238348"/>
                </a:cubicBezTo>
                <a:cubicBezTo>
                  <a:pt x="8415417" y="1226221"/>
                  <a:pt x="8376502" y="1213466"/>
                  <a:pt x="8347630" y="1191511"/>
                </a:cubicBezTo>
                <a:cubicBezTo>
                  <a:pt x="8318758" y="1169556"/>
                  <a:pt x="8299928" y="1138192"/>
                  <a:pt x="8299928" y="1089264"/>
                </a:cubicBezTo>
                <a:cubicBezTo>
                  <a:pt x="8299928" y="1044727"/>
                  <a:pt x="8315829" y="1006463"/>
                  <a:pt x="8345329" y="979489"/>
                </a:cubicBezTo>
                <a:cubicBezTo>
                  <a:pt x="8374828" y="952516"/>
                  <a:pt x="8417718" y="936625"/>
                  <a:pt x="8471697" y="936625"/>
                </a:cubicBezTo>
                <a:close/>
                <a:moveTo>
                  <a:pt x="7349808" y="936625"/>
                </a:moveTo>
                <a:cubicBezTo>
                  <a:pt x="7424849" y="936625"/>
                  <a:pt x="7492344" y="966526"/>
                  <a:pt x="7541183" y="1014826"/>
                </a:cubicBezTo>
                <a:cubicBezTo>
                  <a:pt x="7590023" y="1063127"/>
                  <a:pt x="7619997" y="1129828"/>
                  <a:pt x="7619997" y="1203221"/>
                </a:cubicBezTo>
                <a:cubicBezTo>
                  <a:pt x="7619997" y="1276613"/>
                  <a:pt x="7590023" y="1343314"/>
                  <a:pt x="7541183" y="1391615"/>
                </a:cubicBezTo>
                <a:cubicBezTo>
                  <a:pt x="7492344" y="1440125"/>
                  <a:pt x="7424849" y="1470025"/>
                  <a:pt x="7349808" y="1470025"/>
                </a:cubicBezTo>
                <a:cubicBezTo>
                  <a:pt x="7274767" y="1470025"/>
                  <a:pt x="7207272" y="1440125"/>
                  <a:pt x="7158642" y="1391615"/>
                </a:cubicBezTo>
                <a:cubicBezTo>
                  <a:pt x="7110012" y="1343314"/>
                  <a:pt x="7080247" y="1276613"/>
                  <a:pt x="7080247" y="1203221"/>
                </a:cubicBezTo>
                <a:cubicBezTo>
                  <a:pt x="7080247" y="1129828"/>
                  <a:pt x="7110012" y="1063127"/>
                  <a:pt x="7158642" y="1014826"/>
                </a:cubicBezTo>
                <a:cubicBezTo>
                  <a:pt x="7207272" y="966526"/>
                  <a:pt x="7274767" y="936625"/>
                  <a:pt x="7349808" y="936625"/>
                </a:cubicBezTo>
                <a:close/>
                <a:moveTo>
                  <a:pt x="6837427" y="936625"/>
                </a:moveTo>
                <a:cubicBezTo>
                  <a:pt x="6874092" y="936625"/>
                  <a:pt x="6904891" y="941852"/>
                  <a:pt x="6932756" y="951680"/>
                </a:cubicBezTo>
                <a:cubicBezTo>
                  <a:pt x="6960412" y="961507"/>
                  <a:pt x="6984925" y="975726"/>
                  <a:pt x="7008810" y="993499"/>
                </a:cubicBezTo>
                <a:cubicBezTo>
                  <a:pt x="7008810" y="993499"/>
                  <a:pt x="7008810" y="993499"/>
                  <a:pt x="6987439" y="1026745"/>
                </a:cubicBezTo>
                <a:cubicBezTo>
                  <a:pt x="6987439" y="1026745"/>
                  <a:pt x="6987439" y="1026745"/>
                  <a:pt x="6966278" y="1059991"/>
                </a:cubicBezTo>
                <a:cubicBezTo>
                  <a:pt x="6946584" y="1044727"/>
                  <a:pt x="6926680" y="1032809"/>
                  <a:pt x="6904891" y="1024863"/>
                </a:cubicBezTo>
                <a:cubicBezTo>
                  <a:pt x="6883101" y="1016708"/>
                  <a:pt x="6859845" y="1012526"/>
                  <a:pt x="6833027" y="1012526"/>
                </a:cubicBezTo>
                <a:cubicBezTo>
                  <a:pt x="6782115" y="1012526"/>
                  <a:pt x="6736441" y="1033436"/>
                  <a:pt x="6703338" y="1067727"/>
                </a:cubicBezTo>
                <a:cubicBezTo>
                  <a:pt x="6670444" y="1102019"/>
                  <a:pt x="6649912" y="1149483"/>
                  <a:pt x="6649912" y="1203221"/>
                </a:cubicBezTo>
                <a:cubicBezTo>
                  <a:pt x="6649912" y="1256958"/>
                  <a:pt x="6670444" y="1304631"/>
                  <a:pt x="6703338" y="1338923"/>
                </a:cubicBezTo>
                <a:cubicBezTo>
                  <a:pt x="6736441" y="1373214"/>
                  <a:pt x="6782115" y="1393915"/>
                  <a:pt x="6833027" y="1393915"/>
                </a:cubicBezTo>
                <a:cubicBezTo>
                  <a:pt x="6859845" y="1393915"/>
                  <a:pt x="6883101" y="1389733"/>
                  <a:pt x="6904891" y="1381787"/>
                </a:cubicBezTo>
                <a:cubicBezTo>
                  <a:pt x="6926680" y="1373633"/>
                  <a:pt x="6946584" y="1361923"/>
                  <a:pt x="6966278" y="1346450"/>
                </a:cubicBezTo>
                <a:cubicBezTo>
                  <a:pt x="6966278" y="1346450"/>
                  <a:pt x="6966278" y="1346450"/>
                  <a:pt x="6987439" y="1379696"/>
                </a:cubicBezTo>
                <a:cubicBezTo>
                  <a:pt x="6987439" y="1379696"/>
                  <a:pt x="6987439" y="1379696"/>
                  <a:pt x="7008810" y="1412942"/>
                </a:cubicBezTo>
                <a:cubicBezTo>
                  <a:pt x="6984925" y="1430924"/>
                  <a:pt x="6960412" y="1445143"/>
                  <a:pt x="6932756" y="1454970"/>
                </a:cubicBezTo>
                <a:cubicBezTo>
                  <a:pt x="6904891" y="1464589"/>
                  <a:pt x="6874092" y="1470025"/>
                  <a:pt x="6837427" y="1470025"/>
                </a:cubicBezTo>
                <a:cubicBezTo>
                  <a:pt x="6761373" y="1470025"/>
                  <a:pt x="6693491" y="1440334"/>
                  <a:pt x="6644674" y="1392242"/>
                </a:cubicBezTo>
                <a:cubicBezTo>
                  <a:pt x="6595648" y="1344150"/>
                  <a:pt x="6565897" y="1277449"/>
                  <a:pt x="6565897" y="1203221"/>
                </a:cubicBezTo>
                <a:cubicBezTo>
                  <a:pt x="6565897" y="1129201"/>
                  <a:pt x="6595648" y="1062500"/>
                  <a:pt x="6644674" y="1014408"/>
                </a:cubicBezTo>
                <a:cubicBezTo>
                  <a:pt x="6693491" y="966107"/>
                  <a:pt x="6761373" y="936625"/>
                  <a:pt x="6837427" y="936625"/>
                </a:cubicBezTo>
                <a:close/>
                <a:moveTo>
                  <a:pt x="501650" y="477838"/>
                </a:moveTo>
                <a:cubicBezTo>
                  <a:pt x="501650" y="477838"/>
                  <a:pt x="501650" y="477838"/>
                  <a:pt x="501650" y="981076"/>
                </a:cubicBezTo>
                <a:cubicBezTo>
                  <a:pt x="501650" y="981076"/>
                  <a:pt x="501650" y="981076"/>
                  <a:pt x="786010" y="981076"/>
                </a:cubicBezTo>
                <a:cubicBezTo>
                  <a:pt x="786010" y="981076"/>
                  <a:pt x="786010" y="981076"/>
                  <a:pt x="1070579" y="981076"/>
                </a:cubicBezTo>
                <a:cubicBezTo>
                  <a:pt x="1142870" y="981076"/>
                  <a:pt x="1207013" y="953710"/>
                  <a:pt x="1253188" y="908588"/>
                </a:cubicBezTo>
                <a:cubicBezTo>
                  <a:pt x="1299153" y="863466"/>
                  <a:pt x="1327150" y="800169"/>
                  <a:pt x="1327150" y="727681"/>
                </a:cubicBezTo>
                <a:cubicBezTo>
                  <a:pt x="1327150" y="655402"/>
                  <a:pt x="1299153" y="592942"/>
                  <a:pt x="1253188" y="548446"/>
                </a:cubicBezTo>
                <a:cubicBezTo>
                  <a:pt x="1207013" y="503951"/>
                  <a:pt x="1142870" y="477838"/>
                  <a:pt x="1070579" y="477838"/>
                </a:cubicBezTo>
                <a:cubicBezTo>
                  <a:pt x="1070579" y="477838"/>
                  <a:pt x="1070579" y="477838"/>
                  <a:pt x="501650" y="477838"/>
                </a:cubicBezTo>
                <a:close/>
                <a:moveTo>
                  <a:pt x="6675435" y="336550"/>
                </a:moveTo>
                <a:cubicBezTo>
                  <a:pt x="6675435" y="487363"/>
                  <a:pt x="6675435" y="487363"/>
                  <a:pt x="6675435" y="487363"/>
                </a:cubicBezTo>
                <a:cubicBezTo>
                  <a:pt x="6808467" y="487363"/>
                  <a:pt x="6808467" y="487363"/>
                  <a:pt x="6808467" y="487363"/>
                </a:cubicBezTo>
                <a:cubicBezTo>
                  <a:pt x="6831475" y="487363"/>
                  <a:pt x="6851346" y="478985"/>
                  <a:pt x="6865570" y="465370"/>
                </a:cubicBezTo>
                <a:cubicBezTo>
                  <a:pt x="6879793" y="451755"/>
                  <a:pt x="6888160" y="432903"/>
                  <a:pt x="6888160" y="411957"/>
                </a:cubicBezTo>
                <a:cubicBezTo>
                  <a:pt x="6888160" y="390801"/>
                  <a:pt x="6879793" y="371949"/>
                  <a:pt x="6865570" y="358334"/>
                </a:cubicBezTo>
                <a:cubicBezTo>
                  <a:pt x="6851346" y="344719"/>
                  <a:pt x="6831475" y="336550"/>
                  <a:pt x="6808467" y="336550"/>
                </a:cubicBezTo>
                <a:cubicBezTo>
                  <a:pt x="6675435" y="336550"/>
                  <a:pt x="6675435" y="336550"/>
                  <a:pt x="6675435" y="336550"/>
                </a:cubicBezTo>
                <a:close/>
                <a:moveTo>
                  <a:pt x="6675435" y="122238"/>
                </a:moveTo>
                <a:cubicBezTo>
                  <a:pt x="6675435" y="265113"/>
                  <a:pt x="6675435" y="265113"/>
                  <a:pt x="6675435" y="265113"/>
                </a:cubicBezTo>
                <a:cubicBezTo>
                  <a:pt x="6795279" y="265113"/>
                  <a:pt x="6795279" y="265113"/>
                  <a:pt x="6795279" y="265113"/>
                </a:cubicBezTo>
                <a:cubicBezTo>
                  <a:pt x="6816822" y="265113"/>
                  <a:pt x="6835228" y="257396"/>
                  <a:pt x="6848404" y="244673"/>
                </a:cubicBezTo>
                <a:cubicBezTo>
                  <a:pt x="6861372" y="231949"/>
                  <a:pt x="6869110" y="214012"/>
                  <a:pt x="6869110" y="193571"/>
                </a:cubicBezTo>
                <a:cubicBezTo>
                  <a:pt x="6869110" y="173131"/>
                  <a:pt x="6861372" y="155402"/>
                  <a:pt x="6848404" y="142679"/>
                </a:cubicBezTo>
                <a:cubicBezTo>
                  <a:pt x="6835228" y="129747"/>
                  <a:pt x="6816822" y="122238"/>
                  <a:pt x="6795279" y="122238"/>
                </a:cubicBezTo>
                <a:cubicBezTo>
                  <a:pt x="6675435" y="122238"/>
                  <a:pt x="6675435" y="122238"/>
                  <a:pt x="6675435" y="122238"/>
                </a:cubicBezTo>
                <a:close/>
                <a:moveTo>
                  <a:pt x="8850791" y="114300"/>
                </a:moveTo>
                <a:cubicBezTo>
                  <a:pt x="8799203" y="114300"/>
                  <a:pt x="8753045" y="135269"/>
                  <a:pt x="8719837" y="169657"/>
                </a:cubicBezTo>
                <a:cubicBezTo>
                  <a:pt x="8686419" y="204046"/>
                  <a:pt x="8666160" y="251645"/>
                  <a:pt x="8666160" y="304905"/>
                </a:cubicBezTo>
                <a:cubicBezTo>
                  <a:pt x="8666160" y="357956"/>
                  <a:pt x="8686419" y="405554"/>
                  <a:pt x="8719837" y="439943"/>
                </a:cubicBezTo>
                <a:cubicBezTo>
                  <a:pt x="8753045" y="474332"/>
                  <a:pt x="8799203" y="495300"/>
                  <a:pt x="8850791" y="495300"/>
                </a:cubicBezTo>
                <a:cubicBezTo>
                  <a:pt x="8902588" y="495300"/>
                  <a:pt x="8948954" y="474541"/>
                  <a:pt x="8982163" y="440153"/>
                </a:cubicBezTo>
                <a:cubicBezTo>
                  <a:pt x="9015580" y="405974"/>
                  <a:pt x="9036048" y="358375"/>
                  <a:pt x="9036048" y="304905"/>
                </a:cubicBezTo>
                <a:cubicBezTo>
                  <a:pt x="9036048" y="251645"/>
                  <a:pt x="9015371" y="204046"/>
                  <a:pt x="8981954" y="169657"/>
                </a:cubicBezTo>
                <a:cubicBezTo>
                  <a:pt x="8948536" y="135269"/>
                  <a:pt x="8902170" y="114300"/>
                  <a:pt x="8850791" y="114300"/>
                </a:cubicBezTo>
                <a:close/>
                <a:moveTo>
                  <a:pt x="7335415" y="114300"/>
                </a:moveTo>
                <a:cubicBezTo>
                  <a:pt x="7283845" y="114300"/>
                  <a:pt x="7237515" y="135269"/>
                  <a:pt x="7203974" y="169657"/>
                </a:cubicBezTo>
                <a:cubicBezTo>
                  <a:pt x="7170642" y="204046"/>
                  <a:pt x="7150097" y="251645"/>
                  <a:pt x="7150097" y="304905"/>
                </a:cubicBezTo>
                <a:cubicBezTo>
                  <a:pt x="7150097" y="357956"/>
                  <a:pt x="7170642" y="405554"/>
                  <a:pt x="7203974" y="439943"/>
                </a:cubicBezTo>
                <a:cubicBezTo>
                  <a:pt x="7237515" y="474332"/>
                  <a:pt x="7283845" y="495300"/>
                  <a:pt x="7335415" y="495300"/>
                </a:cubicBezTo>
                <a:cubicBezTo>
                  <a:pt x="7387405" y="495300"/>
                  <a:pt x="7433944" y="474541"/>
                  <a:pt x="7467486" y="440153"/>
                </a:cubicBezTo>
                <a:cubicBezTo>
                  <a:pt x="7501028" y="405974"/>
                  <a:pt x="7521572" y="358375"/>
                  <a:pt x="7521572" y="304905"/>
                </a:cubicBezTo>
                <a:cubicBezTo>
                  <a:pt x="7521572" y="251645"/>
                  <a:pt x="7500818" y="204046"/>
                  <a:pt x="7467067" y="169657"/>
                </a:cubicBezTo>
                <a:cubicBezTo>
                  <a:pt x="7433525" y="135269"/>
                  <a:pt x="7386986" y="114300"/>
                  <a:pt x="7335415" y="114300"/>
                </a:cubicBezTo>
                <a:close/>
                <a:moveTo>
                  <a:pt x="9237660" y="49213"/>
                </a:moveTo>
                <a:lnTo>
                  <a:pt x="9339260" y="49213"/>
                </a:lnTo>
                <a:lnTo>
                  <a:pt x="9458322" y="242888"/>
                </a:lnTo>
                <a:lnTo>
                  <a:pt x="9578972" y="436563"/>
                </a:lnTo>
                <a:lnTo>
                  <a:pt x="9578972" y="49213"/>
                </a:lnTo>
                <a:lnTo>
                  <a:pt x="9656760" y="49213"/>
                </a:lnTo>
                <a:lnTo>
                  <a:pt x="9656760" y="560388"/>
                </a:lnTo>
                <a:lnTo>
                  <a:pt x="9561510" y="560388"/>
                </a:lnTo>
                <a:lnTo>
                  <a:pt x="9439272" y="363538"/>
                </a:lnTo>
                <a:lnTo>
                  <a:pt x="9317035" y="165101"/>
                </a:lnTo>
                <a:lnTo>
                  <a:pt x="9317035" y="560388"/>
                </a:lnTo>
                <a:lnTo>
                  <a:pt x="9237660" y="560388"/>
                </a:lnTo>
                <a:close/>
                <a:moveTo>
                  <a:pt x="8126410" y="49213"/>
                </a:moveTo>
                <a:lnTo>
                  <a:pt x="8529635" y="49213"/>
                </a:lnTo>
                <a:lnTo>
                  <a:pt x="8529635" y="125413"/>
                </a:lnTo>
                <a:lnTo>
                  <a:pt x="8369298" y="125413"/>
                </a:lnTo>
                <a:lnTo>
                  <a:pt x="8369298" y="560388"/>
                </a:lnTo>
                <a:lnTo>
                  <a:pt x="8285160" y="560388"/>
                </a:lnTo>
                <a:lnTo>
                  <a:pt x="8285160" y="125413"/>
                </a:lnTo>
                <a:lnTo>
                  <a:pt x="8126410" y="125413"/>
                </a:lnTo>
                <a:close/>
                <a:moveTo>
                  <a:pt x="6592885" y="49213"/>
                </a:moveTo>
                <a:cubicBezTo>
                  <a:pt x="6795851" y="49213"/>
                  <a:pt x="6795851" y="49213"/>
                  <a:pt x="6795851" y="49213"/>
                </a:cubicBezTo>
                <a:cubicBezTo>
                  <a:pt x="6840537" y="49213"/>
                  <a:pt x="6879794" y="63633"/>
                  <a:pt x="6907775" y="87875"/>
                </a:cubicBezTo>
                <a:cubicBezTo>
                  <a:pt x="6935756" y="112117"/>
                  <a:pt x="6952670" y="146182"/>
                  <a:pt x="6952670" y="185680"/>
                </a:cubicBezTo>
                <a:cubicBezTo>
                  <a:pt x="6952670" y="208041"/>
                  <a:pt x="6946823" y="228103"/>
                  <a:pt x="6936382" y="245658"/>
                </a:cubicBezTo>
                <a:cubicBezTo>
                  <a:pt x="6925733" y="263004"/>
                  <a:pt x="6910698" y="277633"/>
                  <a:pt x="6892114" y="288709"/>
                </a:cubicBezTo>
                <a:cubicBezTo>
                  <a:pt x="6916963" y="300621"/>
                  <a:pt x="6937009" y="318176"/>
                  <a:pt x="6950791" y="339492"/>
                </a:cubicBezTo>
                <a:cubicBezTo>
                  <a:pt x="6964572" y="360808"/>
                  <a:pt x="6972298" y="385677"/>
                  <a:pt x="6972298" y="412845"/>
                </a:cubicBezTo>
                <a:cubicBezTo>
                  <a:pt x="6972298" y="454015"/>
                  <a:pt x="6955384" y="491005"/>
                  <a:pt x="6926359" y="517546"/>
                </a:cubicBezTo>
                <a:cubicBezTo>
                  <a:pt x="6897543" y="544087"/>
                  <a:pt x="6856616" y="560388"/>
                  <a:pt x="6808798" y="560388"/>
                </a:cubicBezTo>
                <a:cubicBezTo>
                  <a:pt x="6592885" y="560388"/>
                  <a:pt x="6592885" y="560388"/>
                  <a:pt x="6592885" y="560388"/>
                </a:cubicBezTo>
                <a:cubicBezTo>
                  <a:pt x="6592885" y="49213"/>
                  <a:pt x="6592885" y="49213"/>
                  <a:pt x="6592885" y="49213"/>
                </a:cubicBezTo>
                <a:close/>
                <a:moveTo>
                  <a:pt x="8850790" y="38100"/>
                </a:moveTo>
                <a:cubicBezTo>
                  <a:pt x="8925610" y="38100"/>
                  <a:pt x="8992907" y="68001"/>
                  <a:pt x="9041603" y="116301"/>
                </a:cubicBezTo>
                <a:cubicBezTo>
                  <a:pt x="9090299" y="164602"/>
                  <a:pt x="9120185" y="231303"/>
                  <a:pt x="9120185" y="304905"/>
                </a:cubicBezTo>
                <a:cubicBezTo>
                  <a:pt x="9120185" y="378297"/>
                  <a:pt x="9090299" y="444998"/>
                  <a:pt x="9041603" y="493090"/>
                </a:cubicBezTo>
                <a:cubicBezTo>
                  <a:pt x="8992907" y="541600"/>
                  <a:pt x="8925610" y="571500"/>
                  <a:pt x="8850790" y="571500"/>
                </a:cubicBezTo>
                <a:cubicBezTo>
                  <a:pt x="8775761" y="571500"/>
                  <a:pt x="8708673" y="541600"/>
                  <a:pt x="8660186" y="493090"/>
                </a:cubicBezTo>
                <a:cubicBezTo>
                  <a:pt x="8611699" y="444998"/>
                  <a:pt x="8582022" y="378297"/>
                  <a:pt x="8582022" y="304905"/>
                </a:cubicBezTo>
                <a:cubicBezTo>
                  <a:pt x="8582022" y="231303"/>
                  <a:pt x="8611699" y="164602"/>
                  <a:pt x="8660186" y="116301"/>
                </a:cubicBezTo>
                <a:cubicBezTo>
                  <a:pt x="8708673" y="68001"/>
                  <a:pt x="8775761" y="38100"/>
                  <a:pt x="8850790" y="38100"/>
                </a:cubicBezTo>
                <a:close/>
                <a:moveTo>
                  <a:pt x="7870035" y="38100"/>
                </a:moveTo>
                <a:cubicBezTo>
                  <a:pt x="7871499" y="38100"/>
                  <a:pt x="7871499" y="38100"/>
                  <a:pt x="7871499" y="38100"/>
                </a:cubicBezTo>
                <a:cubicBezTo>
                  <a:pt x="7901627" y="38309"/>
                  <a:pt x="7929663" y="42909"/>
                  <a:pt x="7955187" y="51273"/>
                </a:cubicBezTo>
                <a:cubicBezTo>
                  <a:pt x="7981131" y="59637"/>
                  <a:pt x="8004563" y="71764"/>
                  <a:pt x="8025067" y="86401"/>
                </a:cubicBezTo>
                <a:cubicBezTo>
                  <a:pt x="8004563" y="118811"/>
                  <a:pt x="8004563" y="118811"/>
                  <a:pt x="8004563" y="118811"/>
                </a:cubicBezTo>
                <a:cubicBezTo>
                  <a:pt x="7984060" y="151429"/>
                  <a:pt x="7984060" y="151429"/>
                  <a:pt x="7984060" y="151429"/>
                </a:cubicBezTo>
                <a:cubicBezTo>
                  <a:pt x="7964811" y="138884"/>
                  <a:pt x="7945982" y="129265"/>
                  <a:pt x="7926943" y="122574"/>
                </a:cubicBezTo>
                <a:cubicBezTo>
                  <a:pt x="7908113" y="116092"/>
                  <a:pt x="7889074" y="112538"/>
                  <a:pt x="7869198" y="112538"/>
                </a:cubicBezTo>
                <a:cubicBezTo>
                  <a:pt x="7839280" y="112538"/>
                  <a:pt x="7817312" y="120692"/>
                  <a:pt x="7802666" y="133865"/>
                </a:cubicBezTo>
                <a:cubicBezTo>
                  <a:pt x="7788021" y="147038"/>
                  <a:pt x="7780907" y="165230"/>
                  <a:pt x="7780907" y="185721"/>
                </a:cubicBezTo>
                <a:cubicBezTo>
                  <a:pt x="7780907" y="209767"/>
                  <a:pt x="7791787" y="225031"/>
                  <a:pt x="7811035" y="236949"/>
                </a:cubicBezTo>
                <a:cubicBezTo>
                  <a:pt x="7830283" y="248658"/>
                  <a:pt x="7857900" y="257022"/>
                  <a:pt x="7891166" y="266849"/>
                </a:cubicBezTo>
                <a:cubicBezTo>
                  <a:pt x="7931127" y="278977"/>
                  <a:pt x="7970042" y="291941"/>
                  <a:pt x="7998914" y="313896"/>
                </a:cubicBezTo>
                <a:cubicBezTo>
                  <a:pt x="8027996" y="336060"/>
                  <a:pt x="8047035" y="367424"/>
                  <a:pt x="8047035" y="415934"/>
                </a:cubicBezTo>
                <a:cubicBezTo>
                  <a:pt x="8047035" y="460889"/>
                  <a:pt x="8030506" y="499781"/>
                  <a:pt x="7999751" y="527381"/>
                </a:cubicBezTo>
                <a:cubicBezTo>
                  <a:pt x="7968787" y="554982"/>
                  <a:pt x="7923804" y="571500"/>
                  <a:pt x="7866478" y="571500"/>
                </a:cubicBezTo>
                <a:cubicBezTo>
                  <a:pt x="7825890" y="571500"/>
                  <a:pt x="7791368" y="564809"/>
                  <a:pt x="7761659" y="554145"/>
                </a:cubicBezTo>
                <a:cubicBezTo>
                  <a:pt x="7731950" y="543272"/>
                  <a:pt x="7707053" y="528845"/>
                  <a:pt x="7685085" y="512954"/>
                </a:cubicBezTo>
                <a:cubicBezTo>
                  <a:pt x="7725883" y="447925"/>
                  <a:pt x="7725883" y="447925"/>
                  <a:pt x="7725883" y="447925"/>
                </a:cubicBezTo>
                <a:cubicBezTo>
                  <a:pt x="7748269" y="462353"/>
                  <a:pt x="7770656" y="474480"/>
                  <a:pt x="7793879" y="483053"/>
                </a:cubicBezTo>
                <a:cubicBezTo>
                  <a:pt x="7816893" y="491835"/>
                  <a:pt x="7841163" y="497063"/>
                  <a:pt x="7867106" y="497063"/>
                </a:cubicBezTo>
                <a:cubicBezTo>
                  <a:pt x="7898907" y="497063"/>
                  <a:pt x="7923177" y="488699"/>
                  <a:pt x="7939496" y="475108"/>
                </a:cubicBezTo>
                <a:cubicBezTo>
                  <a:pt x="7956024" y="461516"/>
                  <a:pt x="7964393" y="442489"/>
                  <a:pt x="7964393" y="420952"/>
                </a:cubicBezTo>
                <a:cubicBezTo>
                  <a:pt x="7964393" y="397324"/>
                  <a:pt x="7953095" y="381851"/>
                  <a:pt x="7933847" y="369933"/>
                </a:cubicBezTo>
                <a:cubicBezTo>
                  <a:pt x="7914389" y="358224"/>
                  <a:pt x="7886982" y="349860"/>
                  <a:pt x="7853925" y="339823"/>
                </a:cubicBezTo>
                <a:cubicBezTo>
                  <a:pt x="7813755" y="327696"/>
                  <a:pt x="7774840" y="314941"/>
                  <a:pt x="7745968" y="292986"/>
                </a:cubicBezTo>
                <a:cubicBezTo>
                  <a:pt x="7717095" y="271031"/>
                  <a:pt x="7698266" y="239667"/>
                  <a:pt x="7698266" y="190739"/>
                </a:cubicBezTo>
                <a:cubicBezTo>
                  <a:pt x="7698266" y="146202"/>
                  <a:pt x="7714166" y="107938"/>
                  <a:pt x="7743666" y="80964"/>
                </a:cubicBezTo>
                <a:cubicBezTo>
                  <a:pt x="7772957" y="53991"/>
                  <a:pt x="7815847" y="38100"/>
                  <a:pt x="7870035" y="38100"/>
                </a:cubicBezTo>
                <a:close/>
                <a:moveTo>
                  <a:pt x="7334624" y="38100"/>
                </a:moveTo>
                <a:cubicBezTo>
                  <a:pt x="7409415" y="38100"/>
                  <a:pt x="7476894" y="68001"/>
                  <a:pt x="7525363" y="116301"/>
                </a:cubicBezTo>
                <a:cubicBezTo>
                  <a:pt x="7574040" y="164602"/>
                  <a:pt x="7604123" y="231303"/>
                  <a:pt x="7604123" y="304905"/>
                </a:cubicBezTo>
                <a:cubicBezTo>
                  <a:pt x="7604123" y="378297"/>
                  <a:pt x="7574040" y="444998"/>
                  <a:pt x="7525363" y="493090"/>
                </a:cubicBezTo>
                <a:cubicBezTo>
                  <a:pt x="7476894" y="541600"/>
                  <a:pt x="7409415" y="571500"/>
                  <a:pt x="7334624" y="571500"/>
                </a:cubicBezTo>
                <a:cubicBezTo>
                  <a:pt x="7259833" y="571500"/>
                  <a:pt x="7192562" y="541600"/>
                  <a:pt x="7144094" y="493090"/>
                </a:cubicBezTo>
                <a:cubicBezTo>
                  <a:pt x="7095626" y="444998"/>
                  <a:pt x="7065960" y="378297"/>
                  <a:pt x="7065960" y="304905"/>
                </a:cubicBezTo>
                <a:cubicBezTo>
                  <a:pt x="7065960" y="231303"/>
                  <a:pt x="7095626" y="164602"/>
                  <a:pt x="7144094" y="116301"/>
                </a:cubicBezTo>
                <a:cubicBezTo>
                  <a:pt x="7192562" y="68001"/>
                  <a:pt x="7259833" y="38100"/>
                  <a:pt x="7334624" y="38100"/>
                </a:cubicBezTo>
                <a:close/>
                <a:moveTo>
                  <a:pt x="2766077" y="0"/>
                </a:moveTo>
                <a:cubicBezTo>
                  <a:pt x="2901191" y="0"/>
                  <a:pt x="3028777" y="17359"/>
                  <a:pt x="3146531" y="51449"/>
                </a:cubicBezTo>
                <a:cubicBezTo>
                  <a:pt x="3264077" y="85540"/>
                  <a:pt x="3372000" y="136571"/>
                  <a:pt x="3467375" y="204124"/>
                </a:cubicBezTo>
                <a:cubicBezTo>
                  <a:pt x="3467375" y="204124"/>
                  <a:pt x="3467375" y="204124"/>
                  <a:pt x="3340627" y="403228"/>
                </a:cubicBezTo>
                <a:cubicBezTo>
                  <a:pt x="3340627" y="403228"/>
                  <a:pt x="3340627" y="403228"/>
                  <a:pt x="3213880" y="602542"/>
                </a:cubicBezTo>
                <a:cubicBezTo>
                  <a:pt x="3153015" y="556321"/>
                  <a:pt x="3084622" y="520976"/>
                  <a:pt x="3009743" y="496716"/>
                </a:cubicBezTo>
                <a:cubicBezTo>
                  <a:pt x="2934865" y="472455"/>
                  <a:pt x="2853295" y="459279"/>
                  <a:pt x="2766077" y="457606"/>
                </a:cubicBezTo>
                <a:cubicBezTo>
                  <a:pt x="2556923" y="459279"/>
                  <a:pt x="2368473" y="545655"/>
                  <a:pt x="2232314" y="681180"/>
                </a:cubicBezTo>
                <a:cubicBezTo>
                  <a:pt x="2095946" y="816496"/>
                  <a:pt x="2012073" y="1000960"/>
                  <a:pt x="2012073" y="1198391"/>
                </a:cubicBezTo>
                <a:cubicBezTo>
                  <a:pt x="2012073" y="1399378"/>
                  <a:pt x="2095946" y="1585307"/>
                  <a:pt x="2232314" y="1721250"/>
                </a:cubicBezTo>
                <a:cubicBezTo>
                  <a:pt x="2368473" y="1856984"/>
                  <a:pt x="2556923" y="1942732"/>
                  <a:pt x="2766077" y="1942732"/>
                </a:cubicBezTo>
                <a:cubicBezTo>
                  <a:pt x="2868145" y="1942732"/>
                  <a:pt x="2962893" y="1923700"/>
                  <a:pt x="3050111" y="1886682"/>
                </a:cubicBezTo>
                <a:cubicBezTo>
                  <a:pt x="3137328" y="1849664"/>
                  <a:pt x="3217225" y="1794450"/>
                  <a:pt x="3289594" y="1722086"/>
                </a:cubicBezTo>
                <a:cubicBezTo>
                  <a:pt x="3462565" y="1549125"/>
                  <a:pt x="3493101" y="1332661"/>
                  <a:pt x="3543925" y="1095493"/>
                </a:cubicBezTo>
                <a:cubicBezTo>
                  <a:pt x="3595168" y="858533"/>
                  <a:pt x="3666699" y="600869"/>
                  <a:pt x="3921866" y="345714"/>
                </a:cubicBezTo>
                <a:cubicBezTo>
                  <a:pt x="4028953" y="238633"/>
                  <a:pt x="4155701" y="152256"/>
                  <a:pt x="4300646" y="92441"/>
                </a:cubicBezTo>
                <a:cubicBezTo>
                  <a:pt x="4445590" y="32836"/>
                  <a:pt x="4608522" y="0"/>
                  <a:pt x="4787977" y="0"/>
                </a:cubicBezTo>
                <a:cubicBezTo>
                  <a:pt x="4922882" y="0"/>
                  <a:pt x="5050676" y="18823"/>
                  <a:pt x="5168221" y="54796"/>
                </a:cubicBezTo>
                <a:cubicBezTo>
                  <a:pt x="5285976" y="90559"/>
                  <a:pt x="5393900" y="143054"/>
                  <a:pt x="5489275" y="210607"/>
                </a:cubicBezTo>
                <a:cubicBezTo>
                  <a:pt x="5489275" y="210607"/>
                  <a:pt x="5489275" y="210607"/>
                  <a:pt x="5364200" y="409921"/>
                </a:cubicBezTo>
                <a:cubicBezTo>
                  <a:pt x="5364200" y="409921"/>
                  <a:pt x="5364200" y="409921"/>
                  <a:pt x="5239125" y="609025"/>
                </a:cubicBezTo>
                <a:cubicBezTo>
                  <a:pt x="5176588" y="563014"/>
                  <a:pt x="5107357" y="525996"/>
                  <a:pt x="5031643" y="500480"/>
                </a:cubicBezTo>
                <a:cubicBezTo>
                  <a:pt x="4955929" y="474965"/>
                  <a:pt x="4873522" y="460952"/>
                  <a:pt x="4784631" y="460952"/>
                </a:cubicBezTo>
                <a:cubicBezTo>
                  <a:pt x="4580495" y="460952"/>
                  <a:pt x="4396857" y="544818"/>
                  <a:pt x="4264462" y="679089"/>
                </a:cubicBezTo>
                <a:cubicBezTo>
                  <a:pt x="4131857" y="813149"/>
                  <a:pt x="4050287" y="997614"/>
                  <a:pt x="4050287" y="1198391"/>
                </a:cubicBezTo>
                <a:cubicBezTo>
                  <a:pt x="4050287" y="1402724"/>
                  <a:pt x="4131021" y="1589489"/>
                  <a:pt x="4262370" y="1725223"/>
                </a:cubicBezTo>
                <a:cubicBezTo>
                  <a:pt x="4393720" y="1861167"/>
                  <a:pt x="4575477" y="1945870"/>
                  <a:pt x="4778147" y="1945870"/>
                </a:cubicBezTo>
                <a:cubicBezTo>
                  <a:pt x="4939406" y="1945870"/>
                  <a:pt x="5080167" y="1893165"/>
                  <a:pt x="5191438" y="1804280"/>
                </a:cubicBezTo>
                <a:cubicBezTo>
                  <a:pt x="5302499" y="1715394"/>
                  <a:pt x="5384070" y="1590326"/>
                  <a:pt x="5426737" y="1445390"/>
                </a:cubicBezTo>
                <a:cubicBezTo>
                  <a:pt x="5426737" y="1445390"/>
                  <a:pt x="5426737" y="1445390"/>
                  <a:pt x="4708917" y="1445390"/>
                </a:cubicBezTo>
                <a:cubicBezTo>
                  <a:pt x="4708917" y="1445390"/>
                  <a:pt x="4708917" y="1445390"/>
                  <a:pt x="4850515" y="1223279"/>
                </a:cubicBezTo>
                <a:cubicBezTo>
                  <a:pt x="4850515" y="1223279"/>
                  <a:pt x="4850515" y="1223279"/>
                  <a:pt x="4992113" y="1000960"/>
                </a:cubicBezTo>
                <a:cubicBezTo>
                  <a:pt x="4992113" y="1000960"/>
                  <a:pt x="4992113" y="1000960"/>
                  <a:pt x="5457901" y="1000960"/>
                </a:cubicBezTo>
                <a:cubicBezTo>
                  <a:pt x="5457901" y="1000960"/>
                  <a:pt x="5457901" y="1000960"/>
                  <a:pt x="5924108" y="1000960"/>
                </a:cubicBezTo>
                <a:cubicBezTo>
                  <a:pt x="5928919" y="1033796"/>
                  <a:pt x="5933102" y="1066840"/>
                  <a:pt x="5936030" y="1100094"/>
                </a:cubicBezTo>
                <a:cubicBezTo>
                  <a:pt x="5938749" y="1133557"/>
                  <a:pt x="5940422" y="1167229"/>
                  <a:pt x="5940422" y="1201738"/>
                </a:cubicBezTo>
                <a:cubicBezTo>
                  <a:pt x="5940422" y="1532602"/>
                  <a:pt x="5812001" y="1833141"/>
                  <a:pt x="5600963" y="2050860"/>
                </a:cubicBezTo>
                <a:cubicBezTo>
                  <a:pt x="5389717" y="2268578"/>
                  <a:pt x="5095854" y="2403475"/>
                  <a:pt x="4764970" y="2403475"/>
                </a:cubicBezTo>
                <a:cubicBezTo>
                  <a:pt x="4549331" y="2403475"/>
                  <a:pt x="4350006" y="2352653"/>
                  <a:pt x="4178290" y="2262513"/>
                </a:cubicBezTo>
                <a:cubicBezTo>
                  <a:pt x="4006784" y="2172372"/>
                  <a:pt x="3862676" y="2043121"/>
                  <a:pt x="3757265" y="1886682"/>
                </a:cubicBezTo>
                <a:cubicBezTo>
                  <a:pt x="3647040" y="2044794"/>
                  <a:pt x="3502931" y="2173836"/>
                  <a:pt x="3332469" y="2263558"/>
                </a:cubicBezTo>
                <a:cubicBezTo>
                  <a:pt x="3162009" y="2353490"/>
                  <a:pt x="2965403" y="2403475"/>
                  <a:pt x="2749555" y="2403475"/>
                </a:cubicBezTo>
                <a:cubicBezTo>
                  <a:pt x="2566961" y="2403475"/>
                  <a:pt x="2395664" y="2364993"/>
                  <a:pt x="2242563" y="2295766"/>
                </a:cubicBezTo>
                <a:cubicBezTo>
                  <a:pt x="2089461" y="2226540"/>
                  <a:pt x="1954347" y="2126988"/>
                  <a:pt x="1844121" y="2005266"/>
                </a:cubicBezTo>
                <a:cubicBezTo>
                  <a:pt x="1783258" y="2108792"/>
                  <a:pt x="1694366" y="2196214"/>
                  <a:pt x="1583096" y="2257493"/>
                </a:cubicBezTo>
                <a:cubicBezTo>
                  <a:pt x="1472034" y="2318772"/>
                  <a:pt x="1338593" y="2354117"/>
                  <a:pt x="1188838" y="2354117"/>
                </a:cubicBezTo>
                <a:cubicBezTo>
                  <a:pt x="1188838" y="2354117"/>
                  <a:pt x="1188838" y="2354117"/>
                  <a:pt x="0" y="2354117"/>
                </a:cubicBezTo>
                <a:cubicBezTo>
                  <a:pt x="0" y="2354117"/>
                  <a:pt x="0" y="2354117"/>
                  <a:pt x="0" y="1201738"/>
                </a:cubicBezTo>
                <a:cubicBezTo>
                  <a:pt x="0" y="1201738"/>
                  <a:pt x="0" y="1201738"/>
                  <a:pt x="0" y="49358"/>
                </a:cubicBezTo>
                <a:cubicBezTo>
                  <a:pt x="0" y="49358"/>
                  <a:pt x="0" y="49358"/>
                  <a:pt x="538575" y="49358"/>
                </a:cubicBezTo>
                <a:cubicBezTo>
                  <a:pt x="538575" y="49358"/>
                  <a:pt x="538575" y="49358"/>
                  <a:pt x="1076940" y="49358"/>
                </a:cubicBezTo>
                <a:cubicBezTo>
                  <a:pt x="1249702" y="49358"/>
                  <a:pt x="1402804" y="96206"/>
                  <a:pt x="1523487" y="176099"/>
                </a:cubicBezTo>
                <a:cubicBezTo>
                  <a:pt x="1643960" y="255992"/>
                  <a:pt x="1732223" y="368720"/>
                  <a:pt x="1774892" y="500480"/>
                </a:cubicBezTo>
                <a:cubicBezTo>
                  <a:pt x="1883653" y="350524"/>
                  <a:pt x="2027552" y="225457"/>
                  <a:pt x="2196549" y="137826"/>
                </a:cubicBezTo>
                <a:cubicBezTo>
                  <a:pt x="2365129" y="50195"/>
                  <a:pt x="2558596" y="0"/>
                  <a:pt x="2766077" y="0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sz="1350"/>
          </a:p>
        </p:txBody>
      </p:sp>
    </p:spTree>
    <p:extLst>
      <p:ext uri="{BB962C8B-B14F-4D97-AF65-F5344CB8AC3E}">
        <p14:creationId xmlns:p14="http://schemas.microsoft.com/office/powerpoint/2010/main" val="33456413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Green arrow one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entagon 3"/>
          <p:cNvSpPr/>
          <p:nvPr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gradFill flip="none" rotWithShape="1">
            <a:gsLst>
              <a:gs pos="0">
                <a:srgbClr val="403F85"/>
              </a:gs>
              <a:gs pos="81000">
                <a:srgbClr val="ED1B24"/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562" b="6867"/>
          <a:stretch/>
        </p:blipFill>
        <p:spPr>
          <a:xfrm>
            <a:off x="3578059" y="3416300"/>
            <a:ext cx="2694666" cy="3441700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  <p:sp>
        <p:nvSpPr>
          <p:cNvPr id="10" name="Copyright" hidden="1"/>
          <p:cNvSpPr txBox="1"/>
          <p:nvPr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23" name="Freeform 22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/>
        </p:nvSpPr>
        <p:spPr>
          <a:xfrm>
            <a:off x="4795632" y="6326127"/>
            <a:ext cx="7393321" cy="531873"/>
          </a:xfrm>
          <a:custGeom>
            <a:avLst/>
            <a:gdLst>
              <a:gd name="connsiteX0" fmla="*/ 3604654 w 7393321"/>
              <a:gd name="connsiteY0" fmla="*/ 0 h 531873"/>
              <a:gd name="connsiteX1" fmla="*/ 7393319 w 7393321"/>
              <a:gd name="connsiteY1" fmla="*/ 0 h 531873"/>
              <a:gd name="connsiteX2" fmla="*/ 7393319 w 7393321"/>
              <a:gd name="connsiteY2" fmla="*/ 239773 h 531873"/>
              <a:gd name="connsiteX3" fmla="*/ 7393321 w 7393321"/>
              <a:gd name="connsiteY3" fmla="*/ 239773 h 531873"/>
              <a:gd name="connsiteX4" fmla="*/ 7393321 w 7393321"/>
              <a:gd name="connsiteY4" fmla="*/ 531873 h 531873"/>
              <a:gd name="connsiteX5" fmla="*/ 0 w 7393321"/>
              <a:gd name="connsiteY5" fmla="*/ 531873 h 531873"/>
              <a:gd name="connsiteX6" fmla="*/ 59817 w 7393321"/>
              <a:gd name="connsiteY6" fmla="*/ 239773 h 531873"/>
              <a:gd name="connsiteX7" fmla="*/ 3424998 w 7393321"/>
              <a:gd name="connsiteY7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393321" h="531873">
                <a:moveTo>
                  <a:pt x="3604654" y="0"/>
                </a:moveTo>
                <a:lnTo>
                  <a:pt x="7393319" y="0"/>
                </a:lnTo>
                <a:lnTo>
                  <a:pt x="7393319" y="239773"/>
                </a:lnTo>
                <a:lnTo>
                  <a:pt x="7393321" y="239773"/>
                </a:lnTo>
                <a:lnTo>
                  <a:pt x="7393321" y="531873"/>
                </a:lnTo>
                <a:lnTo>
                  <a:pt x="0" y="531873"/>
                </a:lnTo>
                <a:lnTo>
                  <a:pt x="59817" y="239773"/>
                </a:lnTo>
                <a:lnTo>
                  <a:pt x="3424998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9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84854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8" name="Group 47"/>
          <p:cNvGrpSpPr/>
          <p:nvPr/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sp>
          <p:nvSpPr>
            <p:cNvPr id="55" name="Freeform 54"/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5678521 h 6858000"/>
                <a:gd name="connsiteX2" fmla="*/ 629400 w 12193200"/>
                <a:gd name="connsiteY2" fmla="*/ 5678521 h 6858000"/>
                <a:gd name="connsiteX3" fmla="*/ 629400 w 12193200"/>
                <a:gd name="connsiteY3" fmla="*/ 6583680 h 6858000"/>
                <a:gd name="connsiteX4" fmla="*/ 11562600 w 12193200"/>
                <a:gd name="connsiteY4" fmla="*/ 6583680 h 6858000"/>
                <a:gd name="connsiteX5" fmla="*/ 11562600 w 12193200"/>
                <a:gd name="connsiteY5" fmla="*/ 5678521 h 6858000"/>
                <a:gd name="connsiteX6" fmla="*/ 11562000 w 12193200"/>
                <a:gd name="connsiteY6" fmla="*/ 5678521 h 6858000"/>
                <a:gd name="connsiteX7" fmla="*/ 11562000 w 12193200"/>
                <a:gd name="connsiteY7" fmla="*/ 622800 h 6858000"/>
                <a:gd name="connsiteX8" fmla="*/ 0 w 12193200"/>
                <a:gd name="connsiteY8" fmla="*/ 0 h 6858000"/>
                <a:gd name="connsiteX9" fmla="*/ 12193200 w 12193200"/>
                <a:gd name="connsiteY9" fmla="*/ 0 h 6858000"/>
                <a:gd name="connsiteX10" fmla="*/ 12193200 w 12193200"/>
                <a:gd name="connsiteY10" fmla="*/ 622800 h 6858000"/>
                <a:gd name="connsiteX11" fmla="*/ 12192000 w 12193200"/>
                <a:gd name="connsiteY11" fmla="*/ 622800 h 6858000"/>
                <a:gd name="connsiteX12" fmla="*/ 12192000 w 12193200"/>
                <a:gd name="connsiteY12" fmla="*/ 6160597 h 6858000"/>
                <a:gd name="connsiteX13" fmla="*/ 12193200 w 12193200"/>
                <a:gd name="connsiteY13" fmla="*/ 6160597 h 6858000"/>
                <a:gd name="connsiteX14" fmla="*/ 12193200 w 12193200"/>
                <a:gd name="connsiteY14" fmla="*/ 6858000 h 6858000"/>
                <a:gd name="connsiteX15" fmla="*/ 12192000 w 12193200"/>
                <a:gd name="connsiteY15" fmla="*/ 6858000 h 6858000"/>
                <a:gd name="connsiteX16" fmla="*/ 11562000 w 12193200"/>
                <a:gd name="connsiteY16" fmla="*/ 6858000 h 6858000"/>
                <a:gd name="connsiteX17" fmla="*/ 630001 w 12193200"/>
                <a:gd name="connsiteY17" fmla="*/ 6858000 h 6858000"/>
                <a:gd name="connsiteX18" fmla="*/ 1 w 12193200"/>
                <a:gd name="connsiteY18" fmla="*/ 6858000 h 6858000"/>
                <a:gd name="connsiteX19" fmla="*/ 1 w 12193200"/>
                <a:gd name="connsiteY19" fmla="*/ 6160597 h 6858000"/>
                <a:gd name="connsiteX20" fmla="*/ 1 w 12193200"/>
                <a:gd name="connsiteY20" fmla="*/ 622800 h 6858000"/>
                <a:gd name="connsiteX21" fmla="*/ 0 w 12193200"/>
                <a:gd name="connsiteY21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5678521"/>
                  </a:lnTo>
                  <a:lnTo>
                    <a:pt x="629400" y="5678521"/>
                  </a:lnTo>
                  <a:lnTo>
                    <a:pt x="629400" y="6583680"/>
                  </a:lnTo>
                  <a:lnTo>
                    <a:pt x="11562600" y="6583680"/>
                  </a:lnTo>
                  <a:lnTo>
                    <a:pt x="11562600" y="5678521"/>
                  </a:lnTo>
                  <a:lnTo>
                    <a:pt x="11562000" y="5678521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chemeClr val="accent4">
                <a:lumMod val="20000"/>
                <a:lumOff val="80000"/>
                <a:alpha val="57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350">
                <a:solidFill>
                  <a:schemeClr val="tx1"/>
                </a:solidFill>
              </a:endParaRPr>
            </a:p>
          </p:txBody>
        </p:sp>
        <p:grpSp>
          <p:nvGrpSpPr>
            <p:cNvPr id="56" name="Group 55"/>
            <p:cNvGrpSpPr/>
            <p:nvPr/>
          </p:nvGrpSpPr>
          <p:grpSpPr>
            <a:xfrm>
              <a:off x="-600" y="622800"/>
              <a:ext cx="12193200" cy="5055720"/>
              <a:chOff x="-600" y="622800"/>
              <a:chExt cx="12193200" cy="5055720"/>
            </a:xfrm>
          </p:grpSpPr>
          <p:cxnSp>
            <p:nvCxnSpPr>
              <p:cNvPr id="116" name="Straight Connector 115"/>
              <p:cNvCxnSpPr/>
              <p:nvPr/>
            </p:nvCxnSpPr>
            <p:spPr>
              <a:xfrm>
                <a:off x="-600" y="622800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7" name="Straight Connector 116"/>
              <p:cNvCxnSpPr/>
              <p:nvPr/>
            </p:nvCxnSpPr>
            <p:spPr>
              <a:xfrm>
                <a:off x="-600" y="920195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8" name="Straight Connector 117"/>
              <p:cNvCxnSpPr/>
              <p:nvPr/>
            </p:nvCxnSpPr>
            <p:spPr>
              <a:xfrm>
                <a:off x="-600" y="1217590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9" name="Straight Connector 118"/>
              <p:cNvCxnSpPr/>
              <p:nvPr/>
            </p:nvCxnSpPr>
            <p:spPr>
              <a:xfrm>
                <a:off x="-600" y="1514985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0" name="Straight Connector 119"/>
              <p:cNvCxnSpPr/>
              <p:nvPr/>
            </p:nvCxnSpPr>
            <p:spPr>
              <a:xfrm>
                <a:off x="-600" y="1812380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1" name="Straight Connector 120"/>
              <p:cNvCxnSpPr/>
              <p:nvPr/>
            </p:nvCxnSpPr>
            <p:spPr>
              <a:xfrm>
                <a:off x="-600" y="2109775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2" name="Straight Connector 121"/>
              <p:cNvCxnSpPr/>
              <p:nvPr/>
            </p:nvCxnSpPr>
            <p:spPr>
              <a:xfrm>
                <a:off x="-600" y="2407170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3" name="Straight Connector 122"/>
              <p:cNvCxnSpPr/>
              <p:nvPr/>
            </p:nvCxnSpPr>
            <p:spPr>
              <a:xfrm>
                <a:off x="-600" y="2704565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4" name="Straight Connector 123"/>
              <p:cNvCxnSpPr/>
              <p:nvPr/>
            </p:nvCxnSpPr>
            <p:spPr>
              <a:xfrm>
                <a:off x="-600" y="3001960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5" name="Straight Connector 124"/>
              <p:cNvCxnSpPr/>
              <p:nvPr/>
            </p:nvCxnSpPr>
            <p:spPr>
              <a:xfrm>
                <a:off x="-600" y="3299355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6" name="Straight Connector 125"/>
              <p:cNvCxnSpPr/>
              <p:nvPr/>
            </p:nvCxnSpPr>
            <p:spPr>
              <a:xfrm>
                <a:off x="-600" y="3596750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7" name="Straight Connector 126"/>
              <p:cNvCxnSpPr/>
              <p:nvPr/>
            </p:nvCxnSpPr>
            <p:spPr>
              <a:xfrm>
                <a:off x="-600" y="3894145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8" name="Straight Connector 127"/>
              <p:cNvCxnSpPr/>
              <p:nvPr/>
            </p:nvCxnSpPr>
            <p:spPr>
              <a:xfrm>
                <a:off x="-600" y="4191540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9" name="Straight Connector 128"/>
              <p:cNvCxnSpPr/>
              <p:nvPr/>
            </p:nvCxnSpPr>
            <p:spPr>
              <a:xfrm>
                <a:off x="-600" y="4488935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0" name="Straight Connector 129"/>
              <p:cNvCxnSpPr/>
              <p:nvPr/>
            </p:nvCxnSpPr>
            <p:spPr>
              <a:xfrm>
                <a:off x="-600" y="4786330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1" name="Straight Connector 130"/>
              <p:cNvCxnSpPr/>
              <p:nvPr/>
            </p:nvCxnSpPr>
            <p:spPr>
              <a:xfrm>
                <a:off x="-600" y="5083725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2" name="Straight Connector 131"/>
              <p:cNvCxnSpPr/>
              <p:nvPr/>
            </p:nvCxnSpPr>
            <p:spPr>
              <a:xfrm>
                <a:off x="-600" y="5381120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3" name="Straight Connector 132"/>
              <p:cNvCxnSpPr/>
              <p:nvPr/>
            </p:nvCxnSpPr>
            <p:spPr>
              <a:xfrm>
                <a:off x="-600" y="5678520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93" name="Group 92"/>
            <p:cNvGrpSpPr/>
            <p:nvPr/>
          </p:nvGrpSpPr>
          <p:grpSpPr>
            <a:xfrm>
              <a:off x="629400" y="623550"/>
              <a:ext cx="10933200" cy="5054970"/>
              <a:chOff x="629400" y="623550"/>
              <a:chExt cx="10933200" cy="5537047"/>
            </a:xfrm>
          </p:grpSpPr>
          <p:sp>
            <p:nvSpPr>
              <p:cNvPr id="100" name="Rectangle 34"/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01" name="Rectangle 35"/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02" name="Rectangle 36"/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03" name="Rectangle 37"/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04" name="Rectangle 38"/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05" name="Rectangle 39"/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06" name="Rectangle 40"/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07" name="Rectangle 41"/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08" name="Rectangle 42"/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09" name="Rectangle 43"/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10" name="Rectangle 44"/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11" name="Rectangle 5"/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12" name="Rectangle 7"/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13" name="Rectangle 9"/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14" name="Rectangle 11"/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15" name="Rectangle 13"/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</p:grpSp>
        <p:grpSp>
          <p:nvGrpSpPr>
            <p:cNvPr id="94" name="Group 93"/>
            <p:cNvGrpSpPr/>
            <p:nvPr/>
          </p:nvGrpSpPr>
          <p:grpSpPr>
            <a:xfrm>
              <a:off x="-600" y="0"/>
              <a:ext cx="12193200" cy="6858000"/>
              <a:chOff x="-600" y="0"/>
              <a:chExt cx="12193200" cy="6858000"/>
            </a:xfrm>
          </p:grpSpPr>
          <p:sp>
            <p:nvSpPr>
              <p:cNvPr id="95" name="Slide edges"/>
              <p:cNvSpPr>
                <a:spLocks/>
              </p:cNvSpPr>
              <p:nvPr/>
            </p:nvSpPr>
            <p:spPr bwMode="auto">
              <a:xfrm>
                <a:off x="-600" y="0"/>
                <a:ext cx="12193200" cy="6858000"/>
              </a:xfrm>
              <a:custGeom>
                <a:avLst/>
                <a:gdLst>
                  <a:gd name="T0" fmla="*/ 6024 w 6026"/>
                  <a:gd name="T1" fmla="*/ 3394 h 3396"/>
                  <a:gd name="T2" fmla="*/ 6024 w 6026"/>
                  <a:gd name="T3" fmla="*/ 3391 h 3396"/>
                  <a:gd name="T4" fmla="*/ 5 w 6026"/>
                  <a:gd name="T5" fmla="*/ 3391 h 3396"/>
                  <a:gd name="T6" fmla="*/ 5 w 6026"/>
                  <a:gd name="T7" fmla="*/ 5 h 3396"/>
                  <a:gd name="T8" fmla="*/ 6021 w 6026"/>
                  <a:gd name="T9" fmla="*/ 5 h 3396"/>
                  <a:gd name="T10" fmla="*/ 6021 w 6026"/>
                  <a:gd name="T11" fmla="*/ 3394 h 3396"/>
                  <a:gd name="T12" fmla="*/ 6024 w 6026"/>
                  <a:gd name="T13" fmla="*/ 3394 h 3396"/>
                  <a:gd name="T14" fmla="*/ 6024 w 6026"/>
                  <a:gd name="T15" fmla="*/ 3391 h 3396"/>
                  <a:gd name="T16" fmla="*/ 6024 w 6026"/>
                  <a:gd name="T17" fmla="*/ 3394 h 3396"/>
                  <a:gd name="T18" fmla="*/ 6026 w 6026"/>
                  <a:gd name="T19" fmla="*/ 3394 h 3396"/>
                  <a:gd name="T20" fmla="*/ 6026 w 6026"/>
                  <a:gd name="T21" fmla="*/ 0 h 3396"/>
                  <a:gd name="T22" fmla="*/ 0 w 6026"/>
                  <a:gd name="T23" fmla="*/ 0 h 3396"/>
                  <a:gd name="T24" fmla="*/ 0 w 6026"/>
                  <a:gd name="T25" fmla="*/ 3396 h 3396"/>
                  <a:gd name="T26" fmla="*/ 6026 w 6026"/>
                  <a:gd name="T27" fmla="*/ 3396 h 3396"/>
                  <a:gd name="T28" fmla="*/ 6026 w 6026"/>
                  <a:gd name="T29" fmla="*/ 3394 h 3396"/>
                  <a:gd name="T30" fmla="*/ 6024 w 6026"/>
                  <a:gd name="T31" fmla="*/ 3394 h 33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6026" h="3396">
                    <a:moveTo>
                      <a:pt x="6024" y="3394"/>
                    </a:moveTo>
                    <a:lnTo>
                      <a:pt x="6024" y="3391"/>
                    </a:lnTo>
                    <a:lnTo>
                      <a:pt x="5" y="3391"/>
                    </a:lnTo>
                    <a:lnTo>
                      <a:pt x="5" y="5"/>
                    </a:lnTo>
                    <a:lnTo>
                      <a:pt x="6021" y="5"/>
                    </a:lnTo>
                    <a:lnTo>
                      <a:pt x="6021" y="3394"/>
                    </a:lnTo>
                    <a:lnTo>
                      <a:pt x="6024" y="3394"/>
                    </a:lnTo>
                    <a:lnTo>
                      <a:pt x="6024" y="3391"/>
                    </a:lnTo>
                    <a:lnTo>
                      <a:pt x="6024" y="3394"/>
                    </a:lnTo>
                    <a:lnTo>
                      <a:pt x="6026" y="3394"/>
                    </a:lnTo>
                    <a:lnTo>
                      <a:pt x="6026" y="0"/>
                    </a:lnTo>
                    <a:lnTo>
                      <a:pt x="0" y="0"/>
                    </a:lnTo>
                    <a:lnTo>
                      <a:pt x="0" y="3396"/>
                    </a:lnTo>
                    <a:lnTo>
                      <a:pt x="6026" y="3396"/>
                    </a:lnTo>
                    <a:lnTo>
                      <a:pt x="6026" y="3394"/>
                    </a:lnTo>
                    <a:lnTo>
                      <a:pt x="6024" y="3394"/>
                    </a:lnTo>
                    <a:close/>
                  </a:path>
                </a:pathLst>
              </a:custGeom>
              <a:solidFill>
                <a:schemeClr val="accent5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1200" cap="none" spc="0" normalizeH="0" baseline="0" noProof="0">
                  <a:ln>
                    <a:noFill/>
                  </a:ln>
                  <a:solidFill>
                    <a:srgbClr val="575757"/>
                  </a:solidFill>
                  <a:effectLst/>
                  <a:uLnTx/>
                  <a:uFillTx/>
                  <a:ea typeface="+mn-ea"/>
                  <a:cs typeface="+mn-cs"/>
                </a:endParaRPr>
              </a:p>
            </p:txBody>
          </p:sp>
          <p:sp>
            <p:nvSpPr>
              <p:cNvPr id="96" name="Footnote measure"/>
              <p:cNvSpPr>
                <a:spLocks noChangeArrowheads="1"/>
              </p:cNvSpPr>
              <p:nvPr/>
            </p:nvSpPr>
            <p:spPr bwMode="auto">
              <a:xfrm>
                <a:off x="629400" y="5678521"/>
                <a:ext cx="10933200" cy="905159"/>
              </a:xfrm>
              <a:prstGeom prst="rect">
                <a:avLst/>
              </a:prstGeom>
              <a:solidFill>
                <a:schemeClr val="accent3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97" name="Whitespace measure"/>
              <p:cNvSpPr>
                <a:spLocks noChangeArrowheads="1"/>
              </p:cNvSpPr>
              <p:nvPr/>
            </p:nvSpPr>
            <p:spPr bwMode="auto">
              <a:xfrm>
                <a:off x="629400" y="1514985"/>
                <a:ext cx="10932229" cy="594790"/>
              </a:xfrm>
              <a:prstGeom prst="rect">
                <a:avLst/>
              </a:prstGeom>
              <a:solidFill>
                <a:schemeClr val="accent3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98" name="Live area"/>
              <p:cNvSpPr/>
              <p:nvPr/>
            </p:nvSpPr>
            <p:spPr>
              <a:xfrm>
                <a:off x="629400" y="2109775"/>
                <a:ext cx="10933200" cy="3568747"/>
              </a:xfrm>
              <a:custGeom>
                <a:avLst/>
                <a:gdLst>
                  <a:gd name="connsiteX0" fmla="*/ 0 w 10931999"/>
                  <a:gd name="connsiteY0" fmla="*/ 0 h 5537797"/>
                  <a:gd name="connsiteX1" fmla="*/ 10931999 w 10931999"/>
                  <a:gd name="connsiteY1" fmla="*/ 0 h 5537797"/>
                  <a:gd name="connsiteX2" fmla="*/ 10931999 w 10931999"/>
                  <a:gd name="connsiteY2" fmla="*/ 5537797 h 5537797"/>
                  <a:gd name="connsiteX3" fmla="*/ 0 w 10931999"/>
                  <a:gd name="connsiteY3" fmla="*/ 5537797 h 55377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0931999" h="5537797">
                    <a:moveTo>
                      <a:pt x="0" y="0"/>
                    </a:moveTo>
                    <a:lnTo>
                      <a:pt x="10931999" y="0"/>
                    </a:lnTo>
                    <a:lnTo>
                      <a:pt x="10931999" y="5537797"/>
                    </a:lnTo>
                    <a:lnTo>
                      <a:pt x="0" y="5537797"/>
                    </a:lnTo>
                    <a:close/>
                  </a:path>
                </a:pathLst>
              </a:custGeom>
              <a:noFill/>
              <a:ln w="9525">
                <a:solidFill>
                  <a:srgbClr val="ED1B24">
                    <a:alpha val="35000"/>
                  </a:srgbClr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>
                  <a:lnSpc>
                    <a:spcPct val="90000"/>
                  </a:lnSpc>
                  <a:spcAft>
                    <a:spcPts val="750"/>
                  </a:spcAft>
                </a:pPr>
                <a:endParaRPr lang="en-US" sz="900">
                  <a:solidFill>
                    <a:schemeClr val="bg1"/>
                  </a:solidFill>
                </a:endParaRPr>
              </a:p>
            </p:txBody>
          </p:sp>
          <p:sp>
            <p:nvSpPr>
              <p:cNvPr id="99" name="Footnote example"/>
              <p:cNvSpPr txBox="1"/>
              <p:nvPr/>
            </p:nvSpPr>
            <p:spPr>
              <a:xfrm>
                <a:off x="630000" y="5761621"/>
                <a:ext cx="9030914" cy="249299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b">
                <a:spAutoFit/>
              </a:bodyPr>
              <a:lstStyle/>
              <a:p>
                <a:pPr lvl="0">
                  <a:lnSpc>
                    <a:spcPct val="90000"/>
                  </a:lnSpc>
                  <a:defRPr/>
                </a:pPr>
                <a:r>
                  <a:rPr lang="en-US" sz="600">
                    <a:solidFill>
                      <a:prstClr val="white">
                        <a:lumMod val="65000"/>
                      </a:prstClr>
                    </a:solidFill>
                    <a:sym typeface="Trebuchet MS" panose="020B0603020202020204" pitchFamily="34" charset="0"/>
                  </a:rPr>
                  <a:t>1. xxxx  2. xxxx  3. List footnotes in numerical order. Footnote numbers are not bracketed. Use 8pt font</a:t>
                </a:r>
              </a:p>
              <a:p>
                <a:pPr lvl="0">
                  <a:lnSpc>
                    <a:spcPct val="90000"/>
                  </a:lnSpc>
                  <a:defRPr/>
                </a:pPr>
                <a:r>
                  <a:rPr lang="en-US" sz="600">
                    <a:solidFill>
                      <a:prstClr val="white">
                        <a:lumMod val="65000"/>
                      </a:prstClr>
                    </a:solidFill>
                    <a:sym typeface="Trebuchet MS" panose="020B0603020202020204" pitchFamily="34" charset="0"/>
                  </a:rPr>
                  <a:t>Note: Do not put a period at the end of the note or the source</a:t>
                </a:r>
              </a:p>
              <a:p>
                <a:pPr lvl="0">
                  <a:lnSpc>
                    <a:spcPct val="90000"/>
                  </a:lnSpc>
                  <a:defRPr/>
                </a:pPr>
                <a:r>
                  <a:rPr lang="en-US" sz="600">
                    <a:solidFill>
                      <a:prstClr val="white">
                        <a:lumMod val="65000"/>
                      </a:prstClr>
                    </a:solidFill>
                    <a:sym typeface="Trebuchet MS" panose="020B0603020202020204" pitchFamily="34" charset="0"/>
                  </a:rPr>
                  <a:t>Source: Include a source for every chart that you use. Separate sources with a semicolon; BCG-related sources go at the end</a:t>
                </a:r>
                <a:endParaRPr kumimoji="0" lang="en-US" sz="600" b="0" i="0" u="none" strike="noStrike" kern="1200" cap="none" spc="0" normalizeH="0" baseline="0" noProof="0">
                  <a:ln>
                    <a:noFill/>
                  </a:ln>
                  <a:solidFill>
                    <a:prstClr val="white">
                      <a:lumMod val="65000"/>
                    </a:prstClr>
                  </a:solidFill>
                  <a:effectLst/>
                  <a:uLnTx/>
                  <a:uFillTx/>
                  <a:sym typeface="Trebuchet MS" panose="020B0603020202020204" pitchFamily="34" charset="0"/>
                </a:endParaRPr>
              </a:p>
            </p:txBody>
          </p:sp>
        </p:grpSp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id="{653DE8B0-3D5C-8D0E-EDBF-1691D00784F9}"/>
              </a:ext>
            </a:extLst>
          </p:cNvPr>
          <p:cNvGrpSpPr/>
          <p:nvPr/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sp>
          <p:nvSpPr>
            <p:cNvPr id="3" name="No fly zone">
              <a:extLst>
                <a:ext uri="{FF2B5EF4-FFF2-40B4-BE49-F238E27FC236}">
                  <a16:creationId xmlns:a16="http://schemas.microsoft.com/office/drawing/2014/main" id="{25C6D6AF-C0DD-A028-0ABE-D729FFB69DD3}"/>
                </a:ext>
              </a:extLst>
            </p:cNvPr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>
                <a:solidFill>
                  <a:schemeClr val="tx1"/>
                </a:solidFill>
                <a:latin typeface="+mn-lt"/>
              </a:endParaRPr>
            </a:p>
          </p:txBody>
        </p:sp>
        <p:grpSp>
          <p:nvGrpSpPr>
            <p:cNvPr id="4" name="Baselines / anchors">
              <a:extLst>
                <a:ext uri="{FF2B5EF4-FFF2-40B4-BE49-F238E27FC236}">
                  <a16:creationId xmlns:a16="http://schemas.microsoft.com/office/drawing/2014/main" id="{8246B1AF-B417-6E1D-88CF-62B460B350D5}"/>
                </a:ext>
              </a:extLst>
            </p:cNvPr>
            <p:cNvGrpSpPr/>
            <p:nvPr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28" name="Straight Connector 27">
                <a:extLst>
                  <a:ext uri="{FF2B5EF4-FFF2-40B4-BE49-F238E27FC236}">
                    <a16:creationId xmlns:a16="http://schemas.microsoft.com/office/drawing/2014/main" id="{739DD1FF-1B2C-1C08-9650-274CA74D86BF}"/>
                  </a:ext>
                </a:extLst>
              </p:cNvPr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" name="Straight Connector 28">
                <a:extLst>
                  <a:ext uri="{FF2B5EF4-FFF2-40B4-BE49-F238E27FC236}">
                    <a16:creationId xmlns:a16="http://schemas.microsoft.com/office/drawing/2014/main" id="{6FE3990E-62F6-5685-396C-801AA51D1954}"/>
                  </a:ext>
                </a:extLst>
              </p:cNvPr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0" name="Straight Connector 29">
                <a:extLst>
                  <a:ext uri="{FF2B5EF4-FFF2-40B4-BE49-F238E27FC236}">
                    <a16:creationId xmlns:a16="http://schemas.microsoft.com/office/drawing/2014/main" id="{B26AEC1F-76DF-57AC-FE7A-BCBD7EEC133B}"/>
                  </a:ext>
                </a:extLst>
              </p:cNvPr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1" name="Straight Connector 30">
                <a:extLst>
                  <a:ext uri="{FF2B5EF4-FFF2-40B4-BE49-F238E27FC236}">
                    <a16:creationId xmlns:a16="http://schemas.microsoft.com/office/drawing/2014/main" id="{F161BE9F-78D8-DB3E-7341-EA1F61E665DF}"/>
                  </a:ext>
                </a:extLst>
              </p:cNvPr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2" name="Straight Connector 31">
                <a:extLst>
                  <a:ext uri="{FF2B5EF4-FFF2-40B4-BE49-F238E27FC236}">
                    <a16:creationId xmlns:a16="http://schemas.microsoft.com/office/drawing/2014/main" id="{C9FE163D-D486-9BF2-BAD1-B16ED8F78BA2}"/>
                  </a:ext>
                </a:extLst>
              </p:cNvPr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" name="Straight Connector 32">
                <a:extLst>
                  <a:ext uri="{FF2B5EF4-FFF2-40B4-BE49-F238E27FC236}">
                    <a16:creationId xmlns:a16="http://schemas.microsoft.com/office/drawing/2014/main" id="{EF0EA13E-BF99-A33D-CFD3-2300323DECEC}"/>
                  </a:ext>
                </a:extLst>
              </p:cNvPr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4" name="Straight Connector 33">
                <a:extLst>
                  <a:ext uri="{FF2B5EF4-FFF2-40B4-BE49-F238E27FC236}">
                    <a16:creationId xmlns:a16="http://schemas.microsoft.com/office/drawing/2014/main" id="{AD0B5230-E7B1-97C4-6C18-05B4760E84FB}"/>
                  </a:ext>
                </a:extLst>
              </p:cNvPr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5" name="Straight Connector 34">
                <a:extLst>
                  <a:ext uri="{FF2B5EF4-FFF2-40B4-BE49-F238E27FC236}">
                    <a16:creationId xmlns:a16="http://schemas.microsoft.com/office/drawing/2014/main" id="{271C2220-AB59-E089-8295-BCFC04D97C58}"/>
                  </a:ext>
                </a:extLst>
              </p:cNvPr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6" name="Straight Connector 35">
                <a:extLst>
                  <a:ext uri="{FF2B5EF4-FFF2-40B4-BE49-F238E27FC236}">
                    <a16:creationId xmlns:a16="http://schemas.microsoft.com/office/drawing/2014/main" id="{228353CC-0BF7-7C81-E39E-92215516338E}"/>
                  </a:ext>
                </a:extLst>
              </p:cNvPr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" name="Straight Connector 36">
                <a:extLst>
                  <a:ext uri="{FF2B5EF4-FFF2-40B4-BE49-F238E27FC236}">
                    <a16:creationId xmlns:a16="http://schemas.microsoft.com/office/drawing/2014/main" id="{661A87BA-4B7E-C8B1-3FF5-3355B5F3F5F0}"/>
                  </a:ext>
                </a:extLst>
              </p:cNvPr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" name="Straight Connector 37">
                <a:extLst>
                  <a:ext uri="{FF2B5EF4-FFF2-40B4-BE49-F238E27FC236}">
                    <a16:creationId xmlns:a16="http://schemas.microsoft.com/office/drawing/2014/main" id="{F575DD4E-CAB8-1B4E-1E3E-749CDA3C1A0C}"/>
                  </a:ext>
                </a:extLst>
              </p:cNvPr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9" name="Straight Connector 38">
                <a:extLst>
                  <a:ext uri="{FF2B5EF4-FFF2-40B4-BE49-F238E27FC236}">
                    <a16:creationId xmlns:a16="http://schemas.microsoft.com/office/drawing/2014/main" id="{91E7A3F5-6BF0-F27E-8F4D-8017539BDC19}"/>
                  </a:ext>
                </a:extLst>
              </p:cNvPr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0" name="Straight Connector 39">
                <a:extLst>
                  <a:ext uri="{FF2B5EF4-FFF2-40B4-BE49-F238E27FC236}">
                    <a16:creationId xmlns:a16="http://schemas.microsoft.com/office/drawing/2014/main" id="{1260FA88-6B75-B5F8-B2D3-44428C9EEA49}"/>
                  </a:ext>
                </a:extLst>
              </p:cNvPr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1" name="Straight Connector 40">
                <a:extLst>
                  <a:ext uri="{FF2B5EF4-FFF2-40B4-BE49-F238E27FC236}">
                    <a16:creationId xmlns:a16="http://schemas.microsoft.com/office/drawing/2014/main" id="{8CAD9F1B-0B8C-E552-ED95-0A34D7D98D18}"/>
                  </a:ext>
                </a:extLst>
              </p:cNvPr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2" name="Straight Connector 41">
                <a:extLst>
                  <a:ext uri="{FF2B5EF4-FFF2-40B4-BE49-F238E27FC236}">
                    <a16:creationId xmlns:a16="http://schemas.microsoft.com/office/drawing/2014/main" id="{948A1DAC-AF9F-3618-F1AE-63F66D0CD587}"/>
                  </a:ext>
                </a:extLst>
              </p:cNvPr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3" name="Straight Connector 42">
                <a:extLst>
                  <a:ext uri="{FF2B5EF4-FFF2-40B4-BE49-F238E27FC236}">
                    <a16:creationId xmlns:a16="http://schemas.microsoft.com/office/drawing/2014/main" id="{7355B485-C1E1-7359-A1CF-2E324DA1ABF8}"/>
                  </a:ext>
                </a:extLst>
              </p:cNvPr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4" name="Straight Connector 43">
                <a:extLst>
                  <a:ext uri="{FF2B5EF4-FFF2-40B4-BE49-F238E27FC236}">
                    <a16:creationId xmlns:a16="http://schemas.microsoft.com/office/drawing/2014/main" id="{29E8A749-CF77-AE97-91CB-6BC847149E51}"/>
                  </a:ext>
                </a:extLst>
              </p:cNvPr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5" name="Straight Connector 44">
                <a:extLst>
                  <a:ext uri="{FF2B5EF4-FFF2-40B4-BE49-F238E27FC236}">
                    <a16:creationId xmlns:a16="http://schemas.microsoft.com/office/drawing/2014/main" id="{70C16B5A-40EA-0B63-0D30-C270E5A0FE02}"/>
                  </a:ext>
                </a:extLst>
              </p:cNvPr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6" name="Straight Connector 45">
                <a:extLst>
                  <a:ext uri="{FF2B5EF4-FFF2-40B4-BE49-F238E27FC236}">
                    <a16:creationId xmlns:a16="http://schemas.microsoft.com/office/drawing/2014/main" id="{134E5FEC-9481-FEAC-E664-6B08228859D7}"/>
                  </a:ext>
                </a:extLst>
              </p:cNvPr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7" name="Straight Connector 46">
                <a:extLst>
                  <a:ext uri="{FF2B5EF4-FFF2-40B4-BE49-F238E27FC236}">
                    <a16:creationId xmlns:a16="http://schemas.microsoft.com/office/drawing/2014/main" id="{10518EEB-4DF6-1C7A-1499-3FDFF329DCB8}"/>
                  </a:ext>
                </a:extLst>
              </p:cNvPr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" name="Gutter space">
              <a:extLst>
                <a:ext uri="{FF2B5EF4-FFF2-40B4-BE49-F238E27FC236}">
                  <a16:creationId xmlns:a16="http://schemas.microsoft.com/office/drawing/2014/main" id="{DEF87D94-E0E3-F6B3-EB69-D365FA17B99C}"/>
                </a:ext>
              </a:extLst>
            </p:cNvPr>
            <p:cNvGrpSpPr/>
            <p:nvPr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17" name="Rectangle 34">
                <a:extLst>
                  <a:ext uri="{FF2B5EF4-FFF2-40B4-BE49-F238E27FC236}">
                    <a16:creationId xmlns:a16="http://schemas.microsoft.com/office/drawing/2014/main" id="{629B3114-1AC4-9C01-D138-4457FEE594C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latin typeface="+mn-lt"/>
                </a:endParaRPr>
              </a:p>
            </p:txBody>
          </p:sp>
          <p:sp>
            <p:nvSpPr>
              <p:cNvPr id="18" name="Rectangle 35">
                <a:extLst>
                  <a:ext uri="{FF2B5EF4-FFF2-40B4-BE49-F238E27FC236}">
                    <a16:creationId xmlns:a16="http://schemas.microsoft.com/office/drawing/2014/main" id="{38158FC3-1338-0BA9-2F5D-3E94C21397F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latin typeface="+mn-lt"/>
                </a:endParaRPr>
              </a:p>
            </p:txBody>
          </p:sp>
          <p:sp>
            <p:nvSpPr>
              <p:cNvPr id="19" name="Rectangle 36">
                <a:extLst>
                  <a:ext uri="{FF2B5EF4-FFF2-40B4-BE49-F238E27FC236}">
                    <a16:creationId xmlns:a16="http://schemas.microsoft.com/office/drawing/2014/main" id="{3C76C3A4-AB80-E0B2-3EB4-F6692E0455A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latin typeface="+mn-lt"/>
                </a:endParaRPr>
              </a:p>
            </p:txBody>
          </p:sp>
          <p:sp>
            <p:nvSpPr>
              <p:cNvPr id="20" name="Rectangle 37">
                <a:extLst>
                  <a:ext uri="{FF2B5EF4-FFF2-40B4-BE49-F238E27FC236}">
                    <a16:creationId xmlns:a16="http://schemas.microsoft.com/office/drawing/2014/main" id="{69BC5289-2DC4-F921-DCE1-3B3D2F2CC69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latin typeface="+mn-lt"/>
                </a:endParaRPr>
              </a:p>
            </p:txBody>
          </p:sp>
          <p:sp>
            <p:nvSpPr>
              <p:cNvPr id="21" name="Rectangle 38">
                <a:extLst>
                  <a:ext uri="{FF2B5EF4-FFF2-40B4-BE49-F238E27FC236}">
                    <a16:creationId xmlns:a16="http://schemas.microsoft.com/office/drawing/2014/main" id="{1892BB5C-5C0F-A05D-D85F-DE2B783CE65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latin typeface="+mn-lt"/>
                </a:endParaRPr>
              </a:p>
            </p:txBody>
          </p:sp>
          <p:sp>
            <p:nvSpPr>
              <p:cNvPr id="22" name="Rectangle 39">
                <a:extLst>
                  <a:ext uri="{FF2B5EF4-FFF2-40B4-BE49-F238E27FC236}">
                    <a16:creationId xmlns:a16="http://schemas.microsoft.com/office/drawing/2014/main" id="{D6E2EFF6-5B39-F67B-088F-35E0E035235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latin typeface="+mn-lt"/>
                </a:endParaRPr>
              </a:p>
            </p:txBody>
          </p:sp>
          <p:sp>
            <p:nvSpPr>
              <p:cNvPr id="23" name="Rectangle 40">
                <a:extLst>
                  <a:ext uri="{FF2B5EF4-FFF2-40B4-BE49-F238E27FC236}">
                    <a16:creationId xmlns:a16="http://schemas.microsoft.com/office/drawing/2014/main" id="{DC14EC06-CFB9-CFE0-60F2-0A839188DA9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latin typeface="+mn-lt"/>
                </a:endParaRPr>
              </a:p>
            </p:txBody>
          </p:sp>
          <p:sp>
            <p:nvSpPr>
              <p:cNvPr id="24" name="Rectangle 41">
                <a:extLst>
                  <a:ext uri="{FF2B5EF4-FFF2-40B4-BE49-F238E27FC236}">
                    <a16:creationId xmlns:a16="http://schemas.microsoft.com/office/drawing/2014/main" id="{5F399968-E7EE-41FF-6823-B2CD6288AEA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latin typeface="+mn-lt"/>
                </a:endParaRPr>
              </a:p>
            </p:txBody>
          </p:sp>
          <p:sp>
            <p:nvSpPr>
              <p:cNvPr id="25" name="Rectangle 42">
                <a:extLst>
                  <a:ext uri="{FF2B5EF4-FFF2-40B4-BE49-F238E27FC236}">
                    <a16:creationId xmlns:a16="http://schemas.microsoft.com/office/drawing/2014/main" id="{9040E971-6178-C8C8-BF9F-32DD959667D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latin typeface="+mn-lt"/>
                </a:endParaRPr>
              </a:p>
            </p:txBody>
          </p:sp>
          <p:sp>
            <p:nvSpPr>
              <p:cNvPr id="26" name="Rectangle 43">
                <a:extLst>
                  <a:ext uri="{FF2B5EF4-FFF2-40B4-BE49-F238E27FC236}">
                    <a16:creationId xmlns:a16="http://schemas.microsoft.com/office/drawing/2014/main" id="{111FC18D-FCCB-98D9-7407-C36625185CA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latin typeface="+mn-lt"/>
                </a:endParaRPr>
              </a:p>
            </p:txBody>
          </p:sp>
          <p:sp>
            <p:nvSpPr>
              <p:cNvPr id="27" name="Rectangle 44">
                <a:extLst>
                  <a:ext uri="{FF2B5EF4-FFF2-40B4-BE49-F238E27FC236}">
                    <a16:creationId xmlns:a16="http://schemas.microsoft.com/office/drawing/2014/main" id="{EC989A31-8E28-23EF-AE4A-683DF2C6749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latin typeface="+mn-lt"/>
                </a:endParaRPr>
              </a:p>
            </p:txBody>
          </p:sp>
        </p:grpSp>
        <p:sp>
          <p:nvSpPr>
            <p:cNvPr id="6" name="Slide edges">
              <a:extLst>
                <a:ext uri="{FF2B5EF4-FFF2-40B4-BE49-F238E27FC236}">
                  <a16:creationId xmlns:a16="http://schemas.microsoft.com/office/drawing/2014/main" id="{9CBB5C97-C60F-4253-35E5-AE56BC1B58AF}"/>
                </a:ext>
              </a:extLst>
            </p:cNvPr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7" name="Footnote measure">
              <a:extLst>
                <a:ext uri="{FF2B5EF4-FFF2-40B4-BE49-F238E27FC236}">
                  <a16:creationId xmlns:a16="http://schemas.microsoft.com/office/drawing/2014/main" id="{527254E8-CA9C-C732-BAEF-2548BE8F185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>
                <a:latin typeface="+mn-lt"/>
              </a:endParaRPr>
            </a:p>
          </p:txBody>
        </p:sp>
        <p:sp>
          <p:nvSpPr>
            <p:cNvPr id="8" name="Whitespace measure">
              <a:extLst>
                <a:ext uri="{FF2B5EF4-FFF2-40B4-BE49-F238E27FC236}">
                  <a16:creationId xmlns:a16="http://schemas.microsoft.com/office/drawing/2014/main" id="{411C5A73-A6EE-90EF-60F4-6C4C29DDA61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>
                <a:latin typeface="+mn-lt"/>
              </a:endParaRPr>
            </a:p>
          </p:txBody>
        </p:sp>
        <p:grpSp>
          <p:nvGrpSpPr>
            <p:cNvPr id="9" name="Five column measure">
              <a:extLst>
                <a:ext uri="{FF2B5EF4-FFF2-40B4-BE49-F238E27FC236}">
                  <a16:creationId xmlns:a16="http://schemas.microsoft.com/office/drawing/2014/main" id="{78079BF7-010D-1125-B986-533CE73468CB}"/>
                </a:ext>
              </a:extLst>
            </p:cNvPr>
            <p:cNvGrpSpPr/>
            <p:nvPr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12" name="Rectangle 5">
                <a:extLst>
                  <a:ext uri="{FF2B5EF4-FFF2-40B4-BE49-F238E27FC236}">
                    <a16:creationId xmlns:a16="http://schemas.microsoft.com/office/drawing/2014/main" id="{9C19CC0B-8C1D-6ECC-A084-B18BDD7A64B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latin typeface="+mn-lt"/>
                </a:endParaRPr>
              </a:p>
            </p:txBody>
          </p:sp>
          <p:sp>
            <p:nvSpPr>
              <p:cNvPr id="13" name="Rectangle 7">
                <a:extLst>
                  <a:ext uri="{FF2B5EF4-FFF2-40B4-BE49-F238E27FC236}">
                    <a16:creationId xmlns:a16="http://schemas.microsoft.com/office/drawing/2014/main" id="{6D8F0F03-74FF-B1CA-C2F9-DFDDDF509C6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latin typeface="+mn-lt"/>
                </a:endParaRPr>
              </a:p>
            </p:txBody>
          </p:sp>
          <p:sp>
            <p:nvSpPr>
              <p:cNvPr id="14" name="Rectangle 9">
                <a:extLst>
                  <a:ext uri="{FF2B5EF4-FFF2-40B4-BE49-F238E27FC236}">
                    <a16:creationId xmlns:a16="http://schemas.microsoft.com/office/drawing/2014/main" id="{E5804DB3-547B-0ED2-079E-1D748229E96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latin typeface="+mn-lt"/>
                </a:endParaRPr>
              </a:p>
            </p:txBody>
          </p:sp>
          <p:sp>
            <p:nvSpPr>
              <p:cNvPr id="15" name="Rectangle 11">
                <a:extLst>
                  <a:ext uri="{FF2B5EF4-FFF2-40B4-BE49-F238E27FC236}">
                    <a16:creationId xmlns:a16="http://schemas.microsoft.com/office/drawing/2014/main" id="{B185E782-1CD0-F774-9DB6-D38A6A0BD58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latin typeface="+mn-lt"/>
                </a:endParaRPr>
              </a:p>
            </p:txBody>
          </p:sp>
          <p:sp>
            <p:nvSpPr>
              <p:cNvPr id="16" name="Rectangle 13">
                <a:extLst>
                  <a:ext uri="{FF2B5EF4-FFF2-40B4-BE49-F238E27FC236}">
                    <a16:creationId xmlns:a16="http://schemas.microsoft.com/office/drawing/2014/main" id="{D1549B10-4D04-4E93-1A9F-7467515A1C6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latin typeface="+mn-lt"/>
                </a:endParaRPr>
              </a:p>
            </p:txBody>
          </p:sp>
        </p:grpSp>
        <p:sp>
          <p:nvSpPr>
            <p:cNvPr id="10" name="Live area">
              <a:extLst>
                <a:ext uri="{FF2B5EF4-FFF2-40B4-BE49-F238E27FC236}">
                  <a16:creationId xmlns:a16="http://schemas.microsoft.com/office/drawing/2014/main" id="{CD2B8C9E-F6D6-61D3-CD29-2AFDAC4E1B30}"/>
                </a:ext>
              </a:extLst>
            </p:cNvPr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750"/>
                </a:spcAft>
              </a:pPr>
              <a:endParaRPr lang="en-US" sz="90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1" name="Footnote example">
              <a:extLst>
                <a:ext uri="{FF2B5EF4-FFF2-40B4-BE49-F238E27FC236}">
                  <a16:creationId xmlns:a16="http://schemas.microsoft.com/office/drawing/2014/main" id="{03389AA3-C8AF-4786-4841-3C4E79C276FB}"/>
                </a:ext>
              </a:extLst>
            </p:cNvPr>
            <p:cNvSpPr txBox="1"/>
            <p:nvPr/>
          </p:nvSpPr>
          <p:spPr>
            <a:xfrm>
              <a:off x="630000" y="6248316"/>
              <a:ext cx="9030914" cy="311624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5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1. xxxx  2. xxxx  3. List footnotes in numerical order. Footnote numbers are not bracketed. Use 10pt font</a:t>
              </a:r>
            </a:p>
            <a:p>
              <a:pPr marL="0" marR="0" lvl="0" indent="0" algn="l" defTabSz="6858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5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Note: Do not put a period at the end of the note or the source</a:t>
              </a:r>
            </a:p>
            <a:p>
              <a:pPr marL="0" marR="0" lvl="0" indent="0" algn="l" defTabSz="6858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5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Source: Include a source for every chart that you use. Separate sources with a semicolon; BCG-related sources go at the end</a:t>
              </a:r>
            </a:p>
          </p:txBody>
        </p:sp>
      </p:grpSp>
      <p:sp>
        <p:nvSpPr>
          <p:cNvPr id="49" name="Copyright">
            <a:extLst>
              <a:ext uri="{FF2B5EF4-FFF2-40B4-BE49-F238E27FC236}">
                <a16:creationId xmlns:a16="http://schemas.microsoft.com/office/drawing/2014/main" id="{36B4B65A-2CC0-83D9-D81B-D26F2A31B9D9}"/>
              </a:ext>
            </a:extLst>
          </p:cNvPr>
          <p:cNvSpPr txBox="1"/>
          <p:nvPr/>
        </p:nvSpPr>
        <p:spPr>
          <a:xfrm rot="16200000">
            <a:off x="9486902" y="3934616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9659522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78044022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2"/>
            </p:custDataLst>
          </p:nvPr>
        </p:nvSpPr>
        <p:spPr>
          <a:xfrm>
            <a:off x="1" y="0"/>
            <a:ext cx="158751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</a:pPr>
            <a:endParaRPr lang="en-US" sz="4050" b="0" i="0" baseline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11" name="Freeform: Shape 31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/>
        </p:nvSpPr>
        <p:spPr>
          <a:xfrm>
            <a:off x="0" y="6326129"/>
            <a:ext cx="12188952" cy="531873"/>
          </a:xfrm>
          <a:custGeom>
            <a:avLst/>
            <a:gdLst>
              <a:gd name="connsiteX0" fmla="*/ 8400285 w 12188952"/>
              <a:gd name="connsiteY0" fmla="*/ 0 h 531873"/>
              <a:gd name="connsiteX1" fmla="*/ 12188950 w 12188952"/>
              <a:gd name="connsiteY1" fmla="*/ 0 h 531873"/>
              <a:gd name="connsiteX2" fmla="*/ 12188950 w 12188952"/>
              <a:gd name="connsiteY2" fmla="*/ 239773 h 531873"/>
              <a:gd name="connsiteX3" fmla="*/ 12188952 w 12188952"/>
              <a:gd name="connsiteY3" fmla="*/ 239773 h 531873"/>
              <a:gd name="connsiteX4" fmla="*/ 12188952 w 12188952"/>
              <a:gd name="connsiteY4" fmla="*/ 531873 h 531873"/>
              <a:gd name="connsiteX5" fmla="*/ 0 w 12188952"/>
              <a:gd name="connsiteY5" fmla="*/ 531873 h 531873"/>
              <a:gd name="connsiteX6" fmla="*/ 0 w 12188952"/>
              <a:gd name="connsiteY6" fmla="*/ 239773 h 531873"/>
              <a:gd name="connsiteX7" fmla="*/ 8220629 w 12188952"/>
              <a:gd name="connsiteY7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88952" h="531873">
                <a:moveTo>
                  <a:pt x="8400285" y="0"/>
                </a:moveTo>
                <a:lnTo>
                  <a:pt x="12188950" y="0"/>
                </a:lnTo>
                <a:lnTo>
                  <a:pt x="12188950" y="239773"/>
                </a:lnTo>
                <a:lnTo>
                  <a:pt x="12188952" y="239773"/>
                </a:lnTo>
                <a:lnTo>
                  <a:pt x="12188952" y="531873"/>
                </a:lnTo>
                <a:lnTo>
                  <a:pt x="0" y="531873"/>
                </a:lnTo>
                <a:lnTo>
                  <a:pt x="0" y="239773"/>
                </a:lnTo>
                <a:lnTo>
                  <a:pt x="8220629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900">
              <a:solidFill>
                <a:srgbClr val="FFFFFF"/>
              </a:solidFill>
            </a:endParaRP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5256DD11-030E-4276-B7F9-8800AF6ADF2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1122363"/>
            <a:ext cx="9144000" cy="2387600"/>
          </a:xfrm>
        </p:spPr>
        <p:txBody>
          <a:bodyPr vert="horz" anchor="b">
            <a:noAutofit/>
          </a:bodyPr>
          <a:lstStyle>
            <a:lvl1pPr algn="ctr">
              <a:defRPr sz="4500" b="1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</a:t>
            </a:r>
            <a:br>
              <a:rPr lang="en-US"/>
            </a:br>
            <a:r>
              <a:rPr lang="en-US"/>
              <a:t>title style</a:t>
            </a:r>
            <a:endParaRPr lang="en-IN"/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780C3700-E3C2-478C-8875-962D0768B72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  <a:endParaRPr lang="en-IN"/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897" y="574339"/>
            <a:ext cx="1550283" cy="4007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417126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  <p:extLst>
    <p:ext uri="{DCECCB84-F9BA-43D5-87BE-67443E8EF086}">
      <p15:sldGuideLst xmlns:p15="http://schemas.microsoft.com/office/powerpoint/2012/main"/>
    </p:ext>
  </p:extLst>
</p:sldLayout>
</file>

<file path=ppt/slideLayouts/slideLayout3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08921831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2000251" y="622802"/>
            <a:ext cx="9563100" cy="249299"/>
          </a:xfrm>
        </p:spPr>
        <p:txBody>
          <a:bodyPr vert="horz"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6" name="Copyright" hidden="1"/>
          <p:cNvSpPr txBox="1"/>
          <p:nvPr/>
        </p:nvSpPr>
        <p:spPr>
          <a:xfrm rot="16200000">
            <a:off x="9486902" y="3533783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1" y="6553592"/>
            <a:ext cx="1482051" cy="115416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75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306915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</p15:sldGuideLst>
    </p:ext>
  </p:extLst>
</p:sldLayout>
</file>

<file path=ppt/slideLayouts/slideLayout3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B083126-25E7-42D8-B799-608CFD4DF6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add titl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AD1DA01-0E73-44DE-A132-B4FF1E70A31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29400" y="2085628"/>
            <a:ext cx="10933951" cy="4072976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Copyright" hidden="1"/>
          <p:cNvSpPr txBox="1"/>
          <p:nvPr/>
        </p:nvSpPr>
        <p:spPr>
          <a:xfrm rot="16200000">
            <a:off x="9486902" y="3533783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1" y="6553592"/>
            <a:ext cx="1482051" cy="115416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75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3" name="Copyright">
            <a:extLst>
              <a:ext uri="{FF2B5EF4-FFF2-40B4-BE49-F238E27FC236}">
                <a16:creationId xmlns:a16="http://schemas.microsoft.com/office/drawing/2014/main" id="{1683BA7C-6DA1-720C-7DFE-C0F5C982C12A}"/>
              </a:ext>
            </a:extLst>
          </p:cNvPr>
          <p:cNvSpPr txBox="1"/>
          <p:nvPr/>
        </p:nvSpPr>
        <p:spPr>
          <a:xfrm rot="16200000">
            <a:off x="9486902" y="3934616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4866404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Gray slice head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 bwMode="white">
          <a:xfrm>
            <a:off x="1" y="-1309"/>
            <a:ext cx="46944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750"/>
              </a:spcAft>
            </a:pPr>
            <a:endParaRPr lang="en-US" sz="9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8" name="Subtitle 2"/>
          <p:cNvSpPr>
            <a:spLocks noGrp="1"/>
          </p:cNvSpPr>
          <p:nvPr>
            <p:ph type="subTitle" idx="13" hasCustomPrompt="1"/>
          </p:nvPr>
        </p:nvSpPr>
        <p:spPr>
          <a:xfrm>
            <a:off x="630000" y="2158989"/>
            <a:ext cx="3744000" cy="541687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1200">
                <a:solidFill>
                  <a:srgbClr val="FF0000"/>
                </a:solidFill>
                <a:latin typeface="+mn-lt"/>
                <a:sym typeface="Trebuchet MS" panose="020B0603020202020204" pitchFamily="34" charset="0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Click to add subtitle</a:t>
            </a:r>
          </a:p>
        </p:txBody>
      </p:sp>
      <p:sp>
        <p:nvSpPr>
          <p:cNvPr id="9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1227050"/>
            <a:ext cx="3744000" cy="664797"/>
          </a:xfrm>
        </p:spPr>
        <p:txBody>
          <a:bodyPr anchor="t">
            <a:noAutofit/>
          </a:bodyPr>
          <a:lstStyle>
            <a:lvl1pPr>
              <a:defRPr sz="1800">
                <a:solidFill>
                  <a:srgbClr val="FF000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2" name="Copyright" hidden="1"/>
          <p:cNvSpPr txBox="1"/>
          <p:nvPr/>
        </p:nvSpPr>
        <p:spPr>
          <a:xfrm rot="16200000">
            <a:off x="9486902" y="3533783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3" name="Freeform: Shape 31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/>
        </p:nvSpPr>
        <p:spPr>
          <a:xfrm>
            <a:off x="0" y="6326129"/>
            <a:ext cx="12188952" cy="531873"/>
          </a:xfrm>
          <a:custGeom>
            <a:avLst/>
            <a:gdLst>
              <a:gd name="connsiteX0" fmla="*/ 8400285 w 12188952"/>
              <a:gd name="connsiteY0" fmla="*/ 0 h 531873"/>
              <a:gd name="connsiteX1" fmla="*/ 12188950 w 12188952"/>
              <a:gd name="connsiteY1" fmla="*/ 0 h 531873"/>
              <a:gd name="connsiteX2" fmla="*/ 12188950 w 12188952"/>
              <a:gd name="connsiteY2" fmla="*/ 239773 h 531873"/>
              <a:gd name="connsiteX3" fmla="*/ 12188952 w 12188952"/>
              <a:gd name="connsiteY3" fmla="*/ 239773 h 531873"/>
              <a:gd name="connsiteX4" fmla="*/ 12188952 w 12188952"/>
              <a:gd name="connsiteY4" fmla="*/ 531873 h 531873"/>
              <a:gd name="connsiteX5" fmla="*/ 0 w 12188952"/>
              <a:gd name="connsiteY5" fmla="*/ 531873 h 531873"/>
              <a:gd name="connsiteX6" fmla="*/ 0 w 12188952"/>
              <a:gd name="connsiteY6" fmla="*/ 239773 h 531873"/>
              <a:gd name="connsiteX7" fmla="*/ 8220629 w 12188952"/>
              <a:gd name="connsiteY7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88952" h="531873">
                <a:moveTo>
                  <a:pt x="8400285" y="0"/>
                </a:moveTo>
                <a:lnTo>
                  <a:pt x="12188950" y="0"/>
                </a:lnTo>
                <a:lnTo>
                  <a:pt x="12188950" y="239773"/>
                </a:lnTo>
                <a:lnTo>
                  <a:pt x="12188952" y="239773"/>
                </a:lnTo>
                <a:lnTo>
                  <a:pt x="12188952" y="531873"/>
                </a:lnTo>
                <a:lnTo>
                  <a:pt x="0" y="531873"/>
                </a:lnTo>
                <a:lnTo>
                  <a:pt x="0" y="239773"/>
                </a:lnTo>
                <a:lnTo>
                  <a:pt x="8220629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900">
              <a:solidFill>
                <a:srgbClr val="FFFFFF"/>
              </a:solidFill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5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1" y="6553592"/>
            <a:ext cx="1482051" cy="115416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75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897" y="574339"/>
            <a:ext cx="1550283" cy="400753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7B513332-91FC-6862-FB95-0724A2623697}"/>
              </a:ext>
            </a:extLst>
          </p:cNvPr>
          <p:cNvSpPr/>
          <p:nvPr/>
        </p:nvSpPr>
        <p:spPr bwMode="white">
          <a:xfrm>
            <a:off x="1" y="-1309"/>
            <a:ext cx="46944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750"/>
              </a:spcAft>
            </a:pPr>
            <a:endParaRPr lang="en-US" sz="9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786269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2" pos="5120">
          <p15:clr>
            <a:srgbClr val="FBAE40"/>
          </p15:clr>
        </p15:guide>
        <p15:guide id="3" orient="horz" pos="2160">
          <p15:clr>
            <a:srgbClr val="FBAE40"/>
          </p15:clr>
        </p15:guide>
        <p15:guide id="4" pos="3840">
          <p15:clr>
            <a:srgbClr val="FBAE40"/>
          </p15:clr>
        </p15:guide>
      </p15:sldGuideLst>
    </p:ext>
  </p:extLst>
</p:sldLayout>
</file>

<file path=ppt/slideLayouts/slideLayout3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Section header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284743" y="2668041"/>
            <a:ext cx="9620491" cy="3201026"/>
          </a:xfrm>
          <a:prstGeom prst="rect">
            <a:avLst/>
          </a:prstGeom>
          <a:ln w="9525"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</a14:hiddenLine>
            </a:ext>
          </a:extLst>
        </p:spPr>
        <p:txBody>
          <a:bodyPr vert="horz" lIns="274320" tIns="274320" rIns="274320" bIns="137160" anchor="b">
            <a:noAutofit/>
          </a:bodyPr>
          <a:lstStyle>
            <a:lvl1pPr marL="0" algn="l" defTabSz="685800" rtl="0" eaLnBrk="1" fontAlgn="auto" latinLnBrk="0" hangingPunct="1">
              <a:lnSpc>
                <a:spcPts val="4500"/>
              </a:lnSpc>
              <a:spcBef>
                <a:spcPts val="0"/>
              </a:spcBef>
              <a:spcAft>
                <a:spcPts val="0"/>
              </a:spcAft>
              <a:defRPr lang="en-US" sz="4050" kern="1200" baseline="0" dirty="0">
                <a:solidFill>
                  <a:srgbClr val="FF0000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section title</a:t>
            </a:r>
          </a:p>
        </p:txBody>
      </p:sp>
      <p:sp>
        <p:nvSpPr>
          <p:cNvPr id="11" name="Rectangle 10"/>
          <p:cNvSpPr/>
          <p:nvPr/>
        </p:nvSpPr>
        <p:spPr bwMode="white">
          <a:xfrm>
            <a:off x="1280694" y="1424083"/>
            <a:ext cx="951721" cy="951721"/>
          </a:xfrm>
          <a:prstGeom prst="rect">
            <a:avLst/>
          </a:prstGeom>
          <a:noFill/>
          <a:ln>
            <a:solidFill>
              <a:schemeClr val="tx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9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3" name="Copyright" hidden="1"/>
          <p:cNvSpPr txBox="1"/>
          <p:nvPr/>
        </p:nvSpPr>
        <p:spPr>
          <a:xfrm rot="16200000">
            <a:off x="9486902" y="3533783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6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1" y="6553592"/>
            <a:ext cx="1482051" cy="115416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75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" name="Copyright">
            <a:extLst>
              <a:ext uri="{FF2B5EF4-FFF2-40B4-BE49-F238E27FC236}">
                <a16:creationId xmlns:a16="http://schemas.microsoft.com/office/drawing/2014/main" id="{B85E4C01-5E62-9A33-6A1C-95539CBDD354}"/>
              </a:ext>
            </a:extLst>
          </p:cNvPr>
          <p:cNvSpPr txBox="1"/>
          <p:nvPr/>
        </p:nvSpPr>
        <p:spPr>
          <a:xfrm rot="16200000">
            <a:off x="9486902" y="3934616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B23A837E-D67D-E047-7FC9-7AD6315E31D6}"/>
              </a:ext>
            </a:extLst>
          </p:cNvPr>
          <p:cNvSpPr/>
          <p:nvPr/>
        </p:nvSpPr>
        <p:spPr bwMode="white">
          <a:xfrm>
            <a:off x="1280694" y="1424083"/>
            <a:ext cx="951721" cy="951721"/>
          </a:xfrm>
          <a:prstGeom prst="rect">
            <a:avLst/>
          </a:prstGeom>
          <a:noFill/>
          <a:ln>
            <a:solidFill>
              <a:schemeClr val="tx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9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255730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Section header line">
    <p:bg bwMode="blackWhite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3826800"/>
            <a:ext cx="10936800" cy="2041200"/>
          </a:xfrm>
        </p:spPr>
        <p:txBody>
          <a:bodyPr vert="horz" anchor="t">
            <a:noAutofit/>
          </a:bodyPr>
          <a:lstStyle>
            <a:lvl1pPr>
              <a:defRPr sz="4050">
                <a:solidFill>
                  <a:srgbClr val="FF000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section title</a:t>
            </a:r>
          </a:p>
        </p:txBody>
      </p:sp>
      <p:cxnSp>
        <p:nvCxnSpPr>
          <p:cNvPr id="10" name="Straight Connector 9"/>
          <p:cNvCxnSpPr/>
          <p:nvPr/>
        </p:nvCxnSpPr>
        <p:spPr bwMode="white">
          <a:xfrm>
            <a:off x="630001" y="3680016"/>
            <a:ext cx="11558587" cy="0"/>
          </a:xfrm>
          <a:prstGeom prst="line">
            <a:avLst/>
          </a:prstGeom>
          <a:ln w="19050" cmpd="sng">
            <a:solidFill>
              <a:schemeClr val="tx2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1" y="6553592"/>
            <a:ext cx="1482051" cy="115416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75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77D22BFB-1A35-6B7F-7B42-4B22255018B9}"/>
              </a:ext>
            </a:extLst>
          </p:cNvPr>
          <p:cNvCxnSpPr/>
          <p:nvPr/>
        </p:nvCxnSpPr>
        <p:spPr bwMode="white">
          <a:xfrm>
            <a:off x="630001" y="3680016"/>
            <a:ext cx="11558587" cy="0"/>
          </a:xfrm>
          <a:prstGeom prst="line">
            <a:avLst/>
          </a:prstGeom>
          <a:ln w="19050" cmpd="sng">
            <a:solidFill>
              <a:schemeClr val="tx2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993374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White one third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4064995" y="0"/>
            <a:ext cx="416951" cy="6858000"/>
          </a:xfrm>
          <a:prstGeom prst="rect">
            <a:avLst/>
          </a:prstGeom>
        </p:spPr>
      </p:pic>
      <p:sp>
        <p:nvSpPr>
          <p:cNvPr id="24" name="Rectangle 23"/>
          <p:cNvSpPr/>
          <p:nvPr/>
        </p:nvSpPr>
        <p:spPr bwMode="white">
          <a:xfrm>
            <a:off x="1" y="0"/>
            <a:ext cx="4079508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9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5" name="Title 4"/>
          <p:cNvSpPr>
            <a:spLocks noGrp="1"/>
          </p:cNvSpPr>
          <p:nvPr>
            <p:ph type="title" hasCustomPrompt="1"/>
          </p:nvPr>
        </p:nvSpPr>
        <p:spPr>
          <a:xfrm>
            <a:off x="630001" y="2681103"/>
            <a:ext cx="3127881" cy="1495794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1800">
                <a:solidFill>
                  <a:srgbClr val="FF000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1" name="Copyright" hidden="1"/>
          <p:cNvSpPr txBox="1"/>
          <p:nvPr/>
        </p:nvSpPr>
        <p:spPr>
          <a:xfrm rot="16200000">
            <a:off x="9486902" y="3533783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5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1" y="6553592"/>
            <a:ext cx="1482051" cy="115416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75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6" name="Freeform 15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/>
        </p:nvSpPr>
        <p:spPr>
          <a:xfrm>
            <a:off x="0" y="6565900"/>
            <a:ext cx="4008608" cy="292100"/>
          </a:xfrm>
          <a:custGeom>
            <a:avLst/>
            <a:gdLst>
              <a:gd name="connsiteX0" fmla="*/ 0 w 4008608"/>
              <a:gd name="connsiteY0" fmla="*/ 0 h 292100"/>
              <a:gd name="connsiteX1" fmla="*/ 4008608 w 4008608"/>
              <a:gd name="connsiteY1" fmla="*/ 0 h 292100"/>
              <a:gd name="connsiteX2" fmla="*/ 4008608 w 4008608"/>
              <a:gd name="connsiteY2" fmla="*/ 292100 h 292100"/>
              <a:gd name="connsiteX3" fmla="*/ 0 w 4008608"/>
              <a:gd name="connsiteY3" fmla="*/ 292100 h 292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08608" h="292100">
                <a:moveTo>
                  <a:pt x="0" y="0"/>
                </a:moveTo>
                <a:lnTo>
                  <a:pt x="4008608" y="0"/>
                </a:lnTo>
                <a:lnTo>
                  <a:pt x="4008608" y="292100"/>
                </a:lnTo>
                <a:lnTo>
                  <a:pt x="0" y="292100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900">
              <a:solidFill>
                <a:srgbClr val="FFFFFF"/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897" y="574339"/>
            <a:ext cx="1550283" cy="400753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5EE42279-233D-C45F-5A39-FA68ECC4108B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4064995" y="0"/>
            <a:ext cx="416951" cy="685800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CBA31FFE-6E2B-4D16-9F16-49D890A3DE2F}"/>
              </a:ext>
            </a:extLst>
          </p:cNvPr>
          <p:cNvSpPr txBox="1"/>
          <p:nvPr/>
        </p:nvSpPr>
        <p:spPr>
          <a:xfrm>
            <a:off x="11167872" y="6443508"/>
            <a:ext cx="38100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5" name="Copyright">
            <a:extLst>
              <a:ext uri="{FF2B5EF4-FFF2-40B4-BE49-F238E27FC236}">
                <a16:creationId xmlns:a16="http://schemas.microsoft.com/office/drawing/2014/main" id="{54DC9E2B-A4B0-8E58-9AB9-130ECF74DBB8}"/>
              </a:ext>
            </a:extLst>
          </p:cNvPr>
          <p:cNvSpPr txBox="1"/>
          <p:nvPr/>
        </p:nvSpPr>
        <p:spPr>
          <a:xfrm rot="16200000">
            <a:off x="9486902" y="3934616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A0CC6057-486E-833D-E675-417FDD03E332}"/>
              </a:ext>
            </a:extLst>
          </p:cNvPr>
          <p:cNvSpPr/>
          <p:nvPr/>
        </p:nvSpPr>
        <p:spPr bwMode="white">
          <a:xfrm>
            <a:off x="1" y="0"/>
            <a:ext cx="4079508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9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2691807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Green highlight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07360709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7165607" y="0"/>
            <a:ext cx="416951" cy="6858000"/>
          </a:xfrm>
          <a:prstGeom prst="rect">
            <a:avLst/>
          </a:prstGeom>
        </p:spPr>
      </p:pic>
      <p:sp>
        <p:nvSpPr>
          <p:cNvPr id="14" name="Rectangle 13"/>
          <p:cNvSpPr/>
          <p:nvPr/>
        </p:nvSpPr>
        <p:spPr bwMode="white">
          <a:xfrm>
            <a:off x="1" y="0"/>
            <a:ext cx="7171956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9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000251" y="622802"/>
            <a:ext cx="4906279" cy="249299"/>
          </a:xfrm>
          <a:prstGeom prst="rect">
            <a:avLst/>
          </a:prstGeom>
        </p:spPr>
        <p:txBody>
          <a:bodyPr vert="horz"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9" name="Copyright" hidden="1"/>
          <p:cNvSpPr txBox="1"/>
          <p:nvPr/>
        </p:nvSpPr>
        <p:spPr>
          <a:xfrm rot="16200000">
            <a:off x="9486902" y="3533783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5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1" y="6553592"/>
            <a:ext cx="1482051" cy="115416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75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6" name="Freeform 15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/>
        </p:nvSpPr>
        <p:spPr>
          <a:xfrm>
            <a:off x="0" y="6565900"/>
            <a:ext cx="7101056" cy="292100"/>
          </a:xfrm>
          <a:custGeom>
            <a:avLst/>
            <a:gdLst>
              <a:gd name="connsiteX0" fmla="*/ 0 w 7101056"/>
              <a:gd name="connsiteY0" fmla="*/ 0 h 292100"/>
              <a:gd name="connsiteX1" fmla="*/ 7101056 w 7101056"/>
              <a:gd name="connsiteY1" fmla="*/ 0 h 292100"/>
              <a:gd name="connsiteX2" fmla="*/ 7101056 w 7101056"/>
              <a:gd name="connsiteY2" fmla="*/ 292100 h 292100"/>
              <a:gd name="connsiteX3" fmla="*/ 0 w 7101056"/>
              <a:gd name="connsiteY3" fmla="*/ 292100 h 292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101056" h="292100">
                <a:moveTo>
                  <a:pt x="0" y="0"/>
                </a:moveTo>
                <a:lnTo>
                  <a:pt x="7101056" y="0"/>
                </a:lnTo>
                <a:lnTo>
                  <a:pt x="7101056" y="292100"/>
                </a:lnTo>
                <a:lnTo>
                  <a:pt x="0" y="292100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900">
              <a:solidFill>
                <a:srgbClr val="FFFFFF"/>
              </a:solidFill>
            </a:endParaRP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897" y="574339"/>
            <a:ext cx="1550283" cy="400753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84890B6B-B662-E672-3E63-6BBC670DAB06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7165607" y="0"/>
            <a:ext cx="416951" cy="6858000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38F7A437-D256-F94E-8D40-F3B03EB4C01B}"/>
              </a:ext>
            </a:extLst>
          </p:cNvPr>
          <p:cNvSpPr/>
          <p:nvPr/>
        </p:nvSpPr>
        <p:spPr bwMode="white">
          <a:xfrm>
            <a:off x="1" y="0"/>
            <a:ext cx="7171956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9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6A9B4E3F-8D58-63C2-2A1C-E60CD64E0A48}"/>
              </a:ext>
            </a:extLst>
          </p:cNvPr>
          <p:cNvSpPr txBox="1"/>
          <p:nvPr/>
        </p:nvSpPr>
        <p:spPr>
          <a:xfrm>
            <a:off x="11167872" y="6443508"/>
            <a:ext cx="38100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7" name="Copyright">
            <a:extLst>
              <a:ext uri="{FF2B5EF4-FFF2-40B4-BE49-F238E27FC236}">
                <a16:creationId xmlns:a16="http://schemas.microsoft.com/office/drawing/2014/main" id="{6C306B7B-0E17-20FE-5CB1-747EC4CB7FC2}"/>
              </a:ext>
            </a:extLst>
          </p:cNvPr>
          <p:cNvSpPr txBox="1"/>
          <p:nvPr/>
        </p:nvSpPr>
        <p:spPr>
          <a:xfrm rot="16200000">
            <a:off x="9486902" y="3934616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87697594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Four column green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34886448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Picture 15"/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9029247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/>
        </p:nvSpPr>
        <p:spPr bwMode="white">
          <a:xfrm>
            <a:off x="0" y="0"/>
            <a:ext cx="9034272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9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000250" y="622802"/>
            <a:ext cx="6731335" cy="249299"/>
          </a:xfrm>
          <a:prstGeom prst="rect">
            <a:avLst/>
          </a:prstGeom>
        </p:spPr>
        <p:txBody>
          <a:bodyPr vert="horz"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9" name="Copyright" hidden="1"/>
          <p:cNvSpPr txBox="1"/>
          <p:nvPr/>
        </p:nvSpPr>
        <p:spPr>
          <a:xfrm rot="16200000">
            <a:off x="9486902" y="3533783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9" name="Freeform 18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/>
        </p:nvSpPr>
        <p:spPr>
          <a:xfrm>
            <a:off x="-1" y="6565900"/>
            <a:ext cx="8963372" cy="292100"/>
          </a:xfrm>
          <a:custGeom>
            <a:avLst/>
            <a:gdLst>
              <a:gd name="connsiteX0" fmla="*/ 0 w 8963372"/>
              <a:gd name="connsiteY0" fmla="*/ 0 h 292100"/>
              <a:gd name="connsiteX1" fmla="*/ 8963372 w 8963372"/>
              <a:gd name="connsiteY1" fmla="*/ 0 h 292100"/>
              <a:gd name="connsiteX2" fmla="*/ 8963372 w 8963372"/>
              <a:gd name="connsiteY2" fmla="*/ 292100 h 292100"/>
              <a:gd name="connsiteX3" fmla="*/ 0 w 8963372"/>
              <a:gd name="connsiteY3" fmla="*/ 292100 h 292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963372" h="292100">
                <a:moveTo>
                  <a:pt x="0" y="0"/>
                </a:moveTo>
                <a:lnTo>
                  <a:pt x="8963372" y="0"/>
                </a:lnTo>
                <a:lnTo>
                  <a:pt x="8963372" y="292100"/>
                </a:lnTo>
                <a:lnTo>
                  <a:pt x="0" y="292100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900">
              <a:solidFill>
                <a:srgbClr val="FFFFFF"/>
              </a:solidFill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1" y="6553592"/>
            <a:ext cx="1482051" cy="115416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75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897" y="574339"/>
            <a:ext cx="1550283" cy="400753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76FD6B8B-506C-F491-029B-0EC92560A523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9029247" y="0"/>
            <a:ext cx="416951" cy="6858000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70058185-1FAF-E851-2F73-686D5B9D8EEF}"/>
              </a:ext>
            </a:extLst>
          </p:cNvPr>
          <p:cNvSpPr/>
          <p:nvPr/>
        </p:nvSpPr>
        <p:spPr bwMode="white">
          <a:xfrm>
            <a:off x="0" y="0"/>
            <a:ext cx="9034272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9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6" name="Copyright">
            <a:extLst>
              <a:ext uri="{FF2B5EF4-FFF2-40B4-BE49-F238E27FC236}">
                <a16:creationId xmlns:a16="http://schemas.microsoft.com/office/drawing/2014/main" id="{6D64CE3C-9A7C-DA96-A426-B3D8A804D60C}"/>
              </a:ext>
            </a:extLst>
          </p:cNvPr>
          <p:cNvSpPr txBox="1"/>
          <p:nvPr/>
        </p:nvSpPr>
        <p:spPr>
          <a:xfrm rot="16200000">
            <a:off x="9486902" y="3934616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8068AC7D-730B-D855-269E-06B1ECFEB934}"/>
              </a:ext>
            </a:extLst>
          </p:cNvPr>
          <p:cNvSpPr txBox="1"/>
          <p:nvPr/>
        </p:nvSpPr>
        <p:spPr>
          <a:xfrm>
            <a:off x="11167872" y="6443508"/>
            <a:ext cx="38100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6140479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rrow half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765912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entagon 8"/>
          <p:cNvSpPr/>
          <p:nvPr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2000250" y="622800"/>
            <a:ext cx="3303396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FF000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7806" y="3589606"/>
            <a:ext cx="1365250" cy="3382962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Copyright" hidden="1"/>
          <p:cNvSpPr txBox="1"/>
          <p:nvPr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grpSp>
        <p:nvGrpSpPr>
          <p:cNvPr id="6" name="Group 5"/>
          <p:cNvGrpSpPr/>
          <p:nvPr/>
        </p:nvGrpSpPr>
        <p:grpSpPr>
          <a:xfrm>
            <a:off x="0" y="6565900"/>
            <a:ext cx="5538597" cy="292100"/>
            <a:chOff x="0" y="6565900"/>
            <a:chExt cx="5538597" cy="292100"/>
          </a:xfrm>
        </p:grpSpPr>
        <p:sp>
          <p:nvSpPr>
            <p:cNvPr id="34" name="Freeform 33">
              <a:extLst>
                <a:ext uri="{FF2B5EF4-FFF2-40B4-BE49-F238E27FC236}">
                  <a16:creationId xmlns:a16="http://schemas.microsoft.com/office/drawing/2014/main" id="{D6F1E491-2552-48AF-8871-FAF6B673CB54}"/>
                </a:ext>
              </a:extLst>
            </p:cNvPr>
            <p:cNvSpPr/>
            <p:nvPr/>
          </p:nvSpPr>
          <p:spPr>
            <a:xfrm>
              <a:off x="824948" y="6565900"/>
              <a:ext cx="4713649" cy="292100"/>
            </a:xfrm>
            <a:custGeom>
              <a:avLst/>
              <a:gdLst>
                <a:gd name="connsiteX0" fmla="*/ 0 w 4713649"/>
                <a:gd name="connsiteY0" fmla="*/ 0 h 292100"/>
                <a:gd name="connsiteX1" fmla="*/ 4713649 w 4713649"/>
                <a:gd name="connsiteY1" fmla="*/ 0 h 292100"/>
                <a:gd name="connsiteX2" fmla="*/ 4653832 w 4713649"/>
                <a:gd name="connsiteY2" fmla="*/ 292100 h 292100"/>
                <a:gd name="connsiteX3" fmla="*/ 0 w 4713649"/>
                <a:gd name="connsiteY3" fmla="*/ 292100 h 292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713649" h="292100">
                  <a:moveTo>
                    <a:pt x="0" y="0"/>
                  </a:moveTo>
                  <a:lnTo>
                    <a:pt x="4713649" y="0"/>
                  </a:lnTo>
                  <a:lnTo>
                    <a:pt x="4653832" y="292100"/>
                  </a:lnTo>
                  <a:lnTo>
                    <a:pt x="0" y="292100"/>
                  </a:lnTo>
                  <a:close/>
                </a:path>
              </a:pathLst>
            </a:custGeom>
            <a:solidFill>
              <a:srgbClr val="FF0000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1240B29-F687-4F45-9708-019B960494DF}">
                <a14:hiddenLine xmlns:a14="http://schemas.microsoft.com/office/drawing/2010/main" w="9525" cap="rnd" cmpd="sng" algn="ctr">
                  <a:solidFill>
                    <a:srgbClr val="29BA74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FFFFFF"/>
                </a:solidFill>
              </a:endParaRPr>
            </a:p>
          </p:txBody>
        </p:sp>
        <p:sp>
          <p:nvSpPr>
            <p:cNvPr id="5" name="Rectangle 4"/>
            <p:cNvSpPr/>
            <p:nvPr/>
          </p:nvSpPr>
          <p:spPr>
            <a:xfrm>
              <a:off x="0" y="6565900"/>
              <a:ext cx="1427967" cy="292100"/>
            </a:xfrm>
            <a:prstGeom prst="rect">
              <a:avLst/>
            </a:prstGeom>
            <a:solidFill>
              <a:srgbClr val="FF0000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1240B29-F687-4F45-9708-019B960494DF}">
                <a14:hiddenLine xmlns:a14="http://schemas.microsoft.com/office/drawing/2010/main" w="9525" cap="rnd" cmpd="sng" algn="ctr">
                  <a:solidFill>
                    <a:srgbClr val="29BA74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FFFFFF"/>
                </a:solidFill>
              </a:endParaRPr>
            </a:p>
          </p:txBody>
        </p:sp>
      </p:grpSp>
      <p:pic>
        <p:nvPicPr>
          <p:cNvPr id="12" name="Picture 11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  <p:sp>
        <p:nvSpPr>
          <p:cNvPr id="2" name="Textfeld 1">
            <a:extLst>
              <a:ext uri="{FF2B5EF4-FFF2-40B4-BE49-F238E27FC236}">
                <a16:creationId xmlns:a16="http://schemas.microsoft.com/office/drawing/2014/main" id="{A53FBF35-BBBA-D896-11E4-4DB52E2785F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3581400" y="159413"/>
            <a:ext cx="5029200" cy="323165"/>
          </a:xfrm>
          <a:prstGeom prst="rect">
            <a:avLst/>
          </a:prstGeom>
          <a:pattFill>
            <a:fgClr>
              <a:srgbClr val="EEA632"/>
            </a:fgClr>
            <a:bgClr>
              <a:srgbClr val="EEA632"/>
            </a:bgClr>
          </a:pattFill>
          <a:ln w="9525" cap="rnd">
            <a:solidFill>
              <a:srgbClr val="575757"/>
            </a:solidFill>
            <a:prstDash val="solid"/>
          </a:ln>
        </p:spPr>
        <p:txBody>
          <a:bodyPr vert="horz" wrap="square" lIns="36576" tIns="36576" rIns="36576" bIns="36576" rtlCol="0" anchor="t">
            <a:sp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en-US" b="1">
                <a:solidFill>
                  <a:srgbClr val="000000"/>
                </a:solidFill>
                <a:sym typeface="Trebuchet MS" panose="020B0603020202020204" pitchFamily="34" charset="0"/>
              </a:rPr>
              <a:t>Draft document – Pre-read</a:t>
            </a:r>
          </a:p>
        </p:txBody>
      </p:sp>
    </p:spTree>
    <p:extLst>
      <p:ext uri="{BB962C8B-B14F-4D97-AF65-F5344CB8AC3E}">
        <p14:creationId xmlns:p14="http://schemas.microsoft.com/office/powerpoint/2010/main" val="245535870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3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Green one third">
    <p:bg>
      <p:bgPr>
        <a:gradFill>
          <a:gsLst>
            <a:gs pos="39000">
              <a:srgbClr val="D81F30"/>
            </a:gs>
            <a:gs pos="100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22"/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70" y="0"/>
            <a:ext cx="416951" cy="6858000"/>
          </a:xfrm>
          <a:prstGeom prst="rect">
            <a:avLst/>
          </a:prstGeom>
        </p:spPr>
      </p:pic>
      <p:sp>
        <p:nvSpPr>
          <p:cNvPr id="24" name="Title 4"/>
          <p:cNvSpPr>
            <a:spLocks noGrp="1"/>
          </p:cNvSpPr>
          <p:nvPr>
            <p:ph type="title" hasCustomPrompt="1"/>
          </p:nvPr>
        </p:nvSpPr>
        <p:spPr>
          <a:xfrm>
            <a:off x="630001" y="2681103"/>
            <a:ext cx="3127881" cy="1495794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18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26" name="Rectangle 25"/>
          <p:cNvSpPr/>
          <p:nvPr/>
        </p:nvSpPr>
        <p:spPr bwMode="ltGray">
          <a:xfrm>
            <a:off x="4080764" y="-1309"/>
            <a:ext cx="8111237" cy="68593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9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9" name="Copyright" hidden="1"/>
          <p:cNvSpPr txBox="1"/>
          <p:nvPr/>
        </p:nvSpPr>
        <p:spPr>
          <a:xfrm rot="16200000">
            <a:off x="9486902" y="3533783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4" name="Freeform 13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/>
        </p:nvSpPr>
        <p:spPr>
          <a:xfrm>
            <a:off x="4151665" y="6326129"/>
            <a:ext cx="8037289" cy="531873"/>
          </a:xfrm>
          <a:custGeom>
            <a:avLst/>
            <a:gdLst>
              <a:gd name="connsiteX0" fmla="*/ 4248622 w 8037289"/>
              <a:gd name="connsiteY0" fmla="*/ 0 h 531873"/>
              <a:gd name="connsiteX1" fmla="*/ 8037287 w 8037289"/>
              <a:gd name="connsiteY1" fmla="*/ 0 h 531873"/>
              <a:gd name="connsiteX2" fmla="*/ 8037287 w 8037289"/>
              <a:gd name="connsiteY2" fmla="*/ 239773 h 531873"/>
              <a:gd name="connsiteX3" fmla="*/ 8037289 w 8037289"/>
              <a:gd name="connsiteY3" fmla="*/ 239773 h 531873"/>
              <a:gd name="connsiteX4" fmla="*/ 8037289 w 8037289"/>
              <a:gd name="connsiteY4" fmla="*/ 531873 h 531873"/>
              <a:gd name="connsiteX5" fmla="*/ 0 w 8037289"/>
              <a:gd name="connsiteY5" fmla="*/ 531873 h 531873"/>
              <a:gd name="connsiteX6" fmla="*/ 0 w 8037289"/>
              <a:gd name="connsiteY6" fmla="*/ 239773 h 531873"/>
              <a:gd name="connsiteX7" fmla="*/ 4068966 w 8037289"/>
              <a:gd name="connsiteY7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037289" h="531873">
                <a:moveTo>
                  <a:pt x="4248622" y="0"/>
                </a:moveTo>
                <a:lnTo>
                  <a:pt x="8037287" y="0"/>
                </a:lnTo>
                <a:lnTo>
                  <a:pt x="8037287" y="239773"/>
                </a:lnTo>
                <a:lnTo>
                  <a:pt x="8037289" y="239773"/>
                </a:lnTo>
                <a:lnTo>
                  <a:pt x="8037289" y="531873"/>
                </a:lnTo>
                <a:lnTo>
                  <a:pt x="0" y="531873"/>
                </a:lnTo>
                <a:lnTo>
                  <a:pt x="0" y="239773"/>
                </a:lnTo>
                <a:lnTo>
                  <a:pt x="4068966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350"/>
          </a:p>
        </p:txBody>
      </p:sp>
      <p:sp>
        <p:nvSpPr>
          <p:cNvPr id="12" name="TextBox 11"/>
          <p:cNvSpPr txBox="1"/>
          <p:nvPr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1" y="6553592"/>
            <a:ext cx="1482051" cy="115416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75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897" y="572658"/>
            <a:ext cx="1550283" cy="403326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B5E8C6A6-3B7A-1066-2DC5-83B06790357C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70" y="0"/>
            <a:ext cx="416951" cy="6858000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DCA09BB6-B434-5749-A0C2-668D7FE4E680}"/>
              </a:ext>
            </a:extLst>
          </p:cNvPr>
          <p:cNvSpPr/>
          <p:nvPr/>
        </p:nvSpPr>
        <p:spPr bwMode="ltGray">
          <a:xfrm>
            <a:off x="4080764" y="-1309"/>
            <a:ext cx="8111237" cy="68593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9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5" name="Copyright">
            <a:extLst>
              <a:ext uri="{FF2B5EF4-FFF2-40B4-BE49-F238E27FC236}">
                <a16:creationId xmlns:a16="http://schemas.microsoft.com/office/drawing/2014/main" id="{70208015-FAEC-A56A-8E8E-C05D5F713F5C}"/>
              </a:ext>
            </a:extLst>
          </p:cNvPr>
          <p:cNvSpPr txBox="1"/>
          <p:nvPr/>
        </p:nvSpPr>
        <p:spPr>
          <a:xfrm rot="16200000">
            <a:off x="9486902" y="3934616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83A5D77F-E526-CD56-FF22-6C94C22BC589}"/>
              </a:ext>
            </a:extLst>
          </p:cNvPr>
          <p:cNvSpPr txBox="1"/>
          <p:nvPr/>
        </p:nvSpPr>
        <p:spPr>
          <a:xfrm>
            <a:off x="11167872" y="6443508"/>
            <a:ext cx="38100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0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7901871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Green half">
    <p:bg>
      <p:bgPr>
        <a:gradFill>
          <a:gsLst>
            <a:gs pos="39000">
              <a:srgbClr val="D81F30"/>
            </a:gs>
            <a:gs pos="100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5689583" y="0"/>
            <a:ext cx="416951" cy="6858000"/>
          </a:xfrm>
          <a:prstGeom prst="rect">
            <a:avLst/>
          </a:prstGeom>
        </p:spPr>
      </p:pic>
      <p:sp>
        <p:nvSpPr>
          <p:cNvPr id="11" name="Rectangle 10"/>
          <p:cNvSpPr/>
          <p:nvPr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750"/>
              </a:spcAft>
            </a:pPr>
            <a:endParaRPr lang="en-US" sz="9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2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2022" y="0"/>
            <a:ext cx="6099977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350" baseline="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1785600"/>
            <a:ext cx="4388400" cy="3286800"/>
          </a:xfrm>
          <a:prstGeom prst="rect">
            <a:avLst/>
          </a:prstGeom>
          <a:noFill/>
        </p:spPr>
        <p:txBody>
          <a:bodyPr vert="horz" wrap="square" lIns="0" tIns="0" rIns="320040" bIns="0" anchor="ctr">
            <a:noAutofit/>
          </a:bodyPr>
          <a:lstStyle>
            <a:lvl1pPr>
              <a:defRPr sz="33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6" name="Copyright" hidden="1"/>
          <p:cNvSpPr txBox="1"/>
          <p:nvPr/>
        </p:nvSpPr>
        <p:spPr>
          <a:xfrm rot="16200000">
            <a:off x="9486902" y="3533783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22" name="Freeform 21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/>
        </p:nvSpPr>
        <p:spPr>
          <a:xfrm>
            <a:off x="6162923" y="6326129"/>
            <a:ext cx="6026031" cy="531873"/>
          </a:xfrm>
          <a:custGeom>
            <a:avLst/>
            <a:gdLst>
              <a:gd name="connsiteX0" fmla="*/ 2237364 w 6026031"/>
              <a:gd name="connsiteY0" fmla="*/ 0 h 531873"/>
              <a:gd name="connsiteX1" fmla="*/ 6026029 w 6026031"/>
              <a:gd name="connsiteY1" fmla="*/ 0 h 531873"/>
              <a:gd name="connsiteX2" fmla="*/ 6026029 w 6026031"/>
              <a:gd name="connsiteY2" fmla="*/ 239773 h 531873"/>
              <a:gd name="connsiteX3" fmla="*/ 6026031 w 6026031"/>
              <a:gd name="connsiteY3" fmla="*/ 239773 h 531873"/>
              <a:gd name="connsiteX4" fmla="*/ 6026031 w 6026031"/>
              <a:gd name="connsiteY4" fmla="*/ 531873 h 531873"/>
              <a:gd name="connsiteX5" fmla="*/ 0 w 6026031"/>
              <a:gd name="connsiteY5" fmla="*/ 531873 h 531873"/>
              <a:gd name="connsiteX6" fmla="*/ 0 w 6026031"/>
              <a:gd name="connsiteY6" fmla="*/ 239773 h 531873"/>
              <a:gd name="connsiteX7" fmla="*/ 2057708 w 6026031"/>
              <a:gd name="connsiteY7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026031" h="531873">
                <a:moveTo>
                  <a:pt x="2237364" y="0"/>
                </a:moveTo>
                <a:lnTo>
                  <a:pt x="6026029" y="0"/>
                </a:lnTo>
                <a:lnTo>
                  <a:pt x="6026029" y="239773"/>
                </a:lnTo>
                <a:lnTo>
                  <a:pt x="6026031" y="239773"/>
                </a:lnTo>
                <a:lnTo>
                  <a:pt x="6026031" y="531873"/>
                </a:lnTo>
                <a:lnTo>
                  <a:pt x="0" y="531873"/>
                </a:lnTo>
                <a:lnTo>
                  <a:pt x="0" y="239773"/>
                </a:lnTo>
                <a:lnTo>
                  <a:pt x="2057708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900">
              <a:solidFill>
                <a:srgbClr val="FFFFFF"/>
              </a:solidFill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1" y="6553592"/>
            <a:ext cx="1482051" cy="115416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75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897" y="572658"/>
            <a:ext cx="1550283" cy="403326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6CDAF13C-3595-54C0-D62B-FA2F11CEFC7A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5689583" y="0"/>
            <a:ext cx="416951" cy="6858000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4D510F99-4C25-8512-DC69-3661D5F83BC6}"/>
              </a:ext>
            </a:extLst>
          </p:cNvPr>
          <p:cNvSpPr/>
          <p:nvPr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750"/>
              </a:spcAft>
            </a:pPr>
            <a:endParaRPr lang="en-US" sz="9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28A7C69C-3522-FC58-28A8-6416849412D8}"/>
              </a:ext>
            </a:extLst>
          </p:cNvPr>
          <p:cNvSpPr txBox="1"/>
          <p:nvPr/>
        </p:nvSpPr>
        <p:spPr>
          <a:xfrm>
            <a:off x="11167872" y="6443508"/>
            <a:ext cx="38100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600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6" name="Copyright">
            <a:extLst>
              <a:ext uri="{FF2B5EF4-FFF2-40B4-BE49-F238E27FC236}">
                <a16:creationId xmlns:a16="http://schemas.microsoft.com/office/drawing/2014/main" id="{FA5AE99F-CBE9-E314-AEE7-80B87721B8FF}"/>
              </a:ext>
            </a:extLst>
          </p:cNvPr>
          <p:cNvSpPr txBox="1"/>
          <p:nvPr/>
        </p:nvSpPr>
        <p:spPr>
          <a:xfrm rot="16200000">
            <a:off x="9486902" y="3934616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89113838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Green two third">
    <p:bg>
      <p:bgPr>
        <a:gradFill>
          <a:gsLst>
            <a:gs pos="39000">
              <a:srgbClr val="D81F30"/>
            </a:gs>
            <a:gs pos="100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7409850" y="0"/>
            <a:ext cx="416951" cy="6858000"/>
          </a:xfrm>
          <a:prstGeom prst="rect">
            <a:avLst/>
          </a:prstGeom>
        </p:spPr>
      </p:pic>
      <p:sp>
        <p:nvSpPr>
          <p:cNvPr id="11" name="Rectangle 10"/>
          <p:cNvSpPr/>
          <p:nvPr/>
        </p:nvSpPr>
        <p:spPr bwMode="gray">
          <a:xfrm>
            <a:off x="7819545" y="0"/>
            <a:ext cx="4372457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9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2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20026" y="0"/>
            <a:ext cx="4371975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200">
                <a:solidFill>
                  <a:schemeClr val="tx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630936" y="1785600"/>
            <a:ext cx="6247552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33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7" name="Copyright" hidden="1"/>
          <p:cNvSpPr txBox="1"/>
          <p:nvPr/>
        </p:nvSpPr>
        <p:spPr>
          <a:xfrm rot="16200000">
            <a:off x="9486902" y="3533783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21" name="Freeform 20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/>
        </p:nvSpPr>
        <p:spPr>
          <a:xfrm>
            <a:off x="7890927" y="6326129"/>
            <a:ext cx="4298027" cy="531873"/>
          </a:xfrm>
          <a:custGeom>
            <a:avLst/>
            <a:gdLst>
              <a:gd name="connsiteX0" fmla="*/ 509360 w 4298027"/>
              <a:gd name="connsiteY0" fmla="*/ 0 h 531873"/>
              <a:gd name="connsiteX1" fmla="*/ 4298025 w 4298027"/>
              <a:gd name="connsiteY1" fmla="*/ 0 h 531873"/>
              <a:gd name="connsiteX2" fmla="*/ 4298025 w 4298027"/>
              <a:gd name="connsiteY2" fmla="*/ 239773 h 531873"/>
              <a:gd name="connsiteX3" fmla="*/ 4298027 w 4298027"/>
              <a:gd name="connsiteY3" fmla="*/ 239773 h 531873"/>
              <a:gd name="connsiteX4" fmla="*/ 4298027 w 4298027"/>
              <a:gd name="connsiteY4" fmla="*/ 531873 h 531873"/>
              <a:gd name="connsiteX5" fmla="*/ 0 w 4298027"/>
              <a:gd name="connsiteY5" fmla="*/ 531873 h 531873"/>
              <a:gd name="connsiteX6" fmla="*/ 0 w 4298027"/>
              <a:gd name="connsiteY6" fmla="*/ 239773 h 531873"/>
              <a:gd name="connsiteX7" fmla="*/ 329704 w 4298027"/>
              <a:gd name="connsiteY7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298027" h="531873">
                <a:moveTo>
                  <a:pt x="509360" y="0"/>
                </a:moveTo>
                <a:lnTo>
                  <a:pt x="4298025" y="0"/>
                </a:lnTo>
                <a:lnTo>
                  <a:pt x="4298025" y="239773"/>
                </a:lnTo>
                <a:lnTo>
                  <a:pt x="4298027" y="239773"/>
                </a:lnTo>
                <a:lnTo>
                  <a:pt x="4298027" y="531873"/>
                </a:lnTo>
                <a:lnTo>
                  <a:pt x="0" y="531873"/>
                </a:lnTo>
                <a:lnTo>
                  <a:pt x="0" y="239773"/>
                </a:lnTo>
                <a:lnTo>
                  <a:pt x="329704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900">
              <a:solidFill>
                <a:srgbClr val="FFFFFF"/>
              </a:solidFill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0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1" y="6553592"/>
            <a:ext cx="1482051" cy="115416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75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3" name="Picture 12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897" y="572658"/>
            <a:ext cx="1550283" cy="403326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3C0A86F9-D0AA-6076-C658-7405EE9C66D4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7409850" y="0"/>
            <a:ext cx="416951" cy="6858000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EA30C2A8-B290-AE56-A6C1-14CE630A8DBD}"/>
              </a:ext>
            </a:extLst>
          </p:cNvPr>
          <p:cNvSpPr/>
          <p:nvPr/>
        </p:nvSpPr>
        <p:spPr bwMode="gray">
          <a:xfrm>
            <a:off x="7819545" y="0"/>
            <a:ext cx="4372457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9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5" name="Copyright">
            <a:extLst>
              <a:ext uri="{FF2B5EF4-FFF2-40B4-BE49-F238E27FC236}">
                <a16:creationId xmlns:a16="http://schemas.microsoft.com/office/drawing/2014/main" id="{F7379E74-DE4D-5B84-D16E-55380C814756}"/>
              </a:ext>
            </a:extLst>
          </p:cNvPr>
          <p:cNvSpPr txBox="1"/>
          <p:nvPr/>
        </p:nvSpPr>
        <p:spPr>
          <a:xfrm rot="16200000">
            <a:off x="9486902" y="3934616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CF74DABC-DEC6-F827-41C7-F15A5C78F7B7}"/>
              </a:ext>
            </a:extLst>
          </p:cNvPr>
          <p:cNvSpPr txBox="1"/>
          <p:nvPr/>
        </p:nvSpPr>
        <p:spPr>
          <a:xfrm>
            <a:off x="11167872" y="6443508"/>
            <a:ext cx="38100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600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4796683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Left arrow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24" imgH="324" progId="TCLayout.ActiveDocument.1">
                  <p:embed/>
                </p:oleObj>
              </mc:Choice>
              <mc:Fallback>
                <p:oleObj name="think-cell Slide" r:id="rId4" imgW="324" imgH="32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Freeform 14"/>
          <p:cNvSpPr/>
          <p:nvPr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750"/>
              </a:spcAft>
            </a:pPr>
            <a:endParaRPr lang="en-US" sz="9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pic>
        <p:nvPicPr>
          <p:cNvPr id="12" name="Picture 11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32441" y="3590399"/>
            <a:ext cx="1365251" cy="3382962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Title 4"/>
          <p:cNvSpPr>
            <a:spLocks noGrp="1"/>
          </p:cNvSpPr>
          <p:nvPr>
            <p:ph type="title" hasCustomPrompt="1"/>
          </p:nvPr>
        </p:nvSpPr>
        <p:spPr>
          <a:xfrm>
            <a:off x="630001" y="2764205"/>
            <a:ext cx="2478639" cy="1314311"/>
          </a:xfrm>
        </p:spPr>
        <p:txBody>
          <a:bodyPr vert="horz" anchor="ctr" anchorCtr="0">
            <a:noAutofit/>
          </a:bodyPr>
          <a:lstStyle>
            <a:lvl1pPr>
              <a:defRPr>
                <a:solidFill>
                  <a:srgbClr val="FF0000"/>
                </a:solidFill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6" name="Copyright" hidden="1"/>
          <p:cNvSpPr txBox="1"/>
          <p:nvPr/>
        </p:nvSpPr>
        <p:spPr>
          <a:xfrm rot="16200000">
            <a:off x="9486902" y="3533783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1" y="6553592"/>
            <a:ext cx="1482051" cy="115416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75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2" name="Freeform 21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/>
        </p:nvSpPr>
        <p:spPr>
          <a:xfrm>
            <a:off x="1" y="6565900"/>
            <a:ext cx="3266011" cy="292100"/>
          </a:xfrm>
          <a:custGeom>
            <a:avLst/>
            <a:gdLst>
              <a:gd name="connsiteX0" fmla="*/ 0 w 3266011"/>
              <a:gd name="connsiteY0" fmla="*/ 0 h 292100"/>
              <a:gd name="connsiteX1" fmla="*/ 3266011 w 3266011"/>
              <a:gd name="connsiteY1" fmla="*/ 0 h 292100"/>
              <a:gd name="connsiteX2" fmla="*/ 3195872 w 3266011"/>
              <a:gd name="connsiteY2" fmla="*/ 292100 h 292100"/>
              <a:gd name="connsiteX3" fmla="*/ 0 w 3266011"/>
              <a:gd name="connsiteY3" fmla="*/ 292100 h 292100"/>
              <a:gd name="connsiteX4" fmla="*/ 0 w 3266011"/>
              <a:gd name="connsiteY4" fmla="*/ 0 h 292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266011" h="292100">
                <a:moveTo>
                  <a:pt x="0" y="0"/>
                </a:moveTo>
                <a:lnTo>
                  <a:pt x="3266011" y="0"/>
                </a:lnTo>
                <a:lnTo>
                  <a:pt x="3195872" y="292100"/>
                </a:lnTo>
                <a:lnTo>
                  <a:pt x="0" y="292100"/>
                </a:lnTo>
                <a:lnTo>
                  <a:pt x="0" y="0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900">
              <a:solidFill>
                <a:srgbClr val="FFFFFF"/>
              </a:solidFill>
            </a:endParaRP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897" y="574339"/>
            <a:ext cx="1550283" cy="400753"/>
          </a:xfrm>
          <a:prstGeom prst="rect">
            <a:avLst/>
          </a:prstGeom>
        </p:spPr>
      </p:pic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A09E7197-500F-978A-7237-042804298BB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79571629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324" imgH="324" progId="TCLayout.ActiveDocument.1">
                  <p:embed/>
                </p:oleObj>
              </mc:Choice>
              <mc:Fallback>
                <p:oleObj name="think-cell Slide" r:id="rId8" imgW="324" imgH="32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A09E7197-500F-978A-7237-042804298BB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reeform 14">
            <a:extLst>
              <a:ext uri="{FF2B5EF4-FFF2-40B4-BE49-F238E27FC236}">
                <a16:creationId xmlns:a16="http://schemas.microsoft.com/office/drawing/2014/main" id="{B150E1F1-714E-6F74-CD9D-7F30A4E0651F}"/>
              </a:ext>
            </a:extLst>
          </p:cNvPr>
          <p:cNvSpPr/>
          <p:nvPr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750"/>
              </a:spcAft>
            </a:pPr>
            <a:endParaRPr lang="en-US" sz="9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5" name="Copyright">
            <a:extLst>
              <a:ext uri="{FF2B5EF4-FFF2-40B4-BE49-F238E27FC236}">
                <a16:creationId xmlns:a16="http://schemas.microsoft.com/office/drawing/2014/main" id="{541D1813-41EC-77E1-6CEF-8F1BAFB6A8BF}"/>
              </a:ext>
            </a:extLst>
          </p:cNvPr>
          <p:cNvSpPr txBox="1"/>
          <p:nvPr/>
        </p:nvSpPr>
        <p:spPr>
          <a:xfrm rot="16200000">
            <a:off x="9486902" y="3934616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99065F0D-3B73-206D-C7C6-46B15517933C}"/>
              </a:ext>
            </a:extLst>
          </p:cNvPr>
          <p:cNvSpPr txBox="1"/>
          <p:nvPr/>
        </p:nvSpPr>
        <p:spPr>
          <a:xfrm>
            <a:off x="11167872" y="6443508"/>
            <a:ext cx="38100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C7CC0039-59C6-C888-BEB9-83AB770DC92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32441" y="3590399"/>
            <a:ext cx="1365251" cy="3382962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5292751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Green left arro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Freeform 14"/>
          <p:cNvSpPr/>
          <p:nvPr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gradFill flip="none" rotWithShape="1">
            <a:gsLst>
              <a:gs pos="0">
                <a:srgbClr val="403F85"/>
              </a:gs>
              <a:gs pos="81000">
                <a:srgbClr val="ED1B24"/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endParaRPr lang="en-US" sz="150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30001" y="2764205"/>
            <a:ext cx="2478639" cy="1314311"/>
          </a:xfrm>
        </p:spPr>
        <p:txBody>
          <a:bodyPr vert="horz" anchor="ctr" anchorCtr="0">
            <a:noAutofit/>
          </a:bodyPr>
          <a:lstStyle>
            <a:lvl1pPr>
              <a:defRPr>
                <a:solidFill>
                  <a:srgbClr val="FFFFFF"/>
                </a:solidFill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216" b="7716"/>
          <a:stretch/>
        </p:blipFill>
        <p:spPr>
          <a:xfrm rot="120000">
            <a:off x="2174641" y="3402830"/>
            <a:ext cx="2694667" cy="3461745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  <p:sp>
        <p:nvSpPr>
          <p:cNvPr id="11" name="Copyright" hidden="1"/>
          <p:cNvSpPr txBox="1"/>
          <p:nvPr/>
        </p:nvSpPr>
        <p:spPr>
          <a:xfrm rot="16200000">
            <a:off x="9486902" y="3533783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8" name="Freeform 17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/>
        </p:nvSpPr>
        <p:spPr>
          <a:xfrm>
            <a:off x="3335835" y="6326129"/>
            <a:ext cx="8853119" cy="531873"/>
          </a:xfrm>
          <a:custGeom>
            <a:avLst/>
            <a:gdLst>
              <a:gd name="connsiteX0" fmla="*/ 5064452 w 8853119"/>
              <a:gd name="connsiteY0" fmla="*/ 0 h 531873"/>
              <a:gd name="connsiteX1" fmla="*/ 8853117 w 8853119"/>
              <a:gd name="connsiteY1" fmla="*/ 0 h 531873"/>
              <a:gd name="connsiteX2" fmla="*/ 8853117 w 8853119"/>
              <a:gd name="connsiteY2" fmla="*/ 239773 h 531873"/>
              <a:gd name="connsiteX3" fmla="*/ 8853119 w 8853119"/>
              <a:gd name="connsiteY3" fmla="*/ 239773 h 531873"/>
              <a:gd name="connsiteX4" fmla="*/ 8853119 w 8853119"/>
              <a:gd name="connsiteY4" fmla="*/ 531873 h 531873"/>
              <a:gd name="connsiteX5" fmla="*/ 0 w 8853119"/>
              <a:gd name="connsiteY5" fmla="*/ 531873 h 531873"/>
              <a:gd name="connsiteX6" fmla="*/ 70140 w 8853119"/>
              <a:gd name="connsiteY6" fmla="*/ 239773 h 531873"/>
              <a:gd name="connsiteX7" fmla="*/ 4884796 w 8853119"/>
              <a:gd name="connsiteY7" fmla="*/ 239773 h 531873"/>
              <a:gd name="connsiteX8" fmla="*/ 5064452 w 8853119"/>
              <a:gd name="connsiteY8" fmla="*/ 0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8853119" h="531873">
                <a:moveTo>
                  <a:pt x="5064452" y="0"/>
                </a:moveTo>
                <a:lnTo>
                  <a:pt x="8853117" y="0"/>
                </a:lnTo>
                <a:lnTo>
                  <a:pt x="8853117" y="239773"/>
                </a:lnTo>
                <a:lnTo>
                  <a:pt x="8853119" y="239773"/>
                </a:lnTo>
                <a:lnTo>
                  <a:pt x="8853119" y="531873"/>
                </a:lnTo>
                <a:lnTo>
                  <a:pt x="0" y="531873"/>
                </a:lnTo>
                <a:lnTo>
                  <a:pt x="70140" y="239773"/>
                </a:lnTo>
                <a:lnTo>
                  <a:pt x="4884796" y="239773"/>
                </a:lnTo>
                <a:lnTo>
                  <a:pt x="5064452" y="0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900">
              <a:solidFill>
                <a:srgbClr val="FFFFFF"/>
              </a:solidFill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4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1" y="6553592"/>
            <a:ext cx="1482051" cy="115416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75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897" y="572658"/>
            <a:ext cx="1550283" cy="403326"/>
          </a:xfrm>
          <a:prstGeom prst="rect">
            <a:avLst/>
          </a:prstGeom>
        </p:spPr>
      </p:pic>
      <p:sp>
        <p:nvSpPr>
          <p:cNvPr id="2" name="Freeform 14">
            <a:extLst>
              <a:ext uri="{FF2B5EF4-FFF2-40B4-BE49-F238E27FC236}">
                <a16:creationId xmlns:a16="http://schemas.microsoft.com/office/drawing/2014/main" id="{D17C0481-DE32-1CD2-B35A-E4E457F8124F}"/>
              </a:ext>
            </a:extLst>
          </p:cNvPr>
          <p:cNvSpPr/>
          <p:nvPr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750"/>
              </a:spcAft>
            </a:pPr>
            <a:endParaRPr lang="en-US" sz="9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D1C79629-1F1A-C8AA-F509-04AAE54DFACF}"/>
              </a:ext>
            </a:extLst>
          </p:cNvPr>
          <p:cNvSpPr txBox="1"/>
          <p:nvPr/>
        </p:nvSpPr>
        <p:spPr>
          <a:xfrm>
            <a:off x="11167872" y="6443508"/>
            <a:ext cx="38100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0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6" name="Copyright">
            <a:extLst>
              <a:ext uri="{FF2B5EF4-FFF2-40B4-BE49-F238E27FC236}">
                <a16:creationId xmlns:a16="http://schemas.microsoft.com/office/drawing/2014/main" id="{972C49D1-97ED-ED75-8E73-96F47F202049}"/>
              </a:ext>
            </a:extLst>
          </p:cNvPr>
          <p:cNvSpPr txBox="1"/>
          <p:nvPr/>
        </p:nvSpPr>
        <p:spPr>
          <a:xfrm rot="16200000">
            <a:off x="9486902" y="3934616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AA58B900-100B-1680-A0B4-77944201461C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216" b="7716"/>
          <a:stretch/>
        </p:blipFill>
        <p:spPr>
          <a:xfrm rot="120000">
            <a:off x="2174641" y="3402830"/>
            <a:ext cx="2694667" cy="3461745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18588692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Arrow one third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Pentagon 3"/>
          <p:cNvSpPr/>
          <p:nvPr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750"/>
              </a:spcAft>
            </a:pPr>
            <a:endParaRPr lang="en-US" sz="9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630001" y="1785600"/>
            <a:ext cx="4062235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3300" b="0">
                <a:solidFill>
                  <a:srgbClr val="FF000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1" name="Picture 10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81526" y="3394394"/>
            <a:ext cx="1298575" cy="3571875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Copyright" hidden="1"/>
          <p:cNvSpPr txBox="1"/>
          <p:nvPr/>
        </p:nvSpPr>
        <p:spPr>
          <a:xfrm rot="16200000">
            <a:off x="9486902" y="3533783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6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1" y="6553592"/>
            <a:ext cx="1482051" cy="115416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75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8" name="Freeform 17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/>
        </p:nvSpPr>
        <p:spPr>
          <a:xfrm>
            <a:off x="2" y="6565900"/>
            <a:ext cx="4713649" cy="292100"/>
          </a:xfrm>
          <a:custGeom>
            <a:avLst/>
            <a:gdLst>
              <a:gd name="connsiteX0" fmla="*/ 0 w 4713649"/>
              <a:gd name="connsiteY0" fmla="*/ 0 h 292100"/>
              <a:gd name="connsiteX1" fmla="*/ 4713649 w 4713649"/>
              <a:gd name="connsiteY1" fmla="*/ 0 h 292100"/>
              <a:gd name="connsiteX2" fmla="*/ 4653832 w 4713649"/>
              <a:gd name="connsiteY2" fmla="*/ 292100 h 292100"/>
              <a:gd name="connsiteX3" fmla="*/ 0 w 4713649"/>
              <a:gd name="connsiteY3" fmla="*/ 292100 h 292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713649" h="292100">
                <a:moveTo>
                  <a:pt x="0" y="0"/>
                </a:moveTo>
                <a:lnTo>
                  <a:pt x="4713649" y="0"/>
                </a:lnTo>
                <a:lnTo>
                  <a:pt x="4653832" y="292100"/>
                </a:lnTo>
                <a:lnTo>
                  <a:pt x="0" y="292100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900">
              <a:solidFill>
                <a:srgbClr val="FFFFFF"/>
              </a:solidFill>
            </a:endParaRP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897" y="574339"/>
            <a:ext cx="1550283" cy="400753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52B6DD45-9DD5-3861-DDE4-0E15A0C345B7}"/>
              </a:ext>
            </a:extLst>
          </p:cNvPr>
          <p:cNvSpPr txBox="1"/>
          <p:nvPr/>
        </p:nvSpPr>
        <p:spPr>
          <a:xfrm>
            <a:off x="11167872" y="6443508"/>
            <a:ext cx="38100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60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4" name="Copyright">
            <a:extLst>
              <a:ext uri="{FF2B5EF4-FFF2-40B4-BE49-F238E27FC236}">
                <a16:creationId xmlns:a16="http://schemas.microsoft.com/office/drawing/2014/main" id="{A1D2D9D8-98DA-1250-4F1D-935C7B932C61}"/>
              </a:ext>
            </a:extLst>
          </p:cNvPr>
          <p:cNvSpPr txBox="1"/>
          <p:nvPr/>
        </p:nvSpPr>
        <p:spPr>
          <a:xfrm rot="16200000">
            <a:off x="9486902" y="3934616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5" name="Pentagon 3">
            <a:extLst>
              <a:ext uri="{FF2B5EF4-FFF2-40B4-BE49-F238E27FC236}">
                <a16:creationId xmlns:a16="http://schemas.microsoft.com/office/drawing/2014/main" id="{44F55499-E457-5B30-A340-BDBCC0617CED}"/>
              </a:ext>
            </a:extLst>
          </p:cNvPr>
          <p:cNvSpPr/>
          <p:nvPr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750"/>
              </a:spcAft>
            </a:pPr>
            <a:endParaRPr lang="en-US" sz="9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77F7D5B3-E337-F6D1-96C9-51892AE7754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81526" y="3394394"/>
            <a:ext cx="1298575" cy="3571875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61754684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Green arrow one thir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Pentagon 3"/>
          <p:cNvSpPr/>
          <p:nvPr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gradFill flip="none" rotWithShape="1">
            <a:gsLst>
              <a:gs pos="0">
                <a:srgbClr val="403F85"/>
              </a:gs>
              <a:gs pos="81000">
                <a:srgbClr val="ED1B24"/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endParaRPr lang="en-US" sz="150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630001" y="1785600"/>
            <a:ext cx="4062235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3300" b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562" b="6867"/>
          <a:stretch/>
        </p:blipFill>
        <p:spPr>
          <a:xfrm>
            <a:off x="3578059" y="3416300"/>
            <a:ext cx="2694667" cy="3441700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  <p:sp>
        <p:nvSpPr>
          <p:cNvPr id="10" name="Copyright" hidden="1"/>
          <p:cNvSpPr txBox="1"/>
          <p:nvPr/>
        </p:nvSpPr>
        <p:spPr>
          <a:xfrm rot="16200000">
            <a:off x="9486902" y="3533783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8" name="Freeform 17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/>
        </p:nvSpPr>
        <p:spPr>
          <a:xfrm>
            <a:off x="4795633" y="6326129"/>
            <a:ext cx="7393321" cy="531873"/>
          </a:xfrm>
          <a:custGeom>
            <a:avLst/>
            <a:gdLst>
              <a:gd name="connsiteX0" fmla="*/ 3604654 w 7393321"/>
              <a:gd name="connsiteY0" fmla="*/ 0 h 531873"/>
              <a:gd name="connsiteX1" fmla="*/ 7393319 w 7393321"/>
              <a:gd name="connsiteY1" fmla="*/ 0 h 531873"/>
              <a:gd name="connsiteX2" fmla="*/ 7393319 w 7393321"/>
              <a:gd name="connsiteY2" fmla="*/ 239773 h 531873"/>
              <a:gd name="connsiteX3" fmla="*/ 7393321 w 7393321"/>
              <a:gd name="connsiteY3" fmla="*/ 239773 h 531873"/>
              <a:gd name="connsiteX4" fmla="*/ 7393321 w 7393321"/>
              <a:gd name="connsiteY4" fmla="*/ 531873 h 531873"/>
              <a:gd name="connsiteX5" fmla="*/ 0 w 7393321"/>
              <a:gd name="connsiteY5" fmla="*/ 531873 h 531873"/>
              <a:gd name="connsiteX6" fmla="*/ 59817 w 7393321"/>
              <a:gd name="connsiteY6" fmla="*/ 239773 h 531873"/>
              <a:gd name="connsiteX7" fmla="*/ 3424998 w 7393321"/>
              <a:gd name="connsiteY7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393321" h="531873">
                <a:moveTo>
                  <a:pt x="3604654" y="0"/>
                </a:moveTo>
                <a:lnTo>
                  <a:pt x="7393319" y="0"/>
                </a:lnTo>
                <a:lnTo>
                  <a:pt x="7393319" y="239773"/>
                </a:lnTo>
                <a:lnTo>
                  <a:pt x="7393321" y="239773"/>
                </a:lnTo>
                <a:lnTo>
                  <a:pt x="7393321" y="531873"/>
                </a:lnTo>
                <a:lnTo>
                  <a:pt x="0" y="531873"/>
                </a:lnTo>
                <a:lnTo>
                  <a:pt x="59817" y="239773"/>
                </a:lnTo>
                <a:lnTo>
                  <a:pt x="3424998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900">
              <a:solidFill>
                <a:srgbClr val="FFFFFF"/>
              </a:solidFill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1" y="6553592"/>
            <a:ext cx="1482051" cy="115416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75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897" y="572658"/>
            <a:ext cx="1550283" cy="403326"/>
          </a:xfrm>
          <a:prstGeom prst="rect">
            <a:avLst/>
          </a:prstGeom>
        </p:spPr>
      </p:pic>
      <p:sp>
        <p:nvSpPr>
          <p:cNvPr id="2" name="Pentagon 3">
            <a:extLst>
              <a:ext uri="{FF2B5EF4-FFF2-40B4-BE49-F238E27FC236}">
                <a16:creationId xmlns:a16="http://schemas.microsoft.com/office/drawing/2014/main" id="{139C35F5-0D37-50A2-CCB1-5EFA54F51F5D}"/>
              </a:ext>
            </a:extLst>
          </p:cNvPr>
          <p:cNvSpPr/>
          <p:nvPr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750"/>
              </a:spcAft>
            </a:pPr>
            <a:endParaRPr lang="en-US" sz="9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6C9F3626-5883-DFE3-1ECE-8B624BDC3876}"/>
              </a:ext>
            </a:extLst>
          </p:cNvPr>
          <p:cNvSpPr txBox="1"/>
          <p:nvPr/>
        </p:nvSpPr>
        <p:spPr>
          <a:xfrm>
            <a:off x="11167872" y="6443508"/>
            <a:ext cx="38100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0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5" name="Copyright">
            <a:extLst>
              <a:ext uri="{FF2B5EF4-FFF2-40B4-BE49-F238E27FC236}">
                <a16:creationId xmlns:a16="http://schemas.microsoft.com/office/drawing/2014/main" id="{888F92E7-1BFD-3304-23D2-0E89207523A9}"/>
              </a:ext>
            </a:extLst>
          </p:cNvPr>
          <p:cNvSpPr txBox="1"/>
          <p:nvPr/>
        </p:nvSpPr>
        <p:spPr>
          <a:xfrm rot="16200000">
            <a:off x="9486902" y="3934616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30955E9F-6238-76F6-1813-AD49ABD2F2C0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562" b="6867"/>
          <a:stretch/>
        </p:blipFill>
        <p:spPr>
          <a:xfrm>
            <a:off x="3578059" y="3416300"/>
            <a:ext cx="2694667" cy="3441700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36007703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Arrow half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27483338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entagon 8"/>
          <p:cNvSpPr/>
          <p:nvPr/>
        </p:nvSpPr>
        <p:spPr bwMode="white">
          <a:xfrm>
            <a:off x="0" y="0"/>
            <a:ext cx="6363547" cy="6858000"/>
          </a:xfrm>
          <a:prstGeom prst="homePlate">
            <a:avLst>
              <a:gd name="adj" fmla="val 1293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750"/>
              </a:spcAft>
            </a:pPr>
            <a:endParaRPr lang="en-US" sz="9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2000250" y="622802"/>
            <a:ext cx="3377572" cy="249299"/>
          </a:xfrm>
          <a:prstGeom prst="rect">
            <a:avLst/>
          </a:prstGeom>
        </p:spPr>
        <p:txBody>
          <a:bodyPr vert="horz"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0" name="Picture 9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7805" y="3589606"/>
            <a:ext cx="1365251" cy="3382962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Copyright" hidden="1"/>
          <p:cNvSpPr txBox="1"/>
          <p:nvPr/>
        </p:nvSpPr>
        <p:spPr>
          <a:xfrm rot="16200000">
            <a:off x="9486902" y="3533783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1" y="6553592"/>
            <a:ext cx="1482051" cy="115416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75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grpSp>
        <p:nvGrpSpPr>
          <p:cNvPr id="12" name="Group 11"/>
          <p:cNvGrpSpPr/>
          <p:nvPr/>
        </p:nvGrpSpPr>
        <p:grpSpPr>
          <a:xfrm>
            <a:off x="0" y="6565900"/>
            <a:ext cx="5538597" cy="292100"/>
            <a:chOff x="0" y="6565900"/>
            <a:chExt cx="5538597" cy="292100"/>
          </a:xfrm>
        </p:grpSpPr>
        <p:sp>
          <p:nvSpPr>
            <p:cNvPr id="13" name="Freeform 12">
              <a:extLst>
                <a:ext uri="{FF2B5EF4-FFF2-40B4-BE49-F238E27FC236}">
                  <a16:creationId xmlns:a16="http://schemas.microsoft.com/office/drawing/2014/main" id="{D6F1E491-2552-48AF-8871-FAF6B673CB54}"/>
                </a:ext>
              </a:extLst>
            </p:cNvPr>
            <p:cNvSpPr/>
            <p:nvPr/>
          </p:nvSpPr>
          <p:spPr>
            <a:xfrm>
              <a:off x="824948" y="6565900"/>
              <a:ext cx="4713649" cy="292100"/>
            </a:xfrm>
            <a:custGeom>
              <a:avLst/>
              <a:gdLst>
                <a:gd name="connsiteX0" fmla="*/ 0 w 4713649"/>
                <a:gd name="connsiteY0" fmla="*/ 0 h 292100"/>
                <a:gd name="connsiteX1" fmla="*/ 4713649 w 4713649"/>
                <a:gd name="connsiteY1" fmla="*/ 0 h 292100"/>
                <a:gd name="connsiteX2" fmla="*/ 4653832 w 4713649"/>
                <a:gd name="connsiteY2" fmla="*/ 292100 h 292100"/>
                <a:gd name="connsiteX3" fmla="*/ 0 w 4713649"/>
                <a:gd name="connsiteY3" fmla="*/ 292100 h 292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713649" h="292100">
                  <a:moveTo>
                    <a:pt x="0" y="0"/>
                  </a:moveTo>
                  <a:lnTo>
                    <a:pt x="4713649" y="0"/>
                  </a:lnTo>
                  <a:lnTo>
                    <a:pt x="4653832" y="292100"/>
                  </a:lnTo>
                  <a:lnTo>
                    <a:pt x="0" y="292100"/>
                  </a:lnTo>
                  <a:close/>
                </a:path>
              </a:pathLst>
            </a:custGeom>
            <a:solidFill>
              <a:srgbClr val="FF0000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1240B29-F687-4F45-9708-019B960494DF}">
                <a14:hiddenLine xmlns:a14="http://schemas.microsoft.com/office/drawing/2010/main" w="9525" cap="rnd" cmpd="sng" algn="ctr">
                  <a:solidFill>
                    <a:srgbClr val="29BA74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900">
                <a:solidFill>
                  <a:srgbClr val="FFFFFF"/>
                </a:solidFill>
              </a:endParaRPr>
            </a:p>
          </p:txBody>
        </p:sp>
        <p:sp>
          <p:nvSpPr>
            <p:cNvPr id="16" name="Rectangle 15"/>
            <p:cNvSpPr/>
            <p:nvPr/>
          </p:nvSpPr>
          <p:spPr>
            <a:xfrm>
              <a:off x="0" y="6565900"/>
              <a:ext cx="1427967" cy="292100"/>
            </a:xfrm>
            <a:prstGeom prst="rect">
              <a:avLst/>
            </a:prstGeom>
            <a:solidFill>
              <a:srgbClr val="FF0000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1240B29-F687-4F45-9708-019B960494DF}">
                <a14:hiddenLine xmlns:a14="http://schemas.microsoft.com/office/drawing/2010/main" w="9525" cap="rnd" cmpd="sng" algn="ctr">
                  <a:solidFill>
                    <a:srgbClr val="29BA74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900">
                <a:solidFill>
                  <a:srgbClr val="FFFFFF"/>
                </a:solidFill>
              </a:endParaRPr>
            </a:p>
          </p:txBody>
        </p:sp>
      </p:grpSp>
      <p:pic>
        <p:nvPicPr>
          <p:cNvPr id="14" name="Picture 13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897" y="574339"/>
            <a:ext cx="1550283" cy="400753"/>
          </a:xfrm>
          <a:prstGeom prst="rect">
            <a:avLst/>
          </a:prstGeom>
        </p:spPr>
      </p:pic>
      <p:sp>
        <p:nvSpPr>
          <p:cNvPr id="2" name="Copyright">
            <a:extLst>
              <a:ext uri="{FF2B5EF4-FFF2-40B4-BE49-F238E27FC236}">
                <a16:creationId xmlns:a16="http://schemas.microsoft.com/office/drawing/2014/main" id="{C2AE19BE-EDE3-E02D-02F4-510CD3A1E39E}"/>
              </a:ext>
            </a:extLst>
          </p:cNvPr>
          <p:cNvSpPr txBox="1"/>
          <p:nvPr/>
        </p:nvSpPr>
        <p:spPr>
          <a:xfrm rot="16200000">
            <a:off x="9486902" y="3934616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63123803-9DFD-5C2A-BCAA-B8844A8B36B4}"/>
              </a:ext>
            </a:extLst>
          </p:cNvPr>
          <p:cNvSpPr txBox="1"/>
          <p:nvPr/>
        </p:nvSpPr>
        <p:spPr>
          <a:xfrm>
            <a:off x="11167872" y="6443508"/>
            <a:ext cx="38100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D947CC86-F407-82C0-0829-B52DDE6F11E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7805" y="3589606"/>
            <a:ext cx="1365251" cy="3382962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8945359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Green arrow half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40116287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entagon 8"/>
          <p:cNvSpPr/>
          <p:nvPr/>
        </p:nvSpPr>
        <p:spPr bwMode="white">
          <a:xfrm>
            <a:off x="0" y="0"/>
            <a:ext cx="6363547" cy="6858000"/>
          </a:xfrm>
          <a:prstGeom prst="homePlate">
            <a:avLst>
              <a:gd name="adj" fmla="val 12939"/>
            </a:avLst>
          </a:prstGeom>
          <a:gradFill flip="none" rotWithShape="1">
            <a:gsLst>
              <a:gs pos="0">
                <a:srgbClr val="403F85"/>
              </a:gs>
              <a:gs pos="81000">
                <a:srgbClr val="ED1B24"/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endParaRPr lang="en-US" sz="150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2000250" y="622802"/>
            <a:ext cx="3377572" cy="249299"/>
          </a:xfrm>
          <a:prstGeom prst="rect">
            <a:avLst/>
          </a:prstGeom>
        </p:spPr>
        <p:txBody>
          <a:bodyPr vert="horz"/>
          <a:lstStyle>
            <a:lvl1pPr>
              <a:defRPr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4460172" y="3407805"/>
            <a:ext cx="2694667" cy="3456551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12" name="Copyright" hidden="1"/>
          <p:cNvSpPr txBox="1"/>
          <p:nvPr/>
        </p:nvSpPr>
        <p:spPr>
          <a:xfrm rot="16200000">
            <a:off x="9486902" y="3533783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1" name="Freeform 10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/>
        </p:nvSpPr>
        <p:spPr>
          <a:xfrm>
            <a:off x="914400" y="6326129"/>
            <a:ext cx="11274552" cy="531873"/>
          </a:xfrm>
          <a:custGeom>
            <a:avLst/>
            <a:gdLst>
              <a:gd name="connsiteX0" fmla="*/ 7485885 w 11274552"/>
              <a:gd name="connsiteY0" fmla="*/ 0 h 531873"/>
              <a:gd name="connsiteX1" fmla="*/ 11274550 w 11274552"/>
              <a:gd name="connsiteY1" fmla="*/ 0 h 531873"/>
              <a:gd name="connsiteX2" fmla="*/ 11274550 w 11274552"/>
              <a:gd name="connsiteY2" fmla="*/ 239773 h 531873"/>
              <a:gd name="connsiteX3" fmla="*/ 11274552 w 11274552"/>
              <a:gd name="connsiteY3" fmla="*/ 239773 h 531873"/>
              <a:gd name="connsiteX4" fmla="*/ 11274552 w 11274552"/>
              <a:gd name="connsiteY4" fmla="*/ 531873 h 531873"/>
              <a:gd name="connsiteX5" fmla="*/ 0 w 11274552"/>
              <a:gd name="connsiteY5" fmla="*/ 531873 h 531873"/>
              <a:gd name="connsiteX6" fmla="*/ 0 w 11274552"/>
              <a:gd name="connsiteY6" fmla="*/ 531872 h 531873"/>
              <a:gd name="connsiteX7" fmla="*/ 4696667 w 11274552"/>
              <a:gd name="connsiteY7" fmla="*/ 531872 h 531873"/>
              <a:gd name="connsiteX8" fmla="*/ 4766807 w 11274552"/>
              <a:gd name="connsiteY8" fmla="*/ 239773 h 531873"/>
              <a:gd name="connsiteX9" fmla="*/ 7306229 w 11274552"/>
              <a:gd name="connsiteY9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1274552" h="531873">
                <a:moveTo>
                  <a:pt x="7485885" y="0"/>
                </a:moveTo>
                <a:lnTo>
                  <a:pt x="11274550" y="0"/>
                </a:lnTo>
                <a:lnTo>
                  <a:pt x="11274550" y="239773"/>
                </a:lnTo>
                <a:lnTo>
                  <a:pt x="11274552" y="239773"/>
                </a:lnTo>
                <a:lnTo>
                  <a:pt x="11274552" y="531873"/>
                </a:lnTo>
                <a:lnTo>
                  <a:pt x="0" y="531873"/>
                </a:lnTo>
                <a:lnTo>
                  <a:pt x="0" y="531872"/>
                </a:lnTo>
                <a:lnTo>
                  <a:pt x="4696667" y="531872"/>
                </a:lnTo>
                <a:lnTo>
                  <a:pt x="4766807" y="239773"/>
                </a:lnTo>
                <a:lnTo>
                  <a:pt x="7306229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900">
              <a:solidFill>
                <a:srgbClr val="FFFFFF"/>
              </a:solidFill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8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1" y="6553592"/>
            <a:ext cx="1482051" cy="115416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75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3" name="Picture 12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897" y="572658"/>
            <a:ext cx="1550283" cy="403326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BE0F91A7-44EA-507B-39AF-D58C0701FDD0}"/>
              </a:ext>
            </a:extLst>
          </p:cNvPr>
          <p:cNvSpPr txBox="1"/>
          <p:nvPr/>
        </p:nvSpPr>
        <p:spPr>
          <a:xfrm>
            <a:off x="11167872" y="6443508"/>
            <a:ext cx="38100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0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5" name="Copyright">
            <a:extLst>
              <a:ext uri="{FF2B5EF4-FFF2-40B4-BE49-F238E27FC236}">
                <a16:creationId xmlns:a16="http://schemas.microsoft.com/office/drawing/2014/main" id="{BF32664C-F84D-941B-B5B0-92A93F0F2799}"/>
              </a:ext>
            </a:extLst>
          </p:cNvPr>
          <p:cNvSpPr txBox="1"/>
          <p:nvPr/>
        </p:nvSpPr>
        <p:spPr>
          <a:xfrm rot="16200000">
            <a:off x="9486902" y="3934616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B104553D-7C2E-04BC-42DD-6AF13C047F3F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4460172" y="3407805"/>
            <a:ext cx="2694667" cy="3456551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26467103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Arrow two third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1301798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/>
        </p:nvSpPr>
        <p:spPr bwMode="white">
          <a:xfrm>
            <a:off x="1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750"/>
              </a:spcAft>
            </a:pPr>
            <a:endParaRPr lang="en-US" sz="9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000250" y="622802"/>
            <a:ext cx="4884247" cy="249299"/>
          </a:xfrm>
          <a:prstGeom prst="rect">
            <a:avLst/>
          </a:prstGeom>
        </p:spPr>
        <p:txBody>
          <a:bodyPr vert="horz"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1" name="Picture 10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90339" y="3589606"/>
            <a:ext cx="1365251" cy="3382962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Copyright" hidden="1"/>
          <p:cNvSpPr txBox="1"/>
          <p:nvPr/>
        </p:nvSpPr>
        <p:spPr>
          <a:xfrm rot="16200000">
            <a:off x="9486902" y="3533783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8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1" y="6553592"/>
            <a:ext cx="1482051" cy="115416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75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9" name="Freeform 8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/>
        </p:nvSpPr>
        <p:spPr>
          <a:xfrm>
            <a:off x="-2" y="6565900"/>
            <a:ext cx="7638827" cy="292100"/>
          </a:xfrm>
          <a:custGeom>
            <a:avLst/>
            <a:gdLst>
              <a:gd name="connsiteX0" fmla="*/ 0 w 7638826"/>
              <a:gd name="connsiteY0" fmla="*/ 0 h 292100"/>
              <a:gd name="connsiteX1" fmla="*/ 2925177 w 7638826"/>
              <a:gd name="connsiteY1" fmla="*/ 0 h 292100"/>
              <a:gd name="connsiteX2" fmla="*/ 6027750 w 7638826"/>
              <a:gd name="connsiteY2" fmla="*/ 0 h 292100"/>
              <a:gd name="connsiteX3" fmla="*/ 7638826 w 7638826"/>
              <a:gd name="connsiteY3" fmla="*/ 0 h 292100"/>
              <a:gd name="connsiteX4" fmla="*/ 7579009 w 7638826"/>
              <a:gd name="connsiteY4" fmla="*/ 292100 h 292100"/>
              <a:gd name="connsiteX5" fmla="*/ 5951257 w 7638826"/>
              <a:gd name="connsiteY5" fmla="*/ 292100 h 292100"/>
              <a:gd name="connsiteX6" fmla="*/ 2925177 w 7638826"/>
              <a:gd name="connsiteY6" fmla="*/ 292100 h 292100"/>
              <a:gd name="connsiteX7" fmla="*/ 0 w 7638826"/>
              <a:gd name="connsiteY7" fmla="*/ 292100 h 292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638826" h="292100">
                <a:moveTo>
                  <a:pt x="0" y="0"/>
                </a:moveTo>
                <a:lnTo>
                  <a:pt x="2925177" y="0"/>
                </a:lnTo>
                <a:lnTo>
                  <a:pt x="6027750" y="0"/>
                </a:lnTo>
                <a:lnTo>
                  <a:pt x="7638826" y="0"/>
                </a:lnTo>
                <a:lnTo>
                  <a:pt x="7579009" y="292100"/>
                </a:lnTo>
                <a:lnTo>
                  <a:pt x="5951257" y="292100"/>
                </a:lnTo>
                <a:lnTo>
                  <a:pt x="2925177" y="292100"/>
                </a:lnTo>
                <a:lnTo>
                  <a:pt x="0" y="292100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900">
              <a:solidFill>
                <a:srgbClr val="FFFFFF"/>
              </a:solidFill>
            </a:endParaRPr>
          </a:p>
        </p:txBody>
      </p:sp>
      <p:pic>
        <p:nvPicPr>
          <p:cNvPr id="13" name="Picture 12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897" y="574339"/>
            <a:ext cx="1550283" cy="400753"/>
          </a:xfrm>
          <a:prstGeom prst="rect">
            <a:avLst/>
          </a:prstGeom>
        </p:spPr>
      </p:pic>
      <p:sp>
        <p:nvSpPr>
          <p:cNvPr id="3" name="Freeform 18">
            <a:extLst>
              <a:ext uri="{FF2B5EF4-FFF2-40B4-BE49-F238E27FC236}">
                <a16:creationId xmlns:a16="http://schemas.microsoft.com/office/drawing/2014/main" id="{64377365-7521-4EE2-ACBE-6B0857855981}"/>
              </a:ext>
            </a:extLst>
          </p:cNvPr>
          <p:cNvSpPr/>
          <p:nvPr/>
        </p:nvSpPr>
        <p:spPr bwMode="white">
          <a:xfrm>
            <a:off x="1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750"/>
              </a:spcAft>
            </a:pPr>
            <a:endParaRPr lang="en-US" sz="9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5" name="Copyright">
            <a:extLst>
              <a:ext uri="{FF2B5EF4-FFF2-40B4-BE49-F238E27FC236}">
                <a16:creationId xmlns:a16="http://schemas.microsoft.com/office/drawing/2014/main" id="{EE089EE2-662F-F5CF-5C6D-97F42C23CB26}"/>
              </a:ext>
            </a:extLst>
          </p:cNvPr>
          <p:cNvSpPr txBox="1"/>
          <p:nvPr/>
        </p:nvSpPr>
        <p:spPr>
          <a:xfrm rot="16200000">
            <a:off x="9486902" y="3934616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CC0F3BFD-8C18-4F97-0DB1-551C34259783}"/>
              </a:ext>
            </a:extLst>
          </p:cNvPr>
          <p:cNvSpPr txBox="1"/>
          <p:nvPr/>
        </p:nvSpPr>
        <p:spPr>
          <a:xfrm>
            <a:off x="11167872" y="6443508"/>
            <a:ext cx="38100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E7D83F1F-EB94-4876-0290-06946D8E0EA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90339" y="3589606"/>
            <a:ext cx="1365251" cy="3382962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9517050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Green arrow half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791809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entagon 8"/>
          <p:cNvSpPr/>
          <p:nvPr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gradFill flip="none" rotWithShape="1">
            <a:gsLst>
              <a:gs pos="0">
                <a:srgbClr val="403F85"/>
              </a:gs>
              <a:gs pos="81000">
                <a:srgbClr val="ED1B24"/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2000250" y="622800"/>
            <a:ext cx="3303396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4460172" y="3407803"/>
            <a:ext cx="2694666" cy="3456551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10" name="Copyright" hidden="1"/>
          <p:cNvSpPr txBox="1"/>
          <p:nvPr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23" name="Freeform 22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/>
        </p:nvSpPr>
        <p:spPr>
          <a:xfrm>
            <a:off x="914400" y="6326127"/>
            <a:ext cx="11274552" cy="531873"/>
          </a:xfrm>
          <a:custGeom>
            <a:avLst/>
            <a:gdLst>
              <a:gd name="connsiteX0" fmla="*/ 7485885 w 11274552"/>
              <a:gd name="connsiteY0" fmla="*/ 0 h 531873"/>
              <a:gd name="connsiteX1" fmla="*/ 11274550 w 11274552"/>
              <a:gd name="connsiteY1" fmla="*/ 0 h 531873"/>
              <a:gd name="connsiteX2" fmla="*/ 11274550 w 11274552"/>
              <a:gd name="connsiteY2" fmla="*/ 239773 h 531873"/>
              <a:gd name="connsiteX3" fmla="*/ 11274552 w 11274552"/>
              <a:gd name="connsiteY3" fmla="*/ 239773 h 531873"/>
              <a:gd name="connsiteX4" fmla="*/ 11274552 w 11274552"/>
              <a:gd name="connsiteY4" fmla="*/ 531873 h 531873"/>
              <a:gd name="connsiteX5" fmla="*/ 0 w 11274552"/>
              <a:gd name="connsiteY5" fmla="*/ 531873 h 531873"/>
              <a:gd name="connsiteX6" fmla="*/ 0 w 11274552"/>
              <a:gd name="connsiteY6" fmla="*/ 531872 h 531873"/>
              <a:gd name="connsiteX7" fmla="*/ 4696667 w 11274552"/>
              <a:gd name="connsiteY7" fmla="*/ 531872 h 531873"/>
              <a:gd name="connsiteX8" fmla="*/ 4766807 w 11274552"/>
              <a:gd name="connsiteY8" fmla="*/ 239773 h 531873"/>
              <a:gd name="connsiteX9" fmla="*/ 7306229 w 11274552"/>
              <a:gd name="connsiteY9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1274552" h="531873">
                <a:moveTo>
                  <a:pt x="7485885" y="0"/>
                </a:moveTo>
                <a:lnTo>
                  <a:pt x="11274550" y="0"/>
                </a:lnTo>
                <a:lnTo>
                  <a:pt x="11274550" y="239773"/>
                </a:lnTo>
                <a:lnTo>
                  <a:pt x="11274552" y="239773"/>
                </a:lnTo>
                <a:lnTo>
                  <a:pt x="11274552" y="531873"/>
                </a:lnTo>
                <a:lnTo>
                  <a:pt x="0" y="531873"/>
                </a:lnTo>
                <a:lnTo>
                  <a:pt x="0" y="531872"/>
                </a:lnTo>
                <a:lnTo>
                  <a:pt x="4696667" y="531872"/>
                </a:lnTo>
                <a:lnTo>
                  <a:pt x="4766807" y="239773"/>
                </a:lnTo>
                <a:lnTo>
                  <a:pt x="7306229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48702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3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Green arrow two thir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6329123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/>
        </p:nvSpPr>
        <p:spPr bwMode="white">
          <a:xfrm>
            <a:off x="1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rgbClr val="403F85"/>
              </a:gs>
              <a:gs pos="81000">
                <a:srgbClr val="ED1B24"/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endParaRPr lang="en-US" sz="150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000250" y="622802"/>
            <a:ext cx="4884247" cy="249299"/>
          </a:xfrm>
          <a:prstGeom prst="rect">
            <a:avLst/>
          </a:prstGeom>
        </p:spPr>
        <p:txBody>
          <a:bodyPr vert="horz"/>
          <a:lstStyle>
            <a:lvl1pPr>
              <a:defRPr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6567628" y="3407805"/>
            <a:ext cx="2694667" cy="3456551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10" name="Copyright" hidden="1"/>
          <p:cNvSpPr txBox="1"/>
          <p:nvPr/>
        </p:nvSpPr>
        <p:spPr>
          <a:xfrm rot="16200000">
            <a:off x="9486902" y="3533783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5" name="Freeform 14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/>
        </p:nvSpPr>
        <p:spPr>
          <a:xfrm>
            <a:off x="70901" y="6326129"/>
            <a:ext cx="12118052" cy="531873"/>
          </a:xfrm>
          <a:custGeom>
            <a:avLst/>
            <a:gdLst>
              <a:gd name="connsiteX0" fmla="*/ 8329385 w 12118052"/>
              <a:gd name="connsiteY0" fmla="*/ 0 h 531873"/>
              <a:gd name="connsiteX1" fmla="*/ 12118050 w 12118052"/>
              <a:gd name="connsiteY1" fmla="*/ 0 h 531873"/>
              <a:gd name="connsiteX2" fmla="*/ 12118050 w 12118052"/>
              <a:gd name="connsiteY2" fmla="*/ 239773 h 531873"/>
              <a:gd name="connsiteX3" fmla="*/ 12118052 w 12118052"/>
              <a:gd name="connsiteY3" fmla="*/ 239773 h 531873"/>
              <a:gd name="connsiteX4" fmla="*/ 12118052 w 12118052"/>
              <a:gd name="connsiteY4" fmla="*/ 531873 h 531873"/>
              <a:gd name="connsiteX5" fmla="*/ 0 w 12118052"/>
              <a:gd name="connsiteY5" fmla="*/ 531873 h 531873"/>
              <a:gd name="connsiteX6" fmla="*/ 0 w 12118052"/>
              <a:gd name="connsiteY6" fmla="*/ 531872 h 531873"/>
              <a:gd name="connsiteX7" fmla="*/ 7645979 w 12118052"/>
              <a:gd name="connsiteY7" fmla="*/ 531872 h 531873"/>
              <a:gd name="connsiteX8" fmla="*/ 7714149 w 12118052"/>
              <a:gd name="connsiteY8" fmla="*/ 239773 h 531873"/>
              <a:gd name="connsiteX9" fmla="*/ 8149729 w 12118052"/>
              <a:gd name="connsiteY9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118052" h="531873">
                <a:moveTo>
                  <a:pt x="8329385" y="0"/>
                </a:moveTo>
                <a:lnTo>
                  <a:pt x="12118050" y="0"/>
                </a:lnTo>
                <a:lnTo>
                  <a:pt x="12118050" y="239773"/>
                </a:lnTo>
                <a:lnTo>
                  <a:pt x="12118052" y="239773"/>
                </a:lnTo>
                <a:lnTo>
                  <a:pt x="12118052" y="531873"/>
                </a:lnTo>
                <a:lnTo>
                  <a:pt x="0" y="531873"/>
                </a:lnTo>
                <a:lnTo>
                  <a:pt x="0" y="531872"/>
                </a:lnTo>
                <a:lnTo>
                  <a:pt x="7645979" y="531872"/>
                </a:lnTo>
                <a:lnTo>
                  <a:pt x="7714149" y="239773"/>
                </a:lnTo>
                <a:lnTo>
                  <a:pt x="8149729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900">
              <a:solidFill>
                <a:srgbClr val="FFFFFF"/>
              </a:solidFill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4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1" y="6553592"/>
            <a:ext cx="1482051" cy="115416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75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897" y="572658"/>
            <a:ext cx="1550283" cy="403326"/>
          </a:xfrm>
          <a:prstGeom prst="rect">
            <a:avLst/>
          </a:prstGeom>
        </p:spPr>
      </p:pic>
      <p:sp>
        <p:nvSpPr>
          <p:cNvPr id="3" name="Freeform 18">
            <a:extLst>
              <a:ext uri="{FF2B5EF4-FFF2-40B4-BE49-F238E27FC236}">
                <a16:creationId xmlns:a16="http://schemas.microsoft.com/office/drawing/2014/main" id="{6DE04650-7215-EC28-2E72-104D2838589D}"/>
              </a:ext>
            </a:extLst>
          </p:cNvPr>
          <p:cNvSpPr/>
          <p:nvPr/>
        </p:nvSpPr>
        <p:spPr bwMode="white">
          <a:xfrm>
            <a:off x="1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750"/>
              </a:spcAft>
            </a:pPr>
            <a:endParaRPr lang="en-US" sz="9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D78C671A-B090-DBFD-AA33-4F1825625ABA}"/>
              </a:ext>
            </a:extLst>
          </p:cNvPr>
          <p:cNvSpPr txBox="1"/>
          <p:nvPr/>
        </p:nvSpPr>
        <p:spPr>
          <a:xfrm>
            <a:off x="11167872" y="6443508"/>
            <a:ext cx="38100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0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6" name="Copyright">
            <a:extLst>
              <a:ext uri="{FF2B5EF4-FFF2-40B4-BE49-F238E27FC236}">
                <a16:creationId xmlns:a16="http://schemas.microsoft.com/office/drawing/2014/main" id="{6A2C9702-631D-8FA4-84DD-2003132D4E10}"/>
              </a:ext>
            </a:extLst>
          </p:cNvPr>
          <p:cNvSpPr txBox="1"/>
          <p:nvPr/>
        </p:nvSpPr>
        <p:spPr>
          <a:xfrm rot="16200000">
            <a:off x="9486902" y="3934616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A1A34403-B95D-D542-39E2-36DAF398F334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6567628" y="3407805"/>
            <a:ext cx="2694667" cy="3456551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499514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Big statement green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</p:spPr>
        <p:txBody>
          <a:bodyPr anchor="b">
            <a:noAutofit/>
          </a:bodyPr>
          <a:lstStyle>
            <a:lvl1pPr marL="0" algn="l" defTabSz="685800" rtl="0" eaLnBrk="1" fontAlgn="auto" latinLnBrk="0" hangingPunct="1">
              <a:lnSpc>
                <a:spcPts val="4500"/>
              </a:lnSpc>
              <a:spcBef>
                <a:spcPts val="0"/>
              </a:spcBef>
              <a:spcAft>
                <a:spcPts val="0"/>
              </a:spcAft>
              <a:defRPr lang="en-US" sz="4050" kern="1200" baseline="0" dirty="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sp>
        <p:nvSpPr>
          <p:cNvPr id="12" name="Copyright" hidden="1"/>
          <p:cNvSpPr txBox="1"/>
          <p:nvPr/>
        </p:nvSpPr>
        <p:spPr>
          <a:xfrm rot="16200000">
            <a:off x="9486902" y="3533783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5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1" y="6553592"/>
            <a:ext cx="1482051" cy="115416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75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897" y="572658"/>
            <a:ext cx="1550283" cy="403326"/>
          </a:xfrm>
          <a:prstGeom prst="rect">
            <a:avLst/>
          </a:prstGeom>
        </p:spPr>
      </p:pic>
      <p:sp>
        <p:nvSpPr>
          <p:cNvPr id="2" name="Copyright">
            <a:extLst>
              <a:ext uri="{FF2B5EF4-FFF2-40B4-BE49-F238E27FC236}">
                <a16:creationId xmlns:a16="http://schemas.microsoft.com/office/drawing/2014/main" id="{21B8CFB5-DEEC-1C1B-DA92-945AB9E9A19E}"/>
              </a:ext>
            </a:extLst>
          </p:cNvPr>
          <p:cNvSpPr txBox="1"/>
          <p:nvPr/>
        </p:nvSpPr>
        <p:spPr>
          <a:xfrm rot="16200000">
            <a:off x="9486902" y="3934616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F320EA7C-77E9-B18D-4B03-1D1BA9BB8244}"/>
              </a:ext>
            </a:extLst>
          </p:cNvPr>
          <p:cNvSpPr txBox="1"/>
          <p:nvPr/>
        </p:nvSpPr>
        <p:spPr>
          <a:xfrm>
            <a:off x="11167872" y="6443508"/>
            <a:ext cx="38100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6767078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Big statement ic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/>
        </p:nvSpPr>
        <p:spPr bwMode="white">
          <a:xfrm>
            <a:off x="630000" y="1435623"/>
            <a:ext cx="932688" cy="932688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9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  <a:prstGeom prst="rect">
            <a:avLst/>
          </a:prstGeom>
        </p:spPr>
        <p:txBody>
          <a:bodyPr vert="horz" anchor="b">
            <a:noAutofit/>
          </a:bodyPr>
          <a:lstStyle>
            <a:lvl1pPr marL="0" algn="l" defTabSz="685800" rtl="0" eaLnBrk="1" fontAlgn="auto" latinLnBrk="0" hangingPunct="1">
              <a:lnSpc>
                <a:spcPts val="4500"/>
              </a:lnSpc>
              <a:spcBef>
                <a:spcPts val="0"/>
              </a:spcBef>
              <a:spcAft>
                <a:spcPts val="0"/>
              </a:spcAft>
              <a:defRPr lang="en-US" sz="4050" kern="1200" baseline="0" dirty="0">
                <a:solidFill>
                  <a:srgbClr val="FF0000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sp>
        <p:nvSpPr>
          <p:cNvPr id="14" name="Copyright" hidden="1"/>
          <p:cNvSpPr txBox="1"/>
          <p:nvPr/>
        </p:nvSpPr>
        <p:spPr>
          <a:xfrm rot="16200000">
            <a:off x="9486902" y="3533783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5" name="Freeform: Shape 31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/>
        </p:nvSpPr>
        <p:spPr>
          <a:xfrm>
            <a:off x="0" y="6326129"/>
            <a:ext cx="12188952" cy="531873"/>
          </a:xfrm>
          <a:custGeom>
            <a:avLst/>
            <a:gdLst>
              <a:gd name="connsiteX0" fmla="*/ 8400285 w 12188952"/>
              <a:gd name="connsiteY0" fmla="*/ 0 h 531873"/>
              <a:gd name="connsiteX1" fmla="*/ 12188950 w 12188952"/>
              <a:gd name="connsiteY1" fmla="*/ 0 h 531873"/>
              <a:gd name="connsiteX2" fmla="*/ 12188950 w 12188952"/>
              <a:gd name="connsiteY2" fmla="*/ 239773 h 531873"/>
              <a:gd name="connsiteX3" fmla="*/ 12188952 w 12188952"/>
              <a:gd name="connsiteY3" fmla="*/ 239773 h 531873"/>
              <a:gd name="connsiteX4" fmla="*/ 12188952 w 12188952"/>
              <a:gd name="connsiteY4" fmla="*/ 531873 h 531873"/>
              <a:gd name="connsiteX5" fmla="*/ 0 w 12188952"/>
              <a:gd name="connsiteY5" fmla="*/ 531873 h 531873"/>
              <a:gd name="connsiteX6" fmla="*/ 0 w 12188952"/>
              <a:gd name="connsiteY6" fmla="*/ 239773 h 531873"/>
              <a:gd name="connsiteX7" fmla="*/ 8220629 w 12188952"/>
              <a:gd name="connsiteY7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88952" h="531873">
                <a:moveTo>
                  <a:pt x="8400285" y="0"/>
                </a:moveTo>
                <a:lnTo>
                  <a:pt x="12188950" y="0"/>
                </a:lnTo>
                <a:lnTo>
                  <a:pt x="12188950" y="239773"/>
                </a:lnTo>
                <a:lnTo>
                  <a:pt x="12188952" y="239773"/>
                </a:lnTo>
                <a:lnTo>
                  <a:pt x="12188952" y="531873"/>
                </a:lnTo>
                <a:lnTo>
                  <a:pt x="0" y="531873"/>
                </a:lnTo>
                <a:lnTo>
                  <a:pt x="0" y="239773"/>
                </a:lnTo>
                <a:lnTo>
                  <a:pt x="8220629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900">
              <a:solidFill>
                <a:srgbClr val="FFFFFF"/>
              </a:solidFill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1" y="6553592"/>
            <a:ext cx="1482051" cy="115416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75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" name="Copyright">
            <a:extLst>
              <a:ext uri="{FF2B5EF4-FFF2-40B4-BE49-F238E27FC236}">
                <a16:creationId xmlns:a16="http://schemas.microsoft.com/office/drawing/2014/main" id="{488641C7-040A-AD49-9BF0-025338A260D9}"/>
              </a:ext>
            </a:extLst>
          </p:cNvPr>
          <p:cNvSpPr txBox="1"/>
          <p:nvPr/>
        </p:nvSpPr>
        <p:spPr>
          <a:xfrm rot="16200000">
            <a:off x="9486902" y="3934616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E28128C3-639C-11E0-1928-828A8F26827A}"/>
              </a:ext>
            </a:extLst>
          </p:cNvPr>
          <p:cNvSpPr/>
          <p:nvPr/>
        </p:nvSpPr>
        <p:spPr bwMode="white">
          <a:xfrm>
            <a:off x="630000" y="625475"/>
            <a:ext cx="932688" cy="932688"/>
          </a:xfrm>
          <a:prstGeom prst="rect">
            <a:avLst/>
          </a:prstGeom>
          <a:noFill/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9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691485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Quot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34" b="1258"/>
          <a:stretch/>
        </p:blipFill>
        <p:spPr>
          <a:xfrm rot="16200000" flipH="1">
            <a:off x="6797462" y="101444"/>
            <a:ext cx="769257" cy="10019821"/>
          </a:xfrm>
          <a:custGeom>
            <a:avLst/>
            <a:gdLst>
              <a:gd name="connsiteX0" fmla="*/ 0 w 769257"/>
              <a:gd name="connsiteY0" fmla="*/ 0 h 10019821"/>
              <a:gd name="connsiteX1" fmla="*/ 0 w 769257"/>
              <a:gd name="connsiteY1" fmla="*/ 4631160 h 10019821"/>
              <a:gd name="connsiteX2" fmla="*/ 216750 w 769257"/>
              <a:gd name="connsiteY2" fmla="*/ 999646 h 10019821"/>
              <a:gd name="connsiteX3" fmla="*/ 197800 w 769257"/>
              <a:gd name="connsiteY3" fmla="*/ 10019821 h 10019821"/>
              <a:gd name="connsiteX4" fmla="*/ 769257 w 769257"/>
              <a:gd name="connsiteY4" fmla="*/ 10019821 h 10019821"/>
              <a:gd name="connsiteX5" fmla="*/ 769257 w 769257"/>
              <a:gd name="connsiteY5" fmla="*/ 0 h 10019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69257" h="10019821">
                <a:moveTo>
                  <a:pt x="0" y="0"/>
                </a:moveTo>
                <a:lnTo>
                  <a:pt x="0" y="4631160"/>
                </a:lnTo>
                <a:lnTo>
                  <a:pt x="216750" y="999646"/>
                </a:lnTo>
                <a:lnTo>
                  <a:pt x="197800" y="10019821"/>
                </a:lnTo>
                <a:lnTo>
                  <a:pt x="769257" y="10019821"/>
                </a:lnTo>
                <a:lnTo>
                  <a:pt x="769257" y="0"/>
                </a:lnTo>
                <a:close/>
              </a:path>
            </a:pathLst>
          </a:cu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2"/>
            <a:ext cx="12192000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sz="1350"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1" y="6553592"/>
            <a:ext cx="1482051" cy="115416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75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897" y="572658"/>
            <a:ext cx="1550283" cy="403326"/>
          </a:xfrm>
          <a:prstGeom prst="rect">
            <a:avLst/>
          </a:prstGeom>
        </p:spPr>
      </p:pic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BE85AD11-0130-A29C-EEA0-210404469E3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66580690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384" imgH="384" progId="TCLayout.ActiveDocument.1">
                  <p:embed/>
                </p:oleObj>
              </mc:Choice>
              <mc:Fallback>
                <p:oleObj name="think-cell Slide" r:id="rId8" imgW="384" imgH="38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BE85AD11-0130-A29C-EEA0-210404469E3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Box 3">
            <a:extLst>
              <a:ext uri="{FF2B5EF4-FFF2-40B4-BE49-F238E27FC236}">
                <a16:creationId xmlns:a16="http://schemas.microsoft.com/office/drawing/2014/main" id="{896367CF-4E2D-45C2-3003-5143EC78DC6D}"/>
              </a:ext>
            </a:extLst>
          </p:cNvPr>
          <p:cNvSpPr txBox="1"/>
          <p:nvPr/>
        </p:nvSpPr>
        <p:spPr>
          <a:xfrm>
            <a:off x="11167872" y="6443508"/>
            <a:ext cx="38100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FC8903A3-46A6-02BC-64AD-86D55F20E28B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34" b="1258"/>
          <a:stretch/>
        </p:blipFill>
        <p:spPr>
          <a:xfrm rot="16200000" flipH="1">
            <a:off x="6797462" y="101444"/>
            <a:ext cx="769257" cy="10019821"/>
          </a:xfrm>
          <a:custGeom>
            <a:avLst/>
            <a:gdLst>
              <a:gd name="connsiteX0" fmla="*/ 0 w 769257"/>
              <a:gd name="connsiteY0" fmla="*/ 0 h 10019821"/>
              <a:gd name="connsiteX1" fmla="*/ 0 w 769257"/>
              <a:gd name="connsiteY1" fmla="*/ 4631160 h 10019821"/>
              <a:gd name="connsiteX2" fmla="*/ 216750 w 769257"/>
              <a:gd name="connsiteY2" fmla="*/ 999646 h 10019821"/>
              <a:gd name="connsiteX3" fmla="*/ 197800 w 769257"/>
              <a:gd name="connsiteY3" fmla="*/ 10019821 h 10019821"/>
              <a:gd name="connsiteX4" fmla="*/ 769257 w 769257"/>
              <a:gd name="connsiteY4" fmla="*/ 10019821 h 10019821"/>
              <a:gd name="connsiteX5" fmla="*/ 769257 w 769257"/>
              <a:gd name="connsiteY5" fmla="*/ 0 h 10019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69257" h="10019821">
                <a:moveTo>
                  <a:pt x="0" y="0"/>
                </a:moveTo>
                <a:lnTo>
                  <a:pt x="0" y="4631160"/>
                </a:lnTo>
                <a:lnTo>
                  <a:pt x="216750" y="999646"/>
                </a:lnTo>
                <a:lnTo>
                  <a:pt x="197800" y="10019821"/>
                </a:lnTo>
                <a:lnTo>
                  <a:pt x="769257" y="10019821"/>
                </a:lnTo>
                <a:lnTo>
                  <a:pt x="769257" y="0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9838607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Special gray">
    <p:bg>
      <p:bgPr>
        <a:solidFill>
          <a:schemeClr val="tx1">
            <a:lumMod val="85000"/>
            <a:lumOff val="1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44277925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000250" y="622802"/>
            <a:ext cx="9562951" cy="249299"/>
          </a:xfrm>
        </p:spPr>
        <p:txBody>
          <a:bodyPr vert="horz"/>
          <a:lstStyle>
            <a:lvl1pPr>
              <a:defRPr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7" name="Copyright" hidden="1"/>
          <p:cNvSpPr txBox="1"/>
          <p:nvPr/>
        </p:nvSpPr>
        <p:spPr>
          <a:xfrm rot="16200000">
            <a:off x="9486902" y="3533783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1" y="6553592"/>
            <a:ext cx="1482051" cy="115416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75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897" y="572658"/>
            <a:ext cx="1550283" cy="403326"/>
          </a:xfrm>
          <a:prstGeom prst="rect">
            <a:avLst/>
          </a:prstGeom>
        </p:spPr>
      </p:pic>
      <p:sp>
        <p:nvSpPr>
          <p:cNvPr id="3" name="Copyright">
            <a:extLst>
              <a:ext uri="{FF2B5EF4-FFF2-40B4-BE49-F238E27FC236}">
                <a16:creationId xmlns:a16="http://schemas.microsoft.com/office/drawing/2014/main" id="{8FF62977-B5BC-0BD6-4CD0-049110C6520F}"/>
              </a:ext>
            </a:extLst>
          </p:cNvPr>
          <p:cNvSpPr txBox="1"/>
          <p:nvPr/>
        </p:nvSpPr>
        <p:spPr>
          <a:xfrm rot="16200000">
            <a:off x="9486902" y="3934616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7795659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Table of contents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Freeform 12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750"/>
              </a:spcAft>
            </a:pPr>
            <a:endParaRPr lang="en-US" sz="9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7" name="Freeform 12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750"/>
              </a:spcAft>
            </a:pPr>
            <a:endParaRPr lang="en-US" sz="9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630000" y="2821109"/>
            <a:ext cx="2819400" cy="127541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indent="0">
              <a:lnSpc>
                <a:spcPct val="106000"/>
              </a:lnSpc>
              <a:spcAft>
                <a:spcPts val="525"/>
              </a:spcAft>
              <a:buFontTx/>
              <a:buNone/>
            </a:pPr>
            <a:r>
              <a:rPr lang="en-US" sz="4050">
                <a:solidFill>
                  <a:srgbClr val="FF0000"/>
                </a:solidFill>
                <a:latin typeface="+mn-lt"/>
                <a:sym typeface="Trebuchet MS" panose="020B0603020202020204" pitchFamily="34" charset="0"/>
              </a:rPr>
              <a:t>Table of contents</a:t>
            </a:r>
          </a:p>
        </p:txBody>
      </p:sp>
      <p:pic>
        <p:nvPicPr>
          <p:cNvPr id="10" name="Picture 9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8637" y="3586748"/>
            <a:ext cx="1365251" cy="3382962"/>
          </a:xfrm>
          <a:custGeom>
            <a:avLst/>
            <a:gdLst>
              <a:gd name="connsiteX0" fmla="*/ 94280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28720 w 1365250"/>
              <a:gd name="connsiteY3" fmla="*/ 3382962 h 3382962"/>
              <a:gd name="connsiteX4" fmla="*/ 0 w 1365250"/>
              <a:gd name="connsiteY4" fmla="*/ 0 h 3382962"/>
              <a:gd name="connsiteX5" fmla="*/ 929501 w 1365250"/>
              <a:gd name="connsiteY5" fmla="*/ 0 h 3382962"/>
              <a:gd name="connsiteX6" fmla="*/ 0 w 1365250"/>
              <a:gd name="connsiteY6" fmla="*/ 2860398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65250" h="3382962">
                <a:moveTo>
                  <a:pt x="94280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28720" y="3382962"/>
                </a:lnTo>
                <a:close/>
                <a:moveTo>
                  <a:pt x="0" y="0"/>
                </a:moveTo>
                <a:lnTo>
                  <a:pt x="929501" y="0"/>
                </a:lnTo>
                <a:lnTo>
                  <a:pt x="0" y="2860398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Copyright" hidden="1"/>
          <p:cNvSpPr txBox="1"/>
          <p:nvPr/>
        </p:nvSpPr>
        <p:spPr>
          <a:xfrm rot="16200000">
            <a:off x="9486902" y="3533783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8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1" y="6553592"/>
            <a:ext cx="1482051" cy="115416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75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4" name="Freeform 13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/>
        </p:nvSpPr>
        <p:spPr>
          <a:xfrm>
            <a:off x="1" y="6565900"/>
            <a:ext cx="3266011" cy="292100"/>
          </a:xfrm>
          <a:custGeom>
            <a:avLst/>
            <a:gdLst>
              <a:gd name="connsiteX0" fmla="*/ 0 w 3266011"/>
              <a:gd name="connsiteY0" fmla="*/ 0 h 292100"/>
              <a:gd name="connsiteX1" fmla="*/ 3266011 w 3266011"/>
              <a:gd name="connsiteY1" fmla="*/ 0 h 292100"/>
              <a:gd name="connsiteX2" fmla="*/ 3195872 w 3266011"/>
              <a:gd name="connsiteY2" fmla="*/ 292100 h 292100"/>
              <a:gd name="connsiteX3" fmla="*/ 0 w 3266011"/>
              <a:gd name="connsiteY3" fmla="*/ 292100 h 292100"/>
              <a:gd name="connsiteX4" fmla="*/ 0 w 3266011"/>
              <a:gd name="connsiteY4" fmla="*/ 0 h 292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266011" h="292100">
                <a:moveTo>
                  <a:pt x="0" y="0"/>
                </a:moveTo>
                <a:lnTo>
                  <a:pt x="3266011" y="0"/>
                </a:lnTo>
                <a:lnTo>
                  <a:pt x="3195872" y="292100"/>
                </a:lnTo>
                <a:lnTo>
                  <a:pt x="0" y="292100"/>
                </a:lnTo>
                <a:lnTo>
                  <a:pt x="0" y="0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900">
              <a:solidFill>
                <a:srgbClr val="FFFFFF"/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897" y="574339"/>
            <a:ext cx="1550283" cy="400753"/>
          </a:xfrm>
          <a:prstGeom prst="rect">
            <a:avLst/>
          </a:prstGeom>
        </p:spPr>
      </p:pic>
      <p:sp>
        <p:nvSpPr>
          <p:cNvPr id="2" name="Freeform 12">
            <a:extLst>
              <a:ext uri="{FF2B5EF4-FFF2-40B4-BE49-F238E27FC236}">
                <a16:creationId xmlns:a16="http://schemas.microsoft.com/office/drawing/2014/main" id="{660CEC19-A2E6-A902-7812-804B7BBF3DB5}"/>
              </a:ext>
            </a:extLst>
          </p:cNvPr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750"/>
              </a:spcAft>
            </a:pPr>
            <a:endParaRPr lang="en-US" sz="9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0A855D91-8621-E504-AE41-711BDAA1DD08}"/>
              </a:ext>
            </a:extLst>
          </p:cNvPr>
          <p:cNvSpPr txBox="1"/>
          <p:nvPr/>
        </p:nvSpPr>
        <p:spPr>
          <a:xfrm>
            <a:off x="630000" y="2821109"/>
            <a:ext cx="2819400" cy="127541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indent="0">
              <a:lnSpc>
                <a:spcPct val="106000"/>
              </a:lnSpc>
              <a:spcAft>
                <a:spcPts val="525"/>
              </a:spcAft>
              <a:buFontTx/>
              <a:buNone/>
            </a:pPr>
            <a:r>
              <a:rPr lang="en-US" sz="4050">
                <a:solidFill>
                  <a:schemeClr val="tx2"/>
                </a:solidFill>
                <a:latin typeface="+mn-lt"/>
                <a:sym typeface="Trebuchet MS" panose="020B0603020202020204" pitchFamily="34" charset="0"/>
              </a:rPr>
              <a:t>Table of contents</a:t>
            </a:r>
          </a:p>
        </p:txBody>
      </p:sp>
      <p:sp>
        <p:nvSpPr>
          <p:cNvPr id="4" name="Copyright">
            <a:extLst>
              <a:ext uri="{FF2B5EF4-FFF2-40B4-BE49-F238E27FC236}">
                <a16:creationId xmlns:a16="http://schemas.microsoft.com/office/drawing/2014/main" id="{05EB6A92-845E-2178-4423-D2733CBFD8F9}"/>
              </a:ext>
            </a:extLst>
          </p:cNvPr>
          <p:cNvSpPr txBox="1"/>
          <p:nvPr/>
        </p:nvSpPr>
        <p:spPr>
          <a:xfrm rot="16200000">
            <a:off x="9486902" y="3934616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9788CD7-A19D-E88C-7A14-DC10A73C6EE4}"/>
              </a:ext>
            </a:extLst>
          </p:cNvPr>
          <p:cNvSpPr txBox="1"/>
          <p:nvPr/>
        </p:nvSpPr>
        <p:spPr>
          <a:xfrm>
            <a:off x="11167872" y="6443508"/>
            <a:ext cx="38100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9FD51FDB-F019-D949-A3CC-730599ABB14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8637" y="3586748"/>
            <a:ext cx="1365251" cy="3382962"/>
          </a:xfrm>
          <a:custGeom>
            <a:avLst/>
            <a:gdLst>
              <a:gd name="connsiteX0" fmla="*/ 94280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28720 w 1365250"/>
              <a:gd name="connsiteY3" fmla="*/ 3382962 h 3382962"/>
              <a:gd name="connsiteX4" fmla="*/ 0 w 1365250"/>
              <a:gd name="connsiteY4" fmla="*/ 0 h 3382962"/>
              <a:gd name="connsiteX5" fmla="*/ 929501 w 1365250"/>
              <a:gd name="connsiteY5" fmla="*/ 0 h 3382962"/>
              <a:gd name="connsiteX6" fmla="*/ 0 w 1365250"/>
              <a:gd name="connsiteY6" fmla="*/ 2860398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65250" h="3382962">
                <a:moveTo>
                  <a:pt x="94280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28720" y="3382962"/>
                </a:lnTo>
                <a:close/>
                <a:moveTo>
                  <a:pt x="0" y="0"/>
                </a:moveTo>
                <a:lnTo>
                  <a:pt x="929501" y="0"/>
                </a:lnTo>
                <a:lnTo>
                  <a:pt x="0" y="2860398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18516568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Blank green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pyright" hidden="1"/>
          <p:cNvSpPr txBox="1"/>
          <p:nvPr/>
        </p:nvSpPr>
        <p:spPr>
          <a:xfrm rot="16200000">
            <a:off x="9486902" y="3533783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1" y="6553592"/>
            <a:ext cx="1482051" cy="115416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75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897" y="572658"/>
            <a:ext cx="1550283" cy="403326"/>
          </a:xfrm>
          <a:prstGeom prst="rect">
            <a:avLst/>
          </a:prstGeom>
        </p:spPr>
      </p:pic>
      <p:sp>
        <p:nvSpPr>
          <p:cNvPr id="2" name="Copyright">
            <a:extLst>
              <a:ext uri="{FF2B5EF4-FFF2-40B4-BE49-F238E27FC236}">
                <a16:creationId xmlns:a16="http://schemas.microsoft.com/office/drawing/2014/main" id="{A9965786-BC2B-CEC8-A7E2-620E37C00C35}"/>
              </a:ext>
            </a:extLst>
          </p:cNvPr>
          <p:cNvSpPr txBox="1"/>
          <p:nvPr/>
        </p:nvSpPr>
        <p:spPr>
          <a:xfrm rot="16200000">
            <a:off x="9486902" y="3934616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3C9DCF23-757F-01EC-8CEE-3A0D8EC12196}"/>
              </a:ext>
            </a:extLst>
          </p:cNvPr>
          <p:cNvSpPr txBox="1"/>
          <p:nvPr/>
        </p:nvSpPr>
        <p:spPr>
          <a:xfrm>
            <a:off x="11167872" y="6443508"/>
            <a:ext cx="38100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7888307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pyright" hidden="1"/>
          <p:cNvSpPr txBox="1"/>
          <p:nvPr/>
        </p:nvSpPr>
        <p:spPr>
          <a:xfrm rot="16200000">
            <a:off x="9486902" y="3533783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4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1" y="6553592"/>
            <a:ext cx="1482051" cy="115416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75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" name="Copyright">
            <a:extLst>
              <a:ext uri="{FF2B5EF4-FFF2-40B4-BE49-F238E27FC236}">
                <a16:creationId xmlns:a16="http://schemas.microsoft.com/office/drawing/2014/main" id="{77415287-7889-2DD2-F40F-C52848B23B81}"/>
              </a:ext>
            </a:extLst>
          </p:cNvPr>
          <p:cNvSpPr txBox="1"/>
          <p:nvPr/>
        </p:nvSpPr>
        <p:spPr>
          <a:xfrm rot="16200000">
            <a:off x="9486902" y="3934616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6928716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Copyright" hidden="1"/>
          <p:cNvSpPr txBox="1"/>
          <p:nvPr/>
        </p:nvSpPr>
        <p:spPr>
          <a:xfrm rot="16200000">
            <a:off x="9486902" y="3533783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1" y="6553592"/>
            <a:ext cx="1482051" cy="115416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75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" name="Copyright">
            <a:extLst>
              <a:ext uri="{FF2B5EF4-FFF2-40B4-BE49-F238E27FC236}">
                <a16:creationId xmlns:a16="http://schemas.microsoft.com/office/drawing/2014/main" id="{83E218B1-6E6A-2658-6005-AE67F6ADFA4F}"/>
              </a:ext>
            </a:extLst>
          </p:cNvPr>
          <p:cNvSpPr txBox="1"/>
          <p:nvPr/>
        </p:nvSpPr>
        <p:spPr>
          <a:xfrm rot="16200000">
            <a:off x="9486902" y="3934616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7176366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D.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5"/>
          <a:srcRect l="1079" t="8722" r="1079" b="8722"/>
          <a:stretch/>
        </p:blipFill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</p:spPr>
      </p:pic>
      <p:sp>
        <p:nvSpPr>
          <p:cNvPr id="11" name="Rectangle 10"/>
          <p:cNvSpPr/>
          <p:nvPr/>
        </p:nvSpPr>
        <p:spPr bwMode="black">
          <a:xfrm>
            <a:off x="630936" y="626200"/>
            <a:ext cx="8125200" cy="5529600"/>
          </a:xfrm>
          <a:prstGeom prst="rect">
            <a:avLst/>
          </a:prstGeom>
          <a:gradFill flip="none" rotWithShape="1">
            <a:gsLst>
              <a:gs pos="0">
                <a:srgbClr val="EF2427">
                  <a:shade val="30000"/>
                  <a:satMod val="115000"/>
                  <a:alpha val="76000"/>
                </a:srgbClr>
              </a:gs>
              <a:gs pos="100000">
                <a:srgbClr val="ED1B24">
                  <a:alpha val="61000"/>
                </a:srgb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endParaRPr lang="en-US" sz="150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62329" y="2992639"/>
            <a:ext cx="3062417" cy="7967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937027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rrow two third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359547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2000250" y="622800"/>
            <a:ext cx="488655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FF000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pic>
        <p:nvPicPr>
          <p:cNvPr id="16" name="Picture 15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90339" y="3589606"/>
            <a:ext cx="1365250" cy="3382962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Copyright" hidden="1"/>
          <p:cNvSpPr txBox="1"/>
          <p:nvPr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0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3" name="Freeform 22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/>
        </p:nvSpPr>
        <p:spPr>
          <a:xfrm>
            <a:off x="-1" y="6565900"/>
            <a:ext cx="7638826" cy="292100"/>
          </a:xfrm>
          <a:custGeom>
            <a:avLst/>
            <a:gdLst>
              <a:gd name="connsiteX0" fmla="*/ 0 w 7638826"/>
              <a:gd name="connsiteY0" fmla="*/ 0 h 292100"/>
              <a:gd name="connsiteX1" fmla="*/ 2925177 w 7638826"/>
              <a:gd name="connsiteY1" fmla="*/ 0 h 292100"/>
              <a:gd name="connsiteX2" fmla="*/ 6027750 w 7638826"/>
              <a:gd name="connsiteY2" fmla="*/ 0 h 292100"/>
              <a:gd name="connsiteX3" fmla="*/ 7638826 w 7638826"/>
              <a:gd name="connsiteY3" fmla="*/ 0 h 292100"/>
              <a:gd name="connsiteX4" fmla="*/ 7579009 w 7638826"/>
              <a:gd name="connsiteY4" fmla="*/ 292100 h 292100"/>
              <a:gd name="connsiteX5" fmla="*/ 5951257 w 7638826"/>
              <a:gd name="connsiteY5" fmla="*/ 292100 h 292100"/>
              <a:gd name="connsiteX6" fmla="*/ 2925177 w 7638826"/>
              <a:gd name="connsiteY6" fmla="*/ 292100 h 292100"/>
              <a:gd name="connsiteX7" fmla="*/ 0 w 7638826"/>
              <a:gd name="connsiteY7" fmla="*/ 292100 h 292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638826" h="292100">
                <a:moveTo>
                  <a:pt x="0" y="0"/>
                </a:moveTo>
                <a:lnTo>
                  <a:pt x="2925177" y="0"/>
                </a:lnTo>
                <a:lnTo>
                  <a:pt x="6027750" y="0"/>
                </a:lnTo>
                <a:lnTo>
                  <a:pt x="7638826" y="0"/>
                </a:lnTo>
                <a:lnTo>
                  <a:pt x="7579009" y="292100"/>
                </a:lnTo>
                <a:lnTo>
                  <a:pt x="5951257" y="292100"/>
                </a:lnTo>
                <a:lnTo>
                  <a:pt x="2925177" y="292100"/>
                </a:lnTo>
                <a:lnTo>
                  <a:pt x="0" y="292100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  <p:sp>
        <p:nvSpPr>
          <p:cNvPr id="2" name="Textfeld 1">
            <a:extLst>
              <a:ext uri="{FF2B5EF4-FFF2-40B4-BE49-F238E27FC236}">
                <a16:creationId xmlns:a16="http://schemas.microsoft.com/office/drawing/2014/main" id="{F38E1213-A213-40A1-66F7-BB56471B568E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3581400" y="159413"/>
            <a:ext cx="5029200" cy="323165"/>
          </a:xfrm>
          <a:prstGeom prst="rect">
            <a:avLst/>
          </a:prstGeom>
          <a:pattFill>
            <a:fgClr>
              <a:srgbClr val="EEA632"/>
            </a:fgClr>
            <a:bgClr>
              <a:srgbClr val="EEA632"/>
            </a:bgClr>
          </a:pattFill>
          <a:ln w="9525" cap="rnd">
            <a:solidFill>
              <a:srgbClr val="575757"/>
            </a:solidFill>
            <a:prstDash val="solid"/>
          </a:ln>
        </p:spPr>
        <p:txBody>
          <a:bodyPr vert="horz" wrap="square" lIns="36576" tIns="36576" rIns="36576" bIns="36576" rtlCol="0" anchor="t">
            <a:sp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en-US" b="1">
                <a:solidFill>
                  <a:srgbClr val="000000"/>
                </a:solidFill>
                <a:sym typeface="Trebuchet MS" panose="020B0603020202020204" pitchFamily="34" charset="0"/>
              </a:rPr>
              <a:t>Draft document – Pre-read</a:t>
            </a:r>
          </a:p>
        </p:txBody>
      </p:sp>
    </p:spTree>
    <p:extLst>
      <p:ext uri="{BB962C8B-B14F-4D97-AF65-F5344CB8AC3E}">
        <p14:creationId xmlns:p14="http://schemas.microsoft.com/office/powerpoint/2010/main" val="247765930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8" name="Group 47"/>
          <p:cNvGrpSpPr/>
          <p:nvPr/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sp>
          <p:nvSpPr>
            <p:cNvPr id="49" name="Freeform 48"/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5678521 h 6858000"/>
                <a:gd name="connsiteX2" fmla="*/ 629400 w 12193200"/>
                <a:gd name="connsiteY2" fmla="*/ 5678521 h 6858000"/>
                <a:gd name="connsiteX3" fmla="*/ 629400 w 12193200"/>
                <a:gd name="connsiteY3" fmla="*/ 6583680 h 6858000"/>
                <a:gd name="connsiteX4" fmla="*/ 11562600 w 12193200"/>
                <a:gd name="connsiteY4" fmla="*/ 6583680 h 6858000"/>
                <a:gd name="connsiteX5" fmla="*/ 11562600 w 12193200"/>
                <a:gd name="connsiteY5" fmla="*/ 5678521 h 6858000"/>
                <a:gd name="connsiteX6" fmla="*/ 11562000 w 12193200"/>
                <a:gd name="connsiteY6" fmla="*/ 5678521 h 6858000"/>
                <a:gd name="connsiteX7" fmla="*/ 11562000 w 12193200"/>
                <a:gd name="connsiteY7" fmla="*/ 622800 h 6858000"/>
                <a:gd name="connsiteX8" fmla="*/ 0 w 12193200"/>
                <a:gd name="connsiteY8" fmla="*/ 0 h 6858000"/>
                <a:gd name="connsiteX9" fmla="*/ 12193200 w 12193200"/>
                <a:gd name="connsiteY9" fmla="*/ 0 h 6858000"/>
                <a:gd name="connsiteX10" fmla="*/ 12193200 w 12193200"/>
                <a:gd name="connsiteY10" fmla="*/ 622800 h 6858000"/>
                <a:gd name="connsiteX11" fmla="*/ 12192000 w 12193200"/>
                <a:gd name="connsiteY11" fmla="*/ 622800 h 6858000"/>
                <a:gd name="connsiteX12" fmla="*/ 12192000 w 12193200"/>
                <a:gd name="connsiteY12" fmla="*/ 6160597 h 6858000"/>
                <a:gd name="connsiteX13" fmla="*/ 12193200 w 12193200"/>
                <a:gd name="connsiteY13" fmla="*/ 6160597 h 6858000"/>
                <a:gd name="connsiteX14" fmla="*/ 12193200 w 12193200"/>
                <a:gd name="connsiteY14" fmla="*/ 6858000 h 6858000"/>
                <a:gd name="connsiteX15" fmla="*/ 12192000 w 12193200"/>
                <a:gd name="connsiteY15" fmla="*/ 6858000 h 6858000"/>
                <a:gd name="connsiteX16" fmla="*/ 11562000 w 12193200"/>
                <a:gd name="connsiteY16" fmla="*/ 6858000 h 6858000"/>
                <a:gd name="connsiteX17" fmla="*/ 630001 w 12193200"/>
                <a:gd name="connsiteY17" fmla="*/ 6858000 h 6858000"/>
                <a:gd name="connsiteX18" fmla="*/ 1 w 12193200"/>
                <a:gd name="connsiteY18" fmla="*/ 6858000 h 6858000"/>
                <a:gd name="connsiteX19" fmla="*/ 1 w 12193200"/>
                <a:gd name="connsiteY19" fmla="*/ 6160597 h 6858000"/>
                <a:gd name="connsiteX20" fmla="*/ 1 w 12193200"/>
                <a:gd name="connsiteY20" fmla="*/ 622800 h 6858000"/>
                <a:gd name="connsiteX21" fmla="*/ 0 w 12193200"/>
                <a:gd name="connsiteY21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5678521"/>
                  </a:lnTo>
                  <a:lnTo>
                    <a:pt x="629400" y="5678521"/>
                  </a:lnTo>
                  <a:lnTo>
                    <a:pt x="629400" y="6583680"/>
                  </a:lnTo>
                  <a:lnTo>
                    <a:pt x="11562600" y="6583680"/>
                  </a:lnTo>
                  <a:lnTo>
                    <a:pt x="11562600" y="5678521"/>
                  </a:lnTo>
                  <a:lnTo>
                    <a:pt x="11562000" y="5678521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chemeClr val="accent4">
                <a:lumMod val="20000"/>
                <a:lumOff val="80000"/>
                <a:alpha val="57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350">
                <a:solidFill>
                  <a:schemeClr val="tx1"/>
                </a:solidFill>
              </a:endParaRPr>
            </a:p>
          </p:txBody>
        </p:sp>
        <p:grpSp>
          <p:nvGrpSpPr>
            <p:cNvPr id="50" name="Group 49"/>
            <p:cNvGrpSpPr/>
            <p:nvPr/>
          </p:nvGrpSpPr>
          <p:grpSpPr>
            <a:xfrm>
              <a:off x="-600" y="622800"/>
              <a:ext cx="12193200" cy="5055720"/>
              <a:chOff x="-600" y="622800"/>
              <a:chExt cx="12193200" cy="5055720"/>
            </a:xfrm>
          </p:grpSpPr>
          <p:cxnSp>
            <p:nvCxnSpPr>
              <p:cNvPr id="74" name="Straight Connector 73"/>
              <p:cNvCxnSpPr/>
              <p:nvPr/>
            </p:nvCxnSpPr>
            <p:spPr>
              <a:xfrm>
                <a:off x="-600" y="622800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5" name="Straight Connector 74"/>
              <p:cNvCxnSpPr/>
              <p:nvPr/>
            </p:nvCxnSpPr>
            <p:spPr>
              <a:xfrm>
                <a:off x="-600" y="920195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6" name="Straight Connector 75"/>
              <p:cNvCxnSpPr/>
              <p:nvPr/>
            </p:nvCxnSpPr>
            <p:spPr>
              <a:xfrm>
                <a:off x="-600" y="1217590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7" name="Straight Connector 76"/>
              <p:cNvCxnSpPr/>
              <p:nvPr/>
            </p:nvCxnSpPr>
            <p:spPr>
              <a:xfrm>
                <a:off x="-600" y="1514985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8" name="Straight Connector 77"/>
              <p:cNvCxnSpPr/>
              <p:nvPr/>
            </p:nvCxnSpPr>
            <p:spPr>
              <a:xfrm>
                <a:off x="-600" y="1812380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9" name="Straight Connector 78"/>
              <p:cNvCxnSpPr/>
              <p:nvPr/>
            </p:nvCxnSpPr>
            <p:spPr>
              <a:xfrm>
                <a:off x="-600" y="2109775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0" name="Straight Connector 79"/>
              <p:cNvCxnSpPr/>
              <p:nvPr/>
            </p:nvCxnSpPr>
            <p:spPr>
              <a:xfrm>
                <a:off x="-600" y="2407170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1" name="Straight Connector 80"/>
              <p:cNvCxnSpPr/>
              <p:nvPr/>
            </p:nvCxnSpPr>
            <p:spPr>
              <a:xfrm>
                <a:off x="-600" y="2704565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2" name="Straight Connector 81"/>
              <p:cNvCxnSpPr/>
              <p:nvPr/>
            </p:nvCxnSpPr>
            <p:spPr>
              <a:xfrm>
                <a:off x="-600" y="3001960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3" name="Straight Connector 82"/>
              <p:cNvCxnSpPr/>
              <p:nvPr/>
            </p:nvCxnSpPr>
            <p:spPr>
              <a:xfrm>
                <a:off x="-600" y="3299355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4" name="Straight Connector 83"/>
              <p:cNvCxnSpPr/>
              <p:nvPr/>
            </p:nvCxnSpPr>
            <p:spPr>
              <a:xfrm>
                <a:off x="-600" y="3596750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5" name="Straight Connector 84"/>
              <p:cNvCxnSpPr/>
              <p:nvPr/>
            </p:nvCxnSpPr>
            <p:spPr>
              <a:xfrm>
                <a:off x="-600" y="3894145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6" name="Straight Connector 85"/>
              <p:cNvCxnSpPr/>
              <p:nvPr/>
            </p:nvCxnSpPr>
            <p:spPr>
              <a:xfrm>
                <a:off x="-600" y="4191540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7" name="Straight Connector 86"/>
              <p:cNvCxnSpPr/>
              <p:nvPr/>
            </p:nvCxnSpPr>
            <p:spPr>
              <a:xfrm>
                <a:off x="-600" y="4488935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8" name="Straight Connector 87"/>
              <p:cNvCxnSpPr/>
              <p:nvPr/>
            </p:nvCxnSpPr>
            <p:spPr>
              <a:xfrm>
                <a:off x="-600" y="4786330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9" name="Straight Connector 88"/>
              <p:cNvCxnSpPr/>
              <p:nvPr/>
            </p:nvCxnSpPr>
            <p:spPr>
              <a:xfrm>
                <a:off x="-600" y="5083725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0" name="Straight Connector 89"/>
              <p:cNvCxnSpPr/>
              <p:nvPr/>
            </p:nvCxnSpPr>
            <p:spPr>
              <a:xfrm>
                <a:off x="-600" y="5381120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1" name="Straight Connector 90"/>
              <p:cNvCxnSpPr/>
              <p:nvPr/>
            </p:nvCxnSpPr>
            <p:spPr>
              <a:xfrm>
                <a:off x="-600" y="5678520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1" name="Group 50"/>
            <p:cNvGrpSpPr/>
            <p:nvPr/>
          </p:nvGrpSpPr>
          <p:grpSpPr>
            <a:xfrm>
              <a:off x="629400" y="623550"/>
              <a:ext cx="10933200" cy="5054970"/>
              <a:chOff x="629400" y="623550"/>
              <a:chExt cx="10933200" cy="5537047"/>
            </a:xfrm>
          </p:grpSpPr>
          <p:sp>
            <p:nvSpPr>
              <p:cNvPr id="58" name="Rectangle 34"/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59" name="Rectangle 35"/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60" name="Rectangle 36"/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61" name="Rectangle 37"/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62" name="Rectangle 38"/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63" name="Rectangle 39"/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64" name="Rectangle 40"/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65" name="Rectangle 41"/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66" name="Rectangle 42"/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67" name="Rectangle 43"/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68" name="Rectangle 44"/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69" name="Rectangle 5"/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70" name="Rectangle 7"/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71" name="Rectangle 9"/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72" name="Rectangle 11"/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73" name="Rectangle 13"/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</p:grpSp>
        <p:grpSp>
          <p:nvGrpSpPr>
            <p:cNvPr id="52" name="Group 51"/>
            <p:cNvGrpSpPr/>
            <p:nvPr/>
          </p:nvGrpSpPr>
          <p:grpSpPr>
            <a:xfrm>
              <a:off x="-600" y="0"/>
              <a:ext cx="12193200" cy="6858000"/>
              <a:chOff x="-600" y="0"/>
              <a:chExt cx="12193200" cy="6858000"/>
            </a:xfrm>
          </p:grpSpPr>
          <p:sp>
            <p:nvSpPr>
              <p:cNvPr id="53" name="Slide edges"/>
              <p:cNvSpPr>
                <a:spLocks/>
              </p:cNvSpPr>
              <p:nvPr/>
            </p:nvSpPr>
            <p:spPr bwMode="auto">
              <a:xfrm>
                <a:off x="-600" y="0"/>
                <a:ext cx="12193200" cy="6858000"/>
              </a:xfrm>
              <a:custGeom>
                <a:avLst/>
                <a:gdLst>
                  <a:gd name="T0" fmla="*/ 6024 w 6026"/>
                  <a:gd name="T1" fmla="*/ 3394 h 3396"/>
                  <a:gd name="T2" fmla="*/ 6024 w 6026"/>
                  <a:gd name="T3" fmla="*/ 3391 h 3396"/>
                  <a:gd name="T4" fmla="*/ 5 w 6026"/>
                  <a:gd name="T5" fmla="*/ 3391 h 3396"/>
                  <a:gd name="T6" fmla="*/ 5 w 6026"/>
                  <a:gd name="T7" fmla="*/ 5 h 3396"/>
                  <a:gd name="T8" fmla="*/ 6021 w 6026"/>
                  <a:gd name="T9" fmla="*/ 5 h 3396"/>
                  <a:gd name="T10" fmla="*/ 6021 w 6026"/>
                  <a:gd name="T11" fmla="*/ 3394 h 3396"/>
                  <a:gd name="T12" fmla="*/ 6024 w 6026"/>
                  <a:gd name="T13" fmla="*/ 3394 h 3396"/>
                  <a:gd name="T14" fmla="*/ 6024 w 6026"/>
                  <a:gd name="T15" fmla="*/ 3391 h 3396"/>
                  <a:gd name="T16" fmla="*/ 6024 w 6026"/>
                  <a:gd name="T17" fmla="*/ 3394 h 3396"/>
                  <a:gd name="T18" fmla="*/ 6026 w 6026"/>
                  <a:gd name="T19" fmla="*/ 3394 h 3396"/>
                  <a:gd name="T20" fmla="*/ 6026 w 6026"/>
                  <a:gd name="T21" fmla="*/ 0 h 3396"/>
                  <a:gd name="T22" fmla="*/ 0 w 6026"/>
                  <a:gd name="T23" fmla="*/ 0 h 3396"/>
                  <a:gd name="T24" fmla="*/ 0 w 6026"/>
                  <a:gd name="T25" fmla="*/ 3396 h 3396"/>
                  <a:gd name="T26" fmla="*/ 6026 w 6026"/>
                  <a:gd name="T27" fmla="*/ 3396 h 3396"/>
                  <a:gd name="T28" fmla="*/ 6026 w 6026"/>
                  <a:gd name="T29" fmla="*/ 3394 h 3396"/>
                  <a:gd name="T30" fmla="*/ 6024 w 6026"/>
                  <a:gd name="T31" fmla="*/ 3394 h 33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6026" h="3396">
                    <a:moveTo>
                      <a:pt x="6024" y="3394"/>
                    </a:moveTo>
                    <a:lnTo>
                      <a:pt x="6024" y="3391"/>
                    </a:lnTo>
                    <a:lnTo>
                      <a:pt x="5" y="3391"/>
                    </a:lnTo>
                    <a:lnTo>
                      <a:pt x="5" y="5"/>
                    </a:lnTo>
                    <a:lnTo>
                      <a:pt x="6021" y="5"/>
                    </a:lnTo>
                    <a:lnTo>
                      <a:pt x="6021" y="3394"/>
                    </a:lnTo>
                    <a:lnTo>
                      <a:pt x="6024" y="3394"/>
                    </a:lnTo>
                    <a:lnTo>
                      <a:pt x="6024" y="3391"/>
                    </a:lnTo>
                    <a:lnTo>
                      <a:pt x="6024" y="3394"/>
                    </a:lnTo>
                    <a:lnTo>
                      <a:pt x="6026" y="3394"/>
                    </a:lnTo>
                    <a:lnTo>
                      <a:pt x="6026" y="0"/>
                    </a:lnTo>
                    <a:lnTo>
                      <a:pt x="0" y="0"/>
                    </a:lnTo>
                    <a:lnTo>
                      <a:pt x="0" y="3396"/>
                    </a:lnTo>
                    <a:lnTo>
                      <a:pt x="6026" y="3396"/>
                    </a:lnTo>
                    <a:lnTo>
                      <a:pt x="6026" y="3394"/>
                    </a:lnTo>
                    <a:lnTo>
                      <a:pt x="6024" y="3394"/>
                    </a:lnTo>
                    <a:close/>
                  </a:path>
                </a:pathLst>
              </a:custGeom>
              <a:solidFill>
                <a:schemeClr val="accent5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1200" cap="none" spc="0" normalizeH="0" baseline="0" noProof="0">
                  <a:ln>
                    <a:noFill/>
                  </a:ln>
                  <a:solidFill>
                    <a:srgbClr val="575757"/>
                  </a:solidFill>
                  <a:effectLst/>
                  <a:uLnTx/>
                  <a:uFillTx/>
                  <a:ea typeface="+mn-ea"/>
                  <a:cs typeface="+mn-cs"/>
                </a:endParaRPr>
              </a:p>
            </p:txBody>
          </p:sp>
          <p:sp>
            <p:nvSpPr>
              <p:cNvPr id="54" name="Footnote measure"/>
              <p:cNvSpPr>
                <a:spLocks noChangeArrowheads="1"/>
              </p:cNvSpPr>
              <p:nvPr/>
            </p:nvSpPr>
            <p:spPr bwMode="auto">
              <a:xfrm>
                <a:off x="629400" y="5678521"/>
                <a:ext cx="10933200" cy="905159"/>
              </a:xfrm>
              <a:prstGeom prst="rect">
                <a:avLst/>
              </a:prstGeom>
              <a:solidFill>
                <a:schemeClr val="accent3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55" name="Whitespace measure"/>
              <p:cNvSpPr>
                <a:spLocks noChangeArrowheads="1"/>
              </p:cNvSpPr>
              <p:nvPr/>
            </p:nvSpPr>
            <p:spPr bwMode="auto">
              <a:xfrm>
                <a:off x="629400" y="1514985"/>
                <a:ext cx="10932229" cy="594790"/>
              </a:xfrm>
              <a:prstGeom prst="rect">
                <a:avLst/>
              </a:prstGeom>
              <a:solidFill>
                <a:schemeClr val="accent3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56" name="Live area"/>
              <p:cNvSpPr/>
              <p:nvPr/>
            </p:nvSpPr>
            <p:spPr>
              <a:xfrm>
                <a:off x="629400" y="2109775"/>
                <a:ext cx="10933200" cy="3568747"/>
              </a:xfrm>
              <a:custGeom>
                <a:avLst/>
                <a:gdLst>
                  <a:gd name="connsiteX0" fmla="*/ 0 w 10931999"/>
                  <a:gd name="connsiteY0" fmla="*/ 0 h 5537797"/>
                  <a:gd name="connsiteX1" fmla="*/ 10931999 w 10931999"/>
                  <a:gd name="connsiteY1" fmla="*/ 0 h 5537797"/>
                  <a:gd name="connsiteX2" fmla="*/ 10931999 w 10931999"/>
                  <a:gd name="connsiteY2" fmla="*/ 5537797 h 5537797"/>
                  <a:gd name="connsiteX3" fmla="*/ 0 w 10931999"/>
                  <a:gd name="connsiteY3" fmla="*/ 5537797 h 55377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0931999" h="5537797">
                    <a:moveTo>
                      <a:pt x="0" y="0"/>
                    </a:moveTo>
                    <a:lnTo>
                      <a:pt x="10931999" y="0"/>
                    </a:lnTo>
                    <a:lnTo>
                      <a:pt x="10931999" y="5537797"/>
                    </a:lnTo>
                    <a:lnTo>
                      <a:pt x="0" y="5537797"/>
                    </a:lnTo>
                    <a:close/>
                  </a:path>
                </a:pathLst>
              </a:custGeom>
              <a:noFill/>
              <a:ln w="9525">
                <a:solidFill>
                  <a:srgbClr val="ED1B24">
                    <a:alpha val="35000"/>
                  </a:srgbClr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>
                  <a:lnSpc>
                    <a:spcPct val="90000"/>
                  </a:lnSpc>
                  <a:spcAft>
                    <a:spcPts val="750"/>
                  </a:spcAft>
                </a:pPr>
                <a:endParaRPr lang="en-US" sz="900">
                  <a:solidFill>
                    <a:schemeClr val="bg1"/>
                  </a:solidFill>
                </a:endParaRPr>
              </a:p>
            </p:txBody>
          </p:sp>
          <p:sp>
            <p:nvSpPr>
              <p:cNvPr id="57" name="Footnote example"/>
              <p:cNvSpPr txBox="1"/>
              <p:nvPr/>
            </p:nvSpPr>
            <p:spPr>
              <a:xfrm>
                <a:off x="630000" y="5761621"/>
                <a:ext cx="9030914" cy="249299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b">
                <a:spAutoFit/>
              </a:bodyPr>
              <a:lstStyle/>
              <a:p>
                <a:pPr lvl="0">
                  <a:lnSpc>
                    <a:spcPct val="90000"/>
                  </a:lnSpc>
                  <a:defRPr/>
                </a:pPr>
                <a:r>
                  <a:rPr lang="en-US" sz="600">
                    <a:solidFill>
                      <a:prstClr val="white">
                        <a:lumMod val="65000"/>
                      </a:prstClr>
                    </a:solidFill>
                    <a:sym typeface="Trebuchet MS" panose="020B0603020202020204" pitchFamily="34" charset="0"/>
                  </a:rPr>
                  <a:t>1. xxxx  2. xxxx  3. List footnotes in numerical order. Footnote numbers are not bracketed. Use 8pt font</a:t>
                </a:r>
              </a:p>
              <a:p>
                <a:pPr lvl="0">
                  <a:lnSpc>
                    <a:spcPct val="90000"/>
                  </a:lnSpc>
                  <a:defRPr/>
                </a:pPr>
                <a:r>
                  <a:rPr lang="en-US" sz="600">
                    <a:solidFill>
                      <a:prstClr val="white">
                        <a:lumMod val="65000"/>
                      </a:prstClr>
                    </a:solidFill>
                    <a:sym typeface="Trebuchet MS" panose="020B0603020202020204" pitchFamily="34" charset="0"/>
                  </a:rPr>
                  <a:t>Note: Do not put a period at the end of the note or the source</a:t>
                </a:r>
              </a:p>
              <a:p>
                <a:pPr lvl="0">
                  <a:lnSpc>
                    <a:spcPct val="90000"/>
                  </a:lnSpc>
                  <a:defRPr/>
                </a:pPr>
                <a:r>
                  <a:rPr lang="en-US" sz="600">
                    <a:solidFill>
                      <a:prstClr val="white">
                        <a:lumMod val="65000"/>
                      </a:prstClr>
                    </a:solidFill>
                    <a:sym typeface="Trebuchet MS" panose="020B0603020202020204" pitchFamily="34" charset="0"/>
                  </a:rPr>
                  <a:t>Source: Include a source for every chart that you use. Separate sources with a semicolon; BCG-related sources go at the end</a:t>
                </a:r>
                <a:endParaRPr kumimoji="0" lang="en-US" sz="600" b="0" i="0" u="none" strike="noStrike" kern="1200" cap="none" spc="0" normalizeH="0" baseline="0" noProof="0">
                  <a:ln>
                    <a:noFill/>
                  </a:ln>
                  <a:solidFill>
                    <a:prstClr val="white">
                      <a:lumMod val="65000"/>
                    </a:prstClr>
                  </a:solidFill>
                  <a:effectLst/>
                  <a:uLnTx/>
                  <a:uFillTx/>
                  <a:sym typeface="Trebuchet MS" panose="020B0603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6738483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</p:sldLayout>
</file>

<file path=ppt/slideLayouts/slideLayout3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genda Section Header Overview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24754550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/>
          <p:cNvSpPr/>
          <p:nvPr/>
        </p:nvSpPr>
        <p:spPr bwMode="invGray">
          <a:xfrm>
            <a:off x="1388146" y="4691187"/>
            <a:ext cx="929337" cy="995874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endParaRPr lang="en-US" sz="1500">
              <a:solidFill>
                <a:prstClr val="white"/>
              </a:solidFill>
              <a:latin typeface="Trebuchet MS" panose="020B0603020202020204" pitchFamily="34" charset="0"/>
            </a:endParaRPr>
          </a:p>
        </p:txBody>
      </p:sp>
      <p:sp>
        <p:nvSpPr>
          <p:cNvPr id="12" name="Rectangle 11"/>
          <p:cNvSpPr/>
          <p:nvPr>
            <p:custDataLst>
              <p:tags r:id="rId2"/>
            </p:custDataLst>
          </p:nvPr>
        </p:nvSpPr>
        <p:spPr>
          <a:xfrm>
            <a:off x="2509483" y="4691187"/>
            <a:ext cx="1570152" cy="1468176"/>
          </a:xfrm>
          <a:prstGeom prst="rect">
            <a:avLst/>
          </a:prstGeom>
          <a:noFill/>
          <a:ln w="9525" cmpd="sng">
            <a:solidFill>
              <a:srgbClr val="FFFFFF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5000" rIns="137160" bIns="13716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900">
              <a:solidFill>
                <a:srgbClr val="FFFFFF"/>
              </a:solidFill>
              <a:latin typeface="Trebuchet MS" panose="020B0603020202020204" pitchFamily="34" charset="0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630000" y="1161143"/>
            <a:ext cx="3448800" cy="3234456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txBody>
          <a:bodyPr wrap="square" lIns="459000" tIns="351000" rIns="0" bIns="0" rtlCol="0" anchor="t">
            <a:no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endParaRPr lang="en-US" sz="4050">
              <a:solidFill>
                <a:schemeClr val="bg1"/>
              </a:solidFill>
            </a:endParaRPr>
          </a:p>
        </p:txBody>
      </p:sp>
      <p:sp>
        <p:nvSpPr>
          <p:cNvPr id="10" name="TextBox 1"/>
          <p:cNvSpPr txBox="1"/>
          <p:nvPr/>
        </p:nvSpPr>
        <p:spPr>
          <a:xfrm>
            <a:off x="1412918" y="1347645"/>
            <a:ext cx="1882246" cy="68441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4050">
                <a:solidFill>
                  <a:schemeClr val="bg1"/>
                </a:solidFill>
                <a:latin typeface="+mj-lt"/>
              </a:rPr>
              <a:t>Agenda</a:t>
            </a:r>
          </a:p>
        </p:txBody>
      </p:sp>
      <p:sp>
        <p:nvSpPr>
          <p:cNvPr id="13" name="Copyright" hidden="1"/>
          <p:cNvSpPr txBox="1"/>
          <p:nvPr/>
        </p:nvSpPr>
        <p:spPr>
          <a:xfrm rot="16200000">
            <a:off x="9486902" y="3533783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897" y="572658"/>
            <a:ext cx="1550283" cy="403326"/>
          </a:xfrm>
          <a:prstGeom prst="rect">
            <a:avLst/>
          </a:prstGeom>
        </p:spPr>
      </p:pic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11ECE31A-AD78-532A-39E6-AD5C80F33C34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11ECE31A-AD78-532A-39E6-AD5C80F33C3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>
            <a:extLst>
              <a:ext uri="{FF2B5EF4-FFF2-40B4-BE49-F238E27FC236}">
                <a16:creationId xmlns:a16="http://schemas.microsoft.com/office/drawing/2014/main" id="{F41A1E29-E9EE-1AE3-5A8C-5C59B411BF18}"/>
              </a:ext>
            </a:extLst>
          </p:cNvPr>
          <p:cNvSpPr txBox="1"/>
          <p:nvPr/>
        </p:nvSpPr>
        <p:spPr bwMode="white">
          <a:xfrm>
            <a:off x="11167872" y="6442872"/>
            <a:ext cx="38100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0" kern="120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6" name="Copyright">
            <a:extLst>
              <a:ext uri="{FF2B5EF4-FFF2-40B4-BE49-F238E27FC236}">
                <a16:creationId xmlns:a16="http://schemas.microsoft.com/office/drawing/2014/main" id="{68649DA2-5BEF-F834-8452-B3E50AE2F648}"/>
              </a:ext>
            </a:extLst>
          </p:cNvPr>
          <p:cNvSpPr txBox="1"/>
          <p:nvPr/>
        </p:nvSpPr>
        <p:spPr>
          <a:xfrm rot="16200000">
            <a:off x="9486902" y="3934616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chemeClr val="bg1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C9DDEF54-F780-C398-523F-74197A492F5B}"/>
              </a:ext>
            </a:extLst>
          </p:cNvPr>
          <p:cNvSpPr/>
          <p:nvPr/>
        </p:nvSpPr>
        <p:spPr bwMode="invGray">
          <a:xfrm>
            <a:off x="1388146" y="4691187"/>
            <a:ext cx="929337" cy="995874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endParaRPr lang="en-US" sz="1500">
              <a:solidFill>
                <a:prstClr val="white"/>
              </a:solidFill>
              <a:latin typeface="Trebuchet MS" panose="020B0603020202020204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8CA164DF-FAFE-45E1-917D-61DD70A59F76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2509483" y="4691187"/>
            <a:ext cx="1570152" cy="1468176"/>
          </a:xfrm>
          <a:prstGeom prst="rect">
            <a:avLst/>
          </a:prstGeom>
          <a:noFill/>
          <a:ln w="9525" cmpd="sng">
            <a:solidFill>
              <a:srgbClr val="FFFFFF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5000" rIns="137160" bIns="13716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900">
              <a:solidFill>
                <a:srgbClr val="FFFFFF"/>
              </a:solidFill>
              <a:latin typeface="Trebuchet MS" panose="020B0603020202020204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73A4785E-2E69-A5A3-7D72-565276B4FA46}"/>
              </a:ext>
            </a:extLst>
          </p:cNvPr>
          <p:cNvSpPr txBox="1"/>
          <p:nvPr/>
        </p:nvSpPr>
        <p:spPr>
          <a:xfrm>
            <a:off x="630000" y="907201"/>
            <a:ext cx="3448800" cy="915351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txBody>
          <a:bodyPr wrap="square" lIns="459000" tIns="35100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endParaRPr lang="en-US" sz="4050">
              <a:solidFill>
                <a:schemeClr val="bg1"/>
              </a:solidFill>
            </a:endParaRPr>
          </a:p>
        </p:txBody>
      </p:sp>
      <p:sp>
        <p:nvSpPr>
          <p:cNvPr id="16" name="TextBox 1">
            <a:extLst>
              <a:ext uri="{FF2B5EF4-FFF2-40B4-BE49-F238E27FC236}">
                <a16:creationId xmlns:a16="http://schemas.microsoft.com/office/drawing/2014/main" id="{24F07DAC-8141-DF9A-1C90-F259C197569B}"/>
              </a:ext>
            </a:extLst>
          </p:cNvPr>
          <p:cNvSpPr txBox="1"/>
          <p:nvPr/>
        </p:nvSpPr>
        <p:spPr>
          <a:xfrm>
            <a:off x="1412918" y="1115416"/>
            <a:ext cx="1882246" cy="68441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4050">
                <a:solidFill>
                  <a:schemeClr val="bg1"/>
                </a:solidFill>
                <a:latin typeface="+mj-lt"/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45052674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genda Section Header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70416143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/>
          <p:cNvSpPr/>
          <p:nvPr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900">
              <a:solidFill>
                <a:schemeClr val="bg1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1285200" y="2667600"/>
            <a:ext cx="9619200" cy="3200400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500">
              <a:solidFill>
                <a:prstClr val="white"/>
              </a:solidFill>
              <a:latin typeface="Trebuchet MS" panose="020B0603020202020204" pitchFamily="34" charset="0"/>
            </a:endParaRPr>
          </a:p>
        </p:txBody>
      </p:sp>
      <p:sp>
        <p:nvSpPr>
          <p:cNvPr id="8" name="Copyright" hidden="1"/>
          <p:cNvSpPr txBox="1"/>
          <p:nvPr/>
        </p:nvSpPr>
        <p:spPr>
          <a:xfrm rot="16200000">
            <a:off x="9486902" y="3533783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897" y="572658"/>
            <a:ext cx="1550283" cy="403326"/>
          </a:xfrm>
          <a:prstGeom prst="rect">
            <a:avLst/>
          </a:prstGeom>
        </p:spPr>
      </p:pic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C3058F41-147C-C26F-5A24-1FF94BAD1CF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63492020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C3058F41-147C-C26F-5A24-1FF94BAD1CF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Box 3">
            <a:extLst>
              <a:ext uri="{FF2B5EF4-FFF2-40B4-BE49-F238E27FC236}">
                <a16:creationId xmlns:a16="http://schemas.microsoft.com/office/drawing/2014/main" id="{8AD1B0E3-223D-DD8D-438F-B046966CB6C9}"/>
              </a:ext>
            </a:extLst>
          </p:cNvPr>
          <p:cNvSpPr txBox="1"/>
          <p:nvPr/>
        </p:nvSpPr>
        <p:spPr bwMode="white">
          <a:xfrm>
            <a:off x="11167872" y="6442872"/>
            <a:ext cx="38100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0" kern="120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5" name="Copyright">
            <a:extLst>
              <a:ext uri="{FF2B5EF4-FFF2-40B4-BE49-F238E27FC236}">
                <a16:creationId xmlns:a16="http://schemas.microsoft.com/office/drawing/2014/main" id="{7A2343DC-ECEA-B5C8-FAA4-1EE86D852DFF}"/>
              </a:ext>
            </a:extLst>
          </p:cNvPr>
          <p:cNvSpPr txBox="1"/>
          <p:nvPr/>
        </p:nvSpPr>
        <p:spPr>
          <a:xfrm rot="16200000">
            <a:off x="9486902" y="3934616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chemeClr val="bg1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EF969DDB-89AC-A244-6B7E-B9731E3DC4D9}"/>
              </a:ext>
            </a:extLst>
          </p:cNvPr>
          <p:cNvSpPr/>
          <p:nvPr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900">
              <a:solidFill>
                <a:schemeClr val="bg1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ECCF94F-8CF2-BB4E-7ABD-6AF5FD9ABAE9}"/>
              </a:ext>
            </a:extLst>
          </p:cNvPr>
          <p:cNvSpPr/>
          <p:nvPr/>
        </p:nvSpPr>
        <p:spPr>
          <a:xfrm>
            <a:off x="1285200" y="2667600"/>
            <a:ext cx="9619200" cy="3200400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500">
              <a:solidFill>
                <a:prstClr val="white"/>
              </a:solidFill>
              <a:latin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0261501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genda Full Width Overview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37885833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tle 1"/>
          <p:cNvSpPr txBox="1">
            <a:spLocks/>
          </p:cNvSpPr>
          <p:nvPr/>
        </p:nvSpPr>
        <p:spPr>
          <a:xfrm>
            <a:off x="2000251" y="622800"/>
            <a:ext cx="5819748" cy="353174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sz="2550">
                <a:solidFill>
                  <a:schemeClr val="bg1"/>
                </a:solidFill>
              </a:rPr>
              <a:t>Agenda</a:t>
            </a:r>
          </a:p>
        </p:txBody>
      </p:sp>
      <p:cxnSp>
        <p:nvCxnSpPr>
          <p:cNvPr id="13" name="Straight Connector 12"/>
          <p:cNvCxnSpPr/>
          <p:nvPr/>
        </p:nvCxnSpPr>
        <p:spPr bwMode="white">
          <a:xfrm>
            <a:off x="618899" y="1206000"/>
            <a:ext cx="11576304" cy="0"/>
          </a:xfrm>
          <a:prstGeom prst="line">
            <a:avLst/>
          </a:prstGeom>
          <a:ln w="9525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Copyright" hidden="1"/>
          <p:cNvSpPr txBox="1"/>
          <p:nvPr/>
        </p:nvSpPr>
        <p:spPr>
          <a:xfrm rot="16200000">
            <a:off x="9486902" y="3533783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897" y="572658"/>
            <a:ext cx="1550283" cy="403326"/>
          </a:xfrm>
          <a:prstGeom prst="rect">
            <a:avLst/>
          </a:prstGeom>
        </p:spPr>
      </p:pic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E23B4C96-EE14-74F3-89E6-57DEB0C58A1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E23B4C96-EE14-74F3-89E6-57DEB0C58A1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Box 3">
            <a:extLst>
              <a:ext uri="{FF2B5EF4-FFF2-40B4-BE49-F238E27FC236}">
                <a16:creationId xmlns:a16="http://schemas.microsoft.com/office/drawing/2014/main" id="{7AEA19D7-C1FB-32C7-9204-74E60EC39675}"/>
              </a:ext>
            </a:extLst>
          </p:cNvPr>
          <p:cNvSpPr txBox="1"/>
          <p:nvPr/>
        </p:nvSpPr>
        <p:spPr bwMode="white">
          <a:xfrm>
            <a:off x="11167872" y="6442872"/>
            <a:ext cx="38100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0" kern="120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5" name="Copyright">
            <a:extLst>
              <a:ext uri="{FF2B5EF4-FFF2-40B4-BE49-F238E27FC236}">
                <a16:creationId xmlns:a16="http://schemas.microsoft.com/office/drawing/2014/main" id="{C3EAC89A-F63B-8C1F-3F21-CE065EAD7E6D}"/>
              </a:ext>
            </a:extLst>
          </p:cNvPr>
          <p:cNvSpPr txBox="1"/>
          <p:nvPr/>
        </p:nvSpPr>
        <p:spPr>
          <a:xfrm rot="16200000">
            <a:off x="9486902" y="3934616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chemeClr val="bg1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282D4086-34DC-63F4-3537-174507819C7D}"/>
              </a:ext>
            </a:extLst>
          </p:cNvPr>
          <p:cNvSpPr txBox="1">
            <a:spLocks/>
          </p:cNvSpPr>
          <p:nvPr/>
        </p:nvSpPr>
        <p:spPr>
          <a:xfrm>
            <a:off x="630001" y="622800"/>
            <a:ext cx="7189999" cy="353174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sz="2550">
                <a:solidFill>
                  <a:schemeClr val="bg1"/>
                </a:solidFill>
              </a:rPr>
              <a:t>Agenda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A711A22E-91CA-CBF8-DE73-89FA8913E1F1}"/>
              </a:ext>
            </a:extLst>
          </p:cNvPr>
          <p:cNvCxnSpPr/>
          <p:nvPr/>
        </p:nvCxnSpPr>
        <p:spPr bwMode="white">
          <a:xfrm>
            <a:off x="618899" y="1206000"/>
            <a:ext cx="11576304" cy="0"/>
          </a:xfrm>
          <a:prstGeom prst="line">
            <a:avLst/>
          </a:prstGeom>
          <a:ln w="9525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2164454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genda Two-Thirds">
    <p:bg>
      <p:bgPr>
        <a:gradFill>
          <a:gsLst>
            <a:gs pos="39000">
              <a:srgbClr val="D81F30"/>
            </a:gs>
            <a:gs pos="100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670891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70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/>
        </p:nvSpPr>
        <p:spPr bwMode="white">
          <a:xfrm>
            <a:off x="4080764" y="-1309"/>
            <a:ext cx="8111237" cy="685930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9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630002" y="3207717"/>
            <a:ext cx="1547143" cy="3323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2400">
                <a:solidFill>
                  <a:schemeClr val="bg1"/>
                </a:solidFill>
              </a:rPr>
              <a:t>Agenda</a:t>
            </a:r>
          </a:p>
        </p:txBody>
      </p:sp>
      <p:sp>
        <p:nvSpPr>
          <p:cNvPr id="9" name="Copyright" hidden="1"/>
          <p:cNvSpPr txBox="1"/>
          <p:nvPr/>
        </p:nvSpPr>
        <p:spPr>
          <a:xfrm rot="16200000">
            <a:off x="9486902" y="3533783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4" name="Freeform 13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/>
        </p:nvSpPr>
        <p:spPr>
          <a:xfrm>
            <a:off x="4151665" y="6326129"/>
            <a:ext cx="8037289" cy="531873"/>
          </a:xfrm>
          <a:custGeom>
            <a:avLst/>
            <a:gdLst>
              <a:gd name="connsiteX0" fmla="*/ 4248622 w 8037289"/>
              <a:gd name="connsiteY0" fmla="*/ 0 h 531873"/>
              <a:gd name="connsiteX1" fmla="*/ 8037287 w 8037289"/>
              <a:gd name="connsiteY1" fmla="*/ 0 h 531873"/>
              <a:gd name="connsiteX2" fmla="*/ 8037287 w 8037289"/>
              <a:gd name="connsiteY2" fmla="*/ 239773 h 531873"/>
              <a:gd name="connsiteX3" fmla="*/ 8037289 w 8037289"/>
              <a:gd name="connsiteY3" fmla="*/ 239773 h 531873"/>
              <a:gd name="connsiteX4" fmla="*/ 8037289 w 8037289"/>
              <a:gd name="connsiteY4" fmla="*/ 531873 h 531873"/>
              <a:gd name="connsiteX5" fmla="*/ 0 w 8037289"/>
              <a:gd name="connsiteY5" fmla="*/ 531873 h 531873"/>
              <a:gd name="connsiteX6" fmla="*/ 0 w 8037289"/>
              <a:gd name="connsiteY6" fmla="*/ 239773 h 531873"/>
              <a:gd name="connsiteX7" fmla="*/ 4068966 w 8037289"/>
              <a:gd name="connsiteY7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037289" h="531873">
                <a:moveTo>
                  <a:pt x="4248622" y="0"/>
                </a:moveTo>
                <a:lnTo>
                  <a:pt x="8037287" y="0"/>
                </a:lnTo>
                <a:lnTo>
                  <a:pt x="8037287" y="239773"/>
                </a:lnTo>
                <a:lnTo>
                  <a:pt x="8037289" y="239773"/>
                </a:lnTo>
                <a:lnTo>
                  <a:pt x="8037289" y="531873"/>
                </a:lnTo>
                <a:lnTo>
                  <a:pt x="0" y="531873"/>
                </a:lnTo>
                <a:lnTo>
                  <a:pt x="0" y="239773"/>
                </a:lnTo>
                <a:lnTo>
                  <a:pt x="4068966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900">
              <a:solidFill>
                <a:srgbClr val="FFFFFF"/>
              </a:solidFill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897" y="572658"/>
            <a:ext cx="1550283" cy="403326"/>
          </a:xfrm>
          <a:prstGeom prst="rect">
            <a:avLst/>
          </a:prstGeom>
        </p:spPr>
      </p:pic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5F40F760-672B-09CF-08C9-03CDA6A0304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5F40F760-672B-09CF-08C9-03CDA6A0304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3">
            <a:extLst>
              <a:ext uri="{FF2B5EF4-FFF2-40B4-BE49-F238E27FC236}">
                <a16:creationId xmlns:a16="http://schemas.microsoft.com/office/drawing/2014/main" id="{AEA35714-0DD4-8997-128A-60DE08106EA8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70" y="0"/>
            <a:ext cx="416951" cy="6858000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B199C0E1-B810-EC34-1F48-7B95C3CE911B}"/>
              </a:ext>
            </a:extLst>
          </p:cNvPr>
          <p:cNvSpPr/>
          <p:nvPr/>
        </p:nvSpPr>
        <p:spPr bwMode="white">
          <a:xfrm>
            <a:off x="4080764" y="-1309"/>
            <a:ext cx="8111237" cy="685930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9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6" name="Copyright">
            <a:extLst>
              <a:ext uri="{FF2B5EF4-FFF2-40B4-BE49-F238E27FC236}">
                <a16:creationId xmlns:a16="http://schemas.microsoft.com/office/drawing/2014/main" id="{01E3BDF6-0A4A-14BF-234B-05C0D5D18246}"/>
              </a:ext>
            </a:extLst>
          </p:cNvPr>
          <p:cNvSpPr txBox="1"/>
          <p:nvPr/>
        </p:nvSpPr>
        <p:spPr>
          <a:xfrm rot="16200000">
            <a:off x="9486902" y="3934616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2EC104E-3E75-7412-7FEE-BB03BD0A3116}"/>
              </a:ext>
            </a:extLst>
          </p:cNvPr>
          <p:cNvSpPr txBox="1"/>
          <p:nvPr/>
        </p:nvSpPr>
        <p:spPr>
          <a:xfrm>
            <a:off x="11167872" y="6443508"/>
            <a:ext cx="38100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0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72C799F2-375A-E1AC-C9E4-BF5BE573726A}"/>
              </a:ext>
            </a:extLst>
          </p:cNvPr>
          <p:cNvSpPr txBox="1"/>
          <p:nvPr/>
        </p:nvSpPr>
        <p:spPr>
          <a:xfrm>
            <a:off x="630002" y="3207717"/>
            <a:ext cx="1547143" cy="3323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2400">
                <a:solidFill>
                  <a:schemeClr val="bg1"/>
                </a:solidFill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182297946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 Overvie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54777095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/>
        </p:nvSpPr>
        <p:spPr bwMode="invGray">
          <a:xfrm>
            <a:off x="1388146" y="4691187"/>
            <a:ext cx="929337" cy="995874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endParaRPr lang="en-US" sz="1500">
              <a:solidFill>
                <a:prstClr val="white"/>
              </a:solidFill>
              <a:latin typeface="Trebuchet MS" panose="020B0603020202020204" pitchFamily="34" charset="0"/>
            </a:endParaRPr>
          </a:p>
        </p:txBody>
      </p:sp>
      <p:sp>
        <p:nvSpPr>
          <p:cNvPr id="10" name="Rectangle 9"/>
          <p:cNvSpPr/>
          <p:nvPr>
            <p:custDataLst>
              <p:tags r:id="rId2"/>
            </p:custDataLst>
          </p:nvPr>
        </p:nvSpPr>
        <p:spPr>
          <a:xfrm>
            <a:off x="2509483" y="4691187"/>
            <a:ext cx="1570152" cy="1468176"/>
          </a:xfrm>
          <a:prstGeom prst="rect">
            <a:avLst/>
          </a:prstGeom>
          <a:noFill/>
          <a:ln w="9525" cmpd="sng">
            <a:solidFill>
              <a:schemeClr val="accent4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5000" rIns="137160" bIns="13716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900">
              <a:solidFill>
                <a:srgbClr val="FFFFFF"/>
              </a:solidFill>
              <a:latin typeface="Trebuchet MS" panose="020B0603020202020204" pitchFamily="34" charset="0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630000" y="1161143"/>
            <a:ext cx="3448800" cy="3234456"/>
          </a:xfrm>
          <a:prstGeom prst="rect">
            <a:avLst/>
          </a:prstGeom>
          <a:noFill/>
          <a:ln>
            <a:solidFill>
              <a:schemeClr val="accent4"/>
            </a:solidFill>
          </a:ln>
        </p:spPr>
        <p:txBody>
          <a:bodyPr wrap="square" lIns="459000" tIns="351000" rIns="0" bIns="0" rtlCol="0" anchor="t">
            <a:no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endParaRPr lang="en-US" sz="4050">
              <a:solidFill>
                <a:schemeClr val="accent4"/>
              </a:solidFill>
            </a:endParaRPr>
          </a:p>
        </p:txBody>
      </p:sp>
      <p:sp>
        <p:nvSpPr>
          <p:cNvPr id="9" name="TextBox 1"/>
          <p:cNvSpPr txBox="1"/>
          <p:nvPr/>
        </p:nvSpPr>
        <p:spPr>
          <a:xfrm>
            <a:off x="1412918" y="1347645"/>
            <a:ext cx="1882246" cy="68441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 sz="5400">
                <a:solidFill>
                  <a:schemeClr val="accent4"/>
                </a:solidFill>
                <a:latin typeface="+mj-lt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r>
              <a:rPr lang="en-US" sz="4050"/>
              <a:t>Agenda</a:t>
            </a:r>
          </a:p>
        </p:txBody>
      </p:sp>
      <p:sp>
        <p:nvSpPr>
          <p:cNvPr id="12" name="Copyright" hidden="1"/>
          <p:cNvSpPr txBox="1"/>
          <p:nvPr/>
        </p:nvSpPr>
        <p:spPr>
          <a:xfrm rot="16200000">
            <a:off x="9486902" y="3533783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AEEE57A-4D33-B70B-93C5-DE3BB82978E2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EAEEE57A-4D33-B70B-93C5-DE3BB82978E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Copyright">
            <a:extLst>
              <a:ext uri="{FF2B5EF4-FFF2-40B4-BE49-F238E27FC236}">
                <a16:creationId xmlns:a16="http://schemas.microsoft.com/office/drawing/2014/main" id="{EC68E8AB-0283-B4BC-3F5F-6EB240821896}"/>
              </a:ext>
            </a:extLst>
          </p:cNvPr>
          <p:cNvSpPr txBox="1"/>
          <p:nvPr/>
        </p:nvSpPr>
        <p:spPr>
          <a:xfrm rot="16200000">
            <a:off x="9486902" y="3934616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741E61D0-1037-CDB2-6E05-43BFA0D6A560}"/>
              </a:ext>
            </a:extLst>
          </p:cNvPr>
          <p:cNvSpPr/>
          <p:nvPr/>
        </p:nvSpPr>
        <p:spPr bwMode="invGray">
          <a:xfrm>
            <a:off x="1388146" y="4691187"/>
            <a:ext cx="929337" cy="995874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endParaRPr lang="en-US" sz="1500">
              <a:solidFill>
                <a:prstClr val="white"/>
              </a:solidFill>
              <a:latin typeface="Trebuchet MS" panose="020B0603020202020204" pitchFamily="34" charset="0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25D96FBE-A619-992C-D914-AF294B01376A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2509483" y="4691187"/>
            <a:ext cx="1570152" cy="1468176"/>
          </a:xfrm>
          <a:prstGeom prst="rect">
            <a:avLst/>
          </a:prstGeom>
          <a:noFill/>
          <a:ln w="9525" cmpd="sng">
            <a:solidFill>
              <a:schemeClr val="accent4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5000" rIns="137160" bIns="13716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900">
              <a:solidFill>
                <a:srgbClr val="FFFFFF"/>
              </a:solidFill>
              <a:latin typeface="Trebuchet MS" panose="020B0603020202020204" pitchFamily="34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991C5EE1-A215-CDDE-EC74-C0856A253B4B}"/>
              </a:ext>
            </a:extLst>
          </p:cNvPr>
          <p:cNvSpPr txBox="1"/>
          <p:nvPr/>
        </p:nvSpPr>
        <p:spPr>
          <a:xfrm>
            <a:off x="630000" y="907200"/>
            <a:ext cx="3448800" cy="915351"/>
          </a:xfrm>
          <a:prstGeom prst="rect">
            <a:avLst/>
          </a:prstGeom>
          <a:noFill/>
          <a:ln>
            <a:solidFill>
              <a:schemeClr val="accent4"/>
            </a:solidFill>
          </a:ln>
        </p:spPr>
        <p:txBody>
          <a:bodyPr wrap="square" lIns="459000" tIns="35100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endParaRPr lang="en-US" sz="4050">
              <a:solidFill>
                <a:schemeClr val="accent4"/>
              </a:solidFill>
            </a:endParaRPr>
          </a:p>
        </p:txBody>
      </p:sp>
      <p:sp>
        <p:nvSpPr>
          <p:cNvPr id="13" name="TextBox 1">
            <a:extLst>
              <a:ext uri="{FF2B5EF4-FFF2-40B4-BE49-F238E27FC236}">
                <a16:creationId xmlns:a16="http://schemas.microsoft.com/office/drawing/2014/main" id="{8E39BA82-89BD-01CA-3D6B-8F789223981B}"/>
              </a:ext>
            </a:extLst>
          </p:cNvPr>
          <p:cNvSpPr txBox="1"/>
          <p:nvPr/>
        </p:nvSpPr>
        <p:spPr>
          <a:xfrm>
            <a:off x="1412918" y="1115416"/>
            <a:ext cx="1882246" cy="68441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 sz="5400">
                <a:solidFill>
                  <a:schemeClr val="accent4"/>
                </a:solidFill>
                <a:latin typeface="+mj-lt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r>
              <a:rPr lang="en-US" sz="4050"/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3411139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19423219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900">
              <a:solidFill>
                <a:schemeClr val="bg1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1285200" y="2667600"/>
            <a:ext cx="9619200" cy="3200400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500">
              <a:solidFill>
                <a:prstClr val="white"/>
              </a:solidFill>
              <a:latin typeface="Trebuchet MS" panose="020B0603020202020204" pitchFamily="34" charset="0"/>
            </a:endParaRPr>
          </a:p>
        </p:txBody>
      </p:sp>
      <p:sp>
        <p:nvSpPr>
          <p:cNvPr id="6" name="Copyright" hidden="1"/>
          <p:cNvSpPr txBox="1"/>
          <p:nvPr/>
        </p:nvSpPr>
        <p:spPr>
          <a:xfrm rot="16200000">
            <a:off x="9486902" y="3533783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9BDA60-C53E-EE22-A14C-C855B6947FA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40061710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9BDA60-C53E-EE22-A14C-C855B6947FA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Copyright">
            <a:extLst>
              <a:ext uri="{FF2B5EF4-FFF2-40B4-BE49-F238E27FC236}">
                <a16:creationId xmlns:a16="http://schemas.microsoft.com/office/drawing/2014/main" id="{D03CBF8B-4986-F6B8-677D-C62E72D0BEFC}"/>
              </a:ext>
            </a:extLst>
          </p:cNvPr>
          <p:cNvSpPr txBox="1"/>
          <p:nvPr/>
        </p:nvSpPr>
        <p:spPr>
          <a:xfrm rot="16200000">
            <a:off x="9486902" y="3934616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8FD9C47C-1BDD-BFAD-8F48-82CFB3A6368C}"/>
              </a:ext>
            </a:extLst>
          </p:cNvPr>
          <p:cNvSpPr/>
          <p:nvPr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900">
              <a:solidFill>
                <a:schemeClr val="bg1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6669A83E-5A41-02A2-AA43-799F7DFE994E}"/>
              </a:ext>
            </a:extLst>
          </p:cNvPr>
          <p:cNvSpPr/>
          <p:nvPr/>
        </p:nvSpPr>
        <p:spPr>
          <a:xfrm>
            <a:off x="1285200" y="2667600"/>
            <a:ext cx="9619200" cy="3200400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500">
              <a:solidFill>
                <a:prstClr val="white"/>
              </a:solidFill>
              <a:latin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215014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Full Width Overvie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80825485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1"/>
          <p:cNvSpPr txBox="1">
            <a:spLocks/>
          </p:cNvSpPr>
          <p:nvPr/>
        </p:nvSpPr>
        <p:spPr>
          <a:xfrm>
            <a:off x="2000251" y="622800"/>
            <a:ext cx="5819748" cy="353174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sz="2550">
                <a:solidFill>
                  <a:schemeClr val="accent4"/>
                </a:solidFill>
              </a:rPr>
              <a:t>Agenda</a:t>
            </a:r>
          </a:p>
        </p:txBody>
      </p:sp>
      <p:cxnSp>
        <p:nvCxnSpPr>
          <p:cNvPr id="9" name="Straight Connector 8"/>
          <p:cNvCxnSpPr/>
          <p:nvPr/>
        </p:nvCxnSpPr>
        <p:spPr bwMode="white">
          <a:xfrm>
            <a:off x="618899" y="1206000"/>
            <a:ext cx="11576304" cy="0"/>
          </a:xfrm>
          <a:prstGeom prst="line">
            <a:avLst/>
          </a:prstGeom>
          <a:ln w="9525" cmpd="sng">
            <a:solidFill>
              <a:schemeClr val="accent4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Copyright" hidden="1"/>
          <p:cNvSpPr txBox="1"/>
          <p:nvPr/>
        </p:nvSpPr>
        <p:spPr>
          <a:xfrm rot="16200000">
            <a:off x="9486902" y="3533783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8A9723F-FB7D-FB0F-AE0A-C767537C1E3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8A9723F-FB7D-FB0F-AE0A-C767537C1E3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Copyright">
            <a:extLst>
              <a:ext uri="{FF2B5EF4-FFF2-40B4-BE49-F238E27FC236}">
                <a16:creationId xmlns:a16="http://schemas.microsoft.com/office/drawing/2014/main" id="{94C71401-11AE-5E38-D11C-24BDC804E130}"/>
              </a:ext>
            </a:extLst>
          </p:cNvPr>
          <p:cNvSpPr txBox="1"/>
          <p:nvPr/>
        </p:nvSpPr>
        <p:spPr>
          <a:xfrm rot="16200000">
            <a:off x="9486902" y="3934616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DEA3E978-42C7-8427-0C59-1306BE00E4BF}"/>
              </a:ext>
            </a:extLst>
          </p:cNvPr>
          <p:cNvSpPr txBox="1">
            <a:spLocks/>
          </p:cNvSpPr>
          <p:nvPr/>
        </p:nvSpPr>
        <p:spPr>
          <a:xfrm>
            <a:off x="630001" y="622800"/>
            <a:ext cx="7189999" cy="353174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sz="2550">
                <a:solidFill>
                  <a:schemeClr val="accent4"/>
                </a:solidFill>
              </a:rPr>
              <a:t>Agenda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309FE045-D4F5-416A-91C6-6F36EC11D654}"/>
              </a:ext>
            </a:extLst>
          </p:cNvPr>
          <p:cNvCxnSpPr/>
          <p:nvPr/>
        </p:nvCxnSpPr>
        <p:spPr bwMode="white">
          <a:xfrm>
            <a:off x="618899" y="1206000"/>
            <a:ext cx="11576304" cy="0"/>
          </a:xfrm>
          <a:prstGeom prst="line">
            <a:avLst/>
          </a:prstGeom>
          <a:ln w="9525" cmpd="sng">
            <a:solidFill>
              <a:schemeClr val="accent4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895916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genda D. Two-Thirds">
    <p:bg>
      <p:bgPr>
        <a:gradFill>
          <a:gsLst>
            <a:gs pos="39000">
              <a:srgbClr val="D81F30"/>
            </a:gs>
            <a:gs pos="100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23974978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22"/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70" y="0"/>
            <a:ext cx="416951" cy="6858000"/>
          </a:xfrm>
          <a:prstGeom prst="rect">
            <a:avLst/>
          </a:prstGeom>
        </p:spPr>
      </p:pic>
      <p:sp>
        <p:nvSpPr>
          <p:cNvPr id="26" name="Rectangle 25"/>
          <p:cNvSpPr/>
          <p:nvPr/>
        </p:nvSpPr>
        <p:spPr bwMode="ltGray">
          <a:xfrm>
            <a:off x="4080764" y="-1309"/>
            <a:ext cx="8111237" cy="68593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9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630002" y="3262147"/>
            <a:ext cx="1161047" cy="2492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1800">
                <a:solidFill>
                  <a:schemeClr val="bg1"/>
                </a:solidFill>
              </a:rPr>
              <a:t>Agenda</a:t>
            </a:r>
          </a:p>
        </p:txBody>
      </p:sp>
      <p:sp>
        <p:nvSpPr>
          <p:cNvPr id="9" name="Copyright" hidden="1"/>
          <p:cNvSpPr txBox="1"/>
          <p:nvPr/>
        </p:nvSpPr>
        <p:spPr>
          <a:xfrm rot="16200000">
            <a:off x="9486902" y="3533783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1" name="Freeform 10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/>
        </p:nvSpPr>
        <p:spPr>
          <a:xfrm>
            <a:off x="4151665" y="6326129"/>
            <a:ext cx="8037289" cy="531873"/>
          </a:xfrm>
          <a:custGeom>
            <a:avLst/>
            <a:gdLst>
              <a:gd name="connsiteX0" fmla="*/ 4248622 w 8037289"/>
              <a:gd name="connsiteY0" fmla="*/ 0 h 531873"/>
              <a:gd name="connsiteX1" fmla="*/ 8037287 w 8037289"/>
              <a:gd name="connsiteY1" fmla="*/ 0 h 531873"/>
              <a:gd name="connsiteX2" fmla="*/ 8037287 w 8037289"/>
              <a:gd name="connsiteY2" fmla="*/ 239773 h 531873"/>
              <a:gd name="connsiteX3" fmla="*/ 8037289 w 8037289"/>
              <a:gd name="connsiteY3" fmla="*/ 239773 h 531873"/>
              <a:gd name="connsiteX4" fmla="*/ 8037289 w 8037289"/>
              <a:gd name="connsiteY4" fmla="*/ 531873 h 531873"/>
              <a:gd name="connsiteX5" fmla="*/ 0 w 8037289"/>
              <a:gd name="connsiteY5" fmla="*/ 531873 h 531873"/>
              <a:gd name="connsiteX6" fmla="*/ 0 w 8037289"/>
              <a:gd name="connsiteY6" fmla="*/ 239773 h 531873"/>
              <a:gd name="connsiteX7" fmla="*/ 4068966 w 8037289"/>
              <a:gd name="connsiteY7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037289" h="531873">
                <a:moveTo>
                  <a:pt x="4248622" y="0"/>
                </a:moveTo>
                <a:lnTo>
                  <a:pt x="8037287" y="0"/>
                </a:lnTo>
                <a:lnTo>
                  <a:pt x="8037287" y="239773"/>
                </a:lnTo>
                <a:lnTo>
                  <a:pt x="8037289" y="239773"/>
                </a:lnTo>
                <a:lnTo>
                  <a:pt x="8037289" y="531873"/>
                </a:lnTo>
                <a:lnTo>
                  <a:pt x="0" y="531873"/>
                </a:lnTo>
                <a:lnTo>
                  <a:pt x="0" y="239773"/>
                </a:lnTo>
                <a:lnTo>
                  <a:pt x="4068966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900">
              <a:solidFill>
                <a:srgbClr val="FFFFFF"/>
              </a:solidFill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897" y="572658"/>
            <a:ext cx="1550283" cy="403326"/>
          </a:xfrm>
          <a:prstGeom prst="rect">
            <a:avLst/>
          </a:prstGeom>
        </p:spPr>
      </p:pic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FD1485B-BA1D-8E92-671E-B1B7E217E31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FD1485B-BA1D-8E92-671E-B1B7E217E31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3">
            <a:extLst>
              <a:ext uri="{FF2B5EF4-FFF2-40B4-BE49-F238E27FC236}">
                <a16:creationId xmlns:a16="http://schemas.microsoft.com/office/drawing/2014/main" id="{327C967D-82BB-B077-05FE-9725B66A37C6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70" y="0"/>
            <a:ext cx="416951" cy="6858000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73DB369B-47AF-5E40-A874-8814610B31FC}"/>
              </a:ext>
            </a:extLst>
          </p:cNvPr>
          <p:cNvSpPr/>
          <p:nvPr/>
        </p:nvSpPr>
        <p:spPr bwMode="ltGray">
          <a:xfrm>
            <a:off x="4080764" y="-1309"/>
            <a:ext cx="8111237" cy="68593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9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6" name="Copyright">
            <a:extLst>
              <a:ext uri="{FF2B5EF4-FFF2-40B4-BE49-F238E27FC236}">
                <a16:creationId xmlns:a16="http://schemas.microsoft.com/office/drawing/2014/main" id="{E567FD58-EADF-45B7-362A-2463A847F1C6}"/>
              </a:ext>
            </a:extLst>
          </p:cNvPr>
          <p:cNvSpPr txBox="1"/>
          <p:nvPr/>
        </p:nvSpPr>
        <p:spPr>
          <a:xfrm rot="16200000">
            <a:off x="9486902" y="3934616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B489C87F-5A5E-6823-77C8-FC95592032CA}"/>
              </a:ext>
            </a:extLst>
          </p:cNvPr>
          <p:cNvSpPr txBox="1"/>
          <p:nvPr/>
        </p:nvSpPr>
        <p:spPr>
          <a:xfrm>
            <a:off x="11167872" y="6443508"/>
            <a:ext cx="38100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0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A437318B-582B-899F-1D69-83354EF3DE65}"/>
              </a:ext>
            </a:extLst>
          </p:cNvPr>
          <p:cNvSpPr txBox="1"/>
          <p:nvPr/>
        </p:nvSpPr>
        <p:spPr>
          <a:xfrm>
            <a:off x="630002" y="3262147"/>
            <a:ext cx="1161047" cy="2492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1800">
                <a:solidFill>
                  <a:schemeClr val="bg1"/>
                </a:solidFill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32974992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genda D. Table of Contents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21934084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 12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750"/>
              </a:spcAft>
            </a:pPr>
            <a:endParaRPr lang="en-US" sz="90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7" name="Freeform 12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750"/>
              </a:spcAft>
            </a:pPr>
            <a:endParaRPr lang="en-US" sz="90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630000" y="2821109"/>
            <a:ext cx="2819400" cy="127541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indent="0">
              <a:lnSpc>
                <a:spcPct val="106000"/>
              </a:lnSpc>
              <a:spcAft>
                <a:spcPts val="525"/>
              </a:spcAft>
              <a:buFontTx/>
              <a:buNone/>
            </a:pPr>
            <a:r>
              <a:rPr lang="en-US" sz="405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Table of contents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8637" y="3586748"/>
            <a:ext cx="1365251" cy="3382962"/>
          </a:xfrm>
          <a:custGeom>
            <a:avLst/>
            <a:gdLst>
              <a:gd name="connsiteX0" fmla="*/ 94280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28720 w 1365250"/>
              <a:gd name="connsiteY3" fmla="*/ 3382962 h 3382962"/>
              <a:gd name="connsiteX4" fmla="*/ 0 w 1365250"/>
              <a:gd name="connsiteY4" fmla="*/ 0 h 3382962"/>
              <a:gd name="connsiteX5" fmla="*/ 929501 w 1365250"/>
              <a:gd name="connsiteY5" fmla="*/ 0 h 3382962"/>
              <a:gd name="connsiteX6" fmla="*/ 0 w 1365250"/>
              <a:gd name="connsiteY6" fmla="*/ 2860398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65250" h="3382962">
                <a:moveTo>
                  <a:pt x="94280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28720" y="3382962"/>
                </a:lnTo>
                <a:close/>
                <a:moveTo>
                  <a:pt x="0" y="0"/>
                </a:moveTo>
                <a:lnTo>
                  <a:pt x="929501" y="0"/>
                </a:lnTo>
                <a:lnTo>
                  <a:pt x="0" y="2860398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Copyright" hidden="1"/>
          <p:cNvSpPr txBox="1"/>
          <p:nvPr/>
        </p:nvSpPr>
        <p:spPr>
          <a:xfrm rot="16200000">
            <a:off x="9486902" y="3533783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4" name="Freeform 13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/>
        </p:nvSpPr>
        <p:spPr>
          <a:xfrm>
            <a:off x="1" y="6565900"/>
            <a:ext cx="3266011" cy="292100"/>
          </a:xfrm>
          <a:custGeom>
            <a:avLst/>
            <a:gdLst>
              <a:gd name="connsiteX0" fmla="*/ 0 w 3266011"/>
              <a:gd name="connsiteY0" fmla="*/ 0 h 292100"/>
              <a:gd name="connsiteX1" fmla="*/ 3266011 w 3266011"/>
              <a:gd name="connsiteY1" fmla="*/ 0 h 292100"/>
              <a:gd name="connsiteX2" fmla="*/ 3195872 w 3266011"/>
              <a:gd name="connsiteY2" fmla="*/ 292100 h 292100"/>
              <a:gd name="connsiteX3" fmla="*/ 0 w 3266011"/>
              <a:gd name="connsiteY3" fmla="*/ 292100 h 292100"/>
              <a:gd name="connsiteX4" fmla="*/ 0 w 3266011"/>
              <a:gd name="connsiteY4" fmla="*/ 0 h 292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266011" h="292100">
                <a:moveTo>
                  <a:pt x="0" y="0"/>
                </a:moveTo>
                <a:lnTo>
                  <a:pt x="3266011" y="0"/>
                </a:lnTo>
                <a:lnTo>
                  <a:pt x="3195872" y="292100"/>
                </a:lnTo>
                <a:lnTo>
                  <a:pt x="0" y="292100"/>
                </a:lnTo>
                <a:lnTo>
                  <a:pt x="0" y="0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900">
              <a:solidFill>
                <a:srgbClr val="FFFFFF"/>
              </a:solidFill>
            </a:endParaRP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897" y="574339"/>
            <a:ext cx="1550283" cy="400753"/>
          </a:xfrm>
          <a:prstGeom prst="rect">
            <a:avLst/>
          </a:prstGeom>
        </p:spPr>
      </p:pic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B981564-B06B-276F-6D89-144F94F9DEA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B981564-B06B-276F-6D89-144F94F9DEA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reeform 12">
            <a:extLst>
              <a:ext uri="{FF2B5EF4-FFF2-40B4-BE49-F238E27FC236}">
                <a16:creationId xmlns:a16="http://schemas.microsoft.com/office/drawing/2014/main" id="{0513A3DB-265C-BD25-8131-13E5569DA9D6}"/>
              </a:ext>
            </a:extLst>
          </p:cNvPr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750"/>
              </a:spcAft>
            </a:pPr>
            <a:endParaRPr lang="en-US" sz="90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6FF61D4E-5989-7317-BEB5-2F40EE248D73}"/>
              </a:ext>
            </a:extLst>
          </p:cNvPr>
          <p:cNvSpPr txBox="1"/>
          <p:nvPr/>
        </p:nvSpPr>
        <p:spPr>
          <a:xfrm>
            <a:off x="630000" y="2821109"/>
            <a:ext cx="2819400" cy="127541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indent="0">
              <a:lnSpc>
                <a:spcPct val="106000"/>
              </a:lnSpc>
              <a:spcAft>
                <a:spcPts val="525"/>
              </a:spcAft>
              <a:buFontTx/>
              <a:buNone/>
            </a:pPr>
            <a:r>
              <a:rPr lang="en-US" sz="405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Table of contents</a:t>
            </a:r>
          </a:p>
        </p:txBody>
      </p:sp>
      <p:sp>
        <p:nvSpPr>
          <p:cNvPr id="6" name="Copyright">
            <a:extLst>
              <a:ext uri="{FF2B5EF4-FFF2-40B4-BE49-F238E27FC236}">
                <a16:creationId xmlns:a16="http://schemas.microsoft.com/office/drawing/2014/main" id="{ADBA4B53-967B-480A-98C6-47FBEAE3CE38}"/>
              </a:ext>
            </a:extLst>
          </p:cNvPr>
          <p:cNvSpPr txBox="1"/>
          <p:nvPr/>
        </p:nvSpPr>
        <p:spPr>
          <a:xfrm rot="16200000">
            <a:off x="9486902" y="3934616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chemeClr val="bg1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D96FE4F3-6795-51BC-1C7F-140120E8CEB3}"/>
              </a:ext>
            </a:extLst>
          </p:cNvPr>
          <p:cNvSpPr txBox="1"/>
          <p:nvPr/>
        </p:nvSpPr>
        <p:spPr>
          <a:xfrm>
            <a:off x="11167872" y="6443508"/>
            <a:ext cx="38100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0" kern="120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42F9A5A5-1BCA-3ECA-621A-B99C722E344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8637" y="3586748"/>
            <a:ext cx="1365251" cy="3382962"/>
          </a:xfrm>
          <a:custGeom>
            <a:avLst/>
            <a:gdLst>
              <a:gd name="connsiteX0" fmla="*/ 94280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28720 w 1365250"/>
              <a:gd name="connsiteY3" fmla="*/ 3382962 h 3382962"/>
              <a:gd name="connsiteX4" fmla="*/ 0 w 1365250"/>
              <a:gd name="connsiteY4" fmla="*/ 0 h 3382962"/>
              <a:gd name="connsiteX5" fmla="*/ 929501 w 1365250"/>
              <a:gd name="connsiteY5" fmla="*/ 0 h 3382962"/>
              <a:gd name="connsiteX6" fmla="*/ 0 w 1365250"/>
              <a:gd name="connsiteY6" fmla="*/ 2860398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65250" h="3382962">
                <a:moveTo>
                  <a:pt x="94280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28720" y="3382962"/>
                </a:lnTo>
                <a:close/>
                <a:moveTo>
                  <a:pt x="0" y="0"/>
                </a:moveTo>
                <a:lnTo>
                  <a:pt x="929501" y="0"/>
                </a:lnTo>
                <a:lnTo>
                  <a:pt x="0" y="2860398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50927270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Green arrow two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210198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rgbClr val="403F85"/>
              </a:gs>
              <a:gs pos="81000">
                <a:srgbClr val="ED1B24"/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2000250" y="622800"/>
            <a:ext cx="488655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6567628" y="3407803"/>
            <a:ext cx="2694666" cy="3456551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10" name="Copyright" hidden="1"/>
          <p:cNvSpPr txBox="1"/>
          <p:nvPr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23" name="Freeform 22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/>
        </p:nvSpPr>
        <p:spPr>
          <a:xfrm>
            <a:off x="70900" y="6326127"/>
            <a:ext cx="12118052" cy="531873"/>
          </a:xfrm>
          <a:custGeom>
            <a:avLst/>
            <a:gdLst>
              <a:gd name="connsiteX0" fmla="*/ 8329385 w 12118052"/>
              <a:gd name="connsiteY0" fmla="*/ 0 h 531873"/>
              <a:gd name="connsiteX1" fmla="*/ 12118050 w 12118052"/>
              <a:gd name="connsiteY1" fmla="*/ 0 h 531873"/>
              <a:gd name="connsiteX2" fmla="*/ 12118050 w 12118052"/>
              <a:gd name="connsiteY2" fmla="*/ 239773 h 531873"/>
              <a:gd name="connsiteX3" fmla="*/ 12118052 w 12118052"/>
              <a:gd name="connsiteY3" fmla="*/ 239773 h 531873"/>
              <a:gd name="connsiteX4" fmla="*/ 12118052 w 12118052"/>
              <a:gd name="connsiteY4" fmla="*/ 531873 h 531873"/>
              <a:gd name="connsiteX5" fmla="*/ 0 w 12118052"/>
              <a:gd name="connsiteY5" fmla="*/ 531873 h 531873"/>
              <a:gd name="connsiteX6" fmla="*/ 0 w 12118052"/>
              <a:gd name="connsiteY6" fmla="*/ 531872 h 531873"/>
              <a:gd name="connsiteX7" fmla="*/ 7645979 w 12118052"/>
              <a:gd name="connsiteY7" fmla="*/ 531872 h 531873"/>
              <a:gd name="connsiteX8" fmla="*/ 7714149 w 12118052"/>
              <a:gd name="connsiteY8" fmla="*/ 239773 h 531873"/>
              <a:gd name="connsiteX9" fmla="*/ 8149729 w 12118052"/>
              <a:gd name="connsiteY9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118052" h="531873">
                <a:moveTo>
                  <a:pt x="8329385" y="0"/>
                </a:moveTo>
                <a:lnTo>
                  <a:pt x="12118050" y="0"/>
                </a:lnTo>
                <a:lnTo>
                  <a:pt x="12118050" y="239773"/>
                </a:lnTo>
                <a:lnTo>
                  <a:pt x="12118052" y="239773"/>
                </a:lnTo>
                <a:lnTo>
                  <a:pt x="12118052" y="531873"/>
                </a:lnTo>
                <a:lnTo>
                  <a:pt x="0" y="531873"/>
                </a:lnTo>
                <a:lnTo>
                  <a:pt x="0" y="531872"/>
                </a:lnTo>
                <a:lnTo>
                  <a:pt x="7645979" y="531872"/>
                </a:lnTo>
                <a:lnTo>
                  <a:pt x="7714149" y="239773"/>
                </a:lnTo>
                <a:lnTo>
                  <a:pt x="8149729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5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6" name="Picture 15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  <p:sp>
        <p:nvSpPr>
          <p:cNvPr id="2" name="Textfeld 1">
            <a:extLst>
              <a:ext uri="{FF2B5EF4-FFF2-40B4-BE49-F238E27FC236}">
                <a16:creationId xmlns:a16="http://schemas.microsoft.com/office/drawing/2014/main" id="{A087BCE0-8F63-0A19-1407-C6D70E2032B5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3581400" y="159413"/>
            <a:ext cx="5029200" cy="323165"/>
          </a:xfrm>
          <a:prstGeom prst="rect">
            <a:avLst/>
          </a:prstGeom>
          <a:pattFill>
            <a:fgClr>
              <a:srgbClr val="EEA632"/>
            </a:fgClr>
            <a:bgClr>
              <a:srgbClr val="EEA632"/>
            </a:bgClr>
          </a:pattFill>
          <a:ln w="9525" cap="rnd">
            <a:solidFill>
              <a:srgbClr val="575757"/>
            </a:solidFill>
            <a:prstDash val="solid"/>
          </a:ln>
        </p:spPr>
        <p:txBody>
          <a:bodyPr vert="horz" wrap="square" lIns="36576" tIns="36576" rIns="36576" bIns="36576" rtlCol="0" anchor="t">
            <a:sp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en-US" b="1">
                <a:solidFill>
                  <a:srgbClr val="000000"/>
                </a:solidFill>
                <a:sym typeface="Trebuchet MS" panose="020B0603020202020204" pitchFamily="34" charset="0"/>
              </a:rPr>
              <a:t>Draft document – Pre-read</a:t>
            </a:r>
          </a:p>
        </p:txBody>
      </p:sp>
    </p:spTree>
    <p:extLst>
      <p:ext uri="{BB962C8B-B14F-4D97-AF65-F5344CB8AC3E}">
        <p14:creationId xmlns:p14="http://schemas.microsoft.com/office/powerpoint/2010/main" val="35159777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D. Gray slice head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14DB36A4-3C22-4171-A7C0-131095FDCC9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80771838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14DB36A4-3C22-4171-A7C0-131095FDCC9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/>
        </p:nvSpPr>
        <p:spPr bwMode="white">
          <a:xfrm>
            <a:off x="2" y="-1309"/>
            <a:ext cx="3252485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750"/>
              </a:spcAft>
            </a:pPr>
            <a:endParaRPr lang="en-US" sz="9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2" name="Copyright" hidden="1"/>
          <p:cNvSpPr txBox="1"/>
          <p:nvPr/>
        </p:nvSpPr>
        <p:spPr>
          <a:xfrm rot="16200000">
            <a:off x="9486902" y="3533783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3" name="Freeform: Shape 31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/>
        </p:nvSpPr>
        <p:spPr>
          <a:xfrm>
            <a:off x="0" y="6326129"/>
            <a:ext cx="12188952" cy="531873"/>
          </a:xfrm>
          <a:custGeom>
            <a:avLst/>
            <a:gdLst>
              <a:gd name="connsiteX0" fmla="*/ 8400285 w 12188952"/>
              <a:gd name="connsiteY0" fmla="*/ 0 h 531873"/>
              <a:gd name="connsiteX1" fmla="*/ 12188950 w 12188952"/>
              <a:gd name="connsiteY1" fmla="*/ 0 h 531873"/>
              <a:gd name="connsiteX2" fmla="*/ 12188950 w 12188952"/>
              <a:gd name="connsiteY2" fmla="*/ 239773 h 531873"/>
              <a:gd name="connsiteX3" fmla="*/ 12188952 w 12188952"/>
              <a:gd name="connsiteY3" fmla="*/ 239773 h 531873"/>
              <a:gd name="connsiteX4" fmla="*/ 12188952 w 12188952"/>
              <a:gd name="connsiteY4" fmla="*/ 531873 h 531873"/>
              <a:gd name="connsiteX5" fmla="*/ 0 w 12188952"/>
              <a:gd name="connsiteY5" fmla="*/ 531873 h 531873"/>
              <a:gd name="connsiteX6" fmla="*/ 0 w 12188952"/>
              <a:gd name="connsiteY6" fmla="*/ 239773 h 531873"/>
              <a:gd name="connsiteX7" fmla="*/ 8220629 w 12188952"/>
              <a:gd name="connsiteY7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88952" h="531873">
                <a:moveTo>
                  <a:pt x="8400285" y="0"/>
                </a:moveTo>
                <a:lnTo>
                  <a:pt x="12188950" y="0"/>
                </a:lnTo>
                <a:lnTo>
                  <a:pt x="12188950" y="239773"/>
                </a:lnTo>
                <a:lnTo>
                  <a:pt x="12188952" y="239773"/>
                </a:lnTo>
                <a:lnTo>
                  <a:pt x="12188952" y="531873"/>
                </a:lnTo>
                <a:lnTo>
                  <a:pt x="0" y="531873"/>
                </a:lnTo>
                <a:lnTo>
                  <a:pt x="0" y="239773"/>
                </a:lnTo>
                <a:lnTo>
                  <a:pt x="8220629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900">
              <a:solidFill>
                <a:srgbClr val="FFFFFF"/>
              </a:solidFill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5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1" y="6553592"/>
            <a:ext cx="1482051" cy="115416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75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897" y="574339"/>
            <a:ext cx="1550283" cy="400753"/>
          </a:xfrm>
          <a:prstGeom prst="rect">
            <a:avLst/>
          </a:prstGeom>
        </p:spPr>
      </p:pic>
      <p:sp>
        <p:nvSpPr>
          <p:cNvPr id="17" name="Title 1">
            <a:extLst>
              <a:ext uri="{FF2B5EF4-FFF2-40B4-BE49-F238E27FC236}">
                <a16:creationId xmlns:a16="http://schemas.microsoft.com/office/drawing/2014/main" id="{8C8680F0-21E4-46C4-A4F9-6D480C873DD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16539" y="622802"/>
            <a:ext cx="6731335" cy="249299"/>
          </a:xfrm>
          <a:prstGeom prst="rect">
            <a:avLst/>
          </a:prstGeom>
        </p:spPr>
        <p:txBody>
          <a:bodyPr vert="horz"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8004110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5120">
          <p15:clr>
            <a:srgbClr val="FBAE40"/>
          </p15:clr>
        </p15:guide>
      </p15:sldGuideLst>
    </p:ext>
  </p:extLst>
</p:sldLayout>
</file>

<file path=ppt/slideLayouts/slideLayout3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>
            <a:extLst>
              <a:ext uri="{FF2B5EF4-FFF2-40B4-BE49-F238E27FC236}">
                <a16:creationId xmlns:a16="http://schemas.microsoft.com/office/drawing/2014/main" id="{F5F6405D-70AC-D5EE-2FF9-676D83EAAC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97570"/>
            <a:ext cx="10515600" cy="249299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3180A132-83E7-E859-1DBC-654CA44CF6F2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560443"/>
            <a:ext cx="10515600" cy="461652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9" name="Date Placeholder 3">
            <a:extLst>
              <a:ext uri="{FF2B5EF4-FFF2-40B4-BE49-F238E27FC236}">
                <a16:creationId xmlns:a16="http://schemas.microsoft.com/office/drawing/2014/main" id="{B0FF59CB-3BC5-8CCE-4484-E5EFBAD9006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597409"/>
            <a:ext cx="2743200" cy="23083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  <a:latin typeface="Trebuchet MS" panose="020B0603020202020204" pitchFamily="34" charset="0"/>
              </a:defRPr>
            </a:lvl1pPr>
          </a:lstStyle>
          <a:p>
            <a:fld id="{A58E6A28-2C91-4631-B390-9FCD0226A1ED}" type="datetimeFigureOut">
              <a:rPr lang="en-IN" smtClean="0"/>
              <a:t>28-05-2025</a:t>
            </a:fld>
            <a:endParaRPr lang="en-IN"/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A79369F8-4CD1-8FF9-84CA-27C8F3B1F33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604825"/>
            <a:ext cx="4114800" cy="216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rgbClr val="FF0000"/>
                </a:solidFill>
                <a:latin typeface="Trebuchet MS" panose="020B0603020202020204" pitchFamily="34" charset="0"/>
              </a:defRPr>
            </a:lvl1pPr>
          </a:lstStyle>
          <a:p>
            <a:endParaRPr lang="en-IN"/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82215182-A3AA-4A6A-3DF5-FAAC2715831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604825"/>
            <a:ext cx="2743200" cy="216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  <a:latin typeface="Trebuchet MS" panose="020B0603020202020204" pitchFamily="34" charset="0"/>
              </a:defRPr>
            </a:lvl1pPr>
          </a:lstStyle>
          <a:p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148442173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ig statement green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sp>
        <p:nvSpPr>
          <p:cNvPr id="7" name="Copyright" hidden="1"/>
          <p:cNvSpPr txBox="1"/>
          <p:nvPr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089475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ig statement icon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/>
        </p:nvSpPr>
        <p:spPr bwMode="white">
          <a:xfrm>
            <a:off x="630000" y="1435623"/>
            <a:ext cx="932688" cy="932688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  <a:prstGeom prst="rect">
            <a:avLst/>
          </a:prstGeom>
        </p:spPr>
        <p:txBody>
          <a:bodyPr vert="horz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rgbClr val="FF0000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sp>
        <p:nvSpPr>
          <p:cNvPr id="11" name="Copyright" hidden="1"/>
          <p:cNvSpPr txBox="1"/>
          <p:nvPr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2" name="Freeform: Shape 31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/>
        </p:nvSpPr>
        <p:spPr>
          <a:xfrm>
            <a:off x="0" y="6326127"/>
            <a:ext cx="12188952" cy="531873"/>
          </a:xfrm>
          <a:custGeom>
            <a:avLst/>
            <a:gdLst>
              <a:gd name="connsiteX0" fmla="*/ 8400285 w 12188952"/>
              <a:gd name="connsiteY0" fmla="*/ 0 h 531873"/>
              <a:gd name="connsiteX1" fmla="*/ 12188950 w 12188952"/>
              <a:gd name="connsiteY1" fmla="*/ 0 h 531873"/>
              <a:gd name="connsiteX2" fmla="*/ 12188950 w 12188952"/>
              <a:gd name="connsiteY2" fmla="*/ 239773 h 531873"/>
              <a:gd name="connsiteX3" fmla="*/ 12188952 w 12188952"/>
              <a:gd name="connsiteY3" fmla="*/ 239773 h 531873"/>
              <a:gd name="connsiteX4" fmla="*/ 12188952 w 12188952"/>
              <a:gd name="connsiteY4" fmla="*/ 531873 h 531873"/>
              <a:gd name="connsiteX5" fmla="*/ 0 w 12188952"/>
              <a:gd name="connsiteY5" fmla="*/ 531873 h 531873"/>
              <a:gd name="connsiteX6" fmla="*/ 0 w 12188952"/>
              <a:gd name="connsiteY6" fmla="*/ 239773 h 531873"/>
              <a:gd name="connsiteX7" fmla="*/ 8220629 w 12188952"/>
              <a:gd name="connsiteY7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88952" h="531873">
                <a:moveTo>
                  <a:pt x="8400285" y="0"/>
                </a:moveTo>
                <a:lnTo>
                  <a:pt x="12188950" y="0"/>
                </a:lnTo>
                <a:lnTo>
                  <a:pt x="12188950" y="239773"/>
                </a:lnTo>
                <a:lnTo>
                  <a:pt x="12188952" y="239773"/>
                </a:lnTo>
                <a:lnTo>
                  <a:pt x="12188952" y="531873"/>
                </a:lnTo>
                <a:lnTo>
                  <a:pt x="0" y="531873"/>
                </a:lnTo>
                <a:lnTo>
                  <a:pt x="0" y="239773"/>
                </a:lnTo>
                <a:lnTo>
                  <a:pt x="8220629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4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  <p:sp>
        <p:nvSpPr>
          <p:cNvPr id="2" name="Textfeld 1">
            <a:extLst>
              <a:ext uri="{FF2B5EF4-FFF2-40B4-BE49-F238E27FC236}">
                <a16:creationId xmlns:a16="http://schemas.microsoft.com/office/drawing/2014/main" id="{20D0C8F4-D00E-FCA5-0C93-BEC2BD69C1FC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3581400" y="159413"/>
            <a:ext cx="5029200" cy="323165"/>
          </a:xfrm>
          <a:prstGeom prst="rect">
            <a:avLst/>
          </a:prstGeom>
          <a:pattFill>
            <a:fgClr>
              <a:srgbClr val="EEA632"/>
            </a:fgClr>
            <a:bgClr>
              <a:srgbClr val="EEA632"/>
            </a:bgClr>
          </a:pattFill>
          <a:ln w="9525" cap="rnd">
            <a:solidFill>
              <a:srgbClr val="575757"/>
            </a:solidFill>
            <a:prstDash val="solid"/>
          </a:ln>
        </p:spPr>
        <p:txBody>
          <a:bodyPr vert="horz" wrap="square" lIns="36576" tIns="36576" rIns="36576" bIns="36576" rtlCol="0" anchor="t">
            <a:sp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en-US" b="1">
                <a:solidFill>
                  <a:srgbClr val="000000"/>
                </a:solidFill>
                <a:sym typeface="Trebuchet MS" panose="020B0603020202020204" pitchFamily="34" charset="0"/>
              </a:rPr>
              <a:t>Draft document – Pre-read</a:t>
            </a:r>
          </a:p>
        </p:txBody>
      </p:sp>
    </p:spTree>
    <p:extLst>
      <p:ext uri="{BB962C8B-B14F-4D97-AF65-F5344CB8AC3E}">
        <p14:creationId xmlns:p14="http://schemas.microsoft.com/office/powerpoint/2010/main" val="9437310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ull Banner">
    <p:bg>
      <p:bgPr>
        <a:solidFill>
          <a:schemeClr val="bg1">
            <a:alpha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6CD8CD75-6EB9-63FD-BE3A-4B5C3A1BF46F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-2" y="-7070"/>
            <a:ext cx="12192001" cy="3367725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nl-BE"/>
              <a:t> </a:t>
            </a:r>
            <a:endParaRPr lang="en-IN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848D734-64F7-4EAD-848D-BBE864C7ACA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845320AC-DD4B-443B-9124-A76A02BBF0F0}" type="datetimeFigureOut">
              <a:rPr lang="en-IN" smtClean="0"/>
              <a:t>28-05-2025</a:t>
            </a:fld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DC0E4C3-45EC-41CA-A181-267F66D5881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CA1A946-C4A7-49E2-996F-99E68C7F5C9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E7FF1D80-0C43-4B56-BCBD-119C695EDC96}" type="slidenum">
              <a:rPr lang="en-IN" smtClean="0"/>
              <a:t>‹#›</a:t>
            </a:fld>
            <a:endParaRPr lang="en-IN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2E8B2B89-7C98-0C7F-0DA1-A1B84F3BB001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838200" y="3572759"/>
            <a:ext cx="10515600" cy="260609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14D9FDB7-C5E8-7B49-4FBC-67FF7720449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705457" y="-7070"/>
            <a:ext cx="1880559" cy="3367725"/>
          </a:xfrm>
          <a:blipFill>
            <a:blip r:embed="rId2"/>
            <a:stretch>
              <a:fillRect/>
            </a:stretch>
          </a:blipFill>
          <a:ln w="57150">
            <a:noFill/>
          </a:ln>
          <a:effectLst>
            <a:outerShdw sx="118000" sy="118000" algn="ctr" rotWithShape="0">
              <a:schemeClr val="bg1">
                <a:lumMod val="95000"/>
              </a:schemeClr>
            </a:outerShdw>
          </a:effectLst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nl-BE"/>
              <a:t> </a:t>
            </a:r>
            <a:endParaRPr lang="en-IN"/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370CBD3C-5829-DCB2-4FC6-96580C1D550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1" y="2488675"/>
            <a:ext cx="4412529" cy="727653"/>
          </a:xfrm>
          <a:prstGeom prst="homePlate">
            <a:avLst/>
          </a:prstGeom>
          <a:solidFill>
            <a:srgbClr val="C00000">
              <a:alpha val="60000"/>
            </a:srgbClr>
          </a:solidFill>
        </p:spPr>
        <p:txBody>
          <a:bodyPr>
            <a:normAutofit/>
          </a:bodyPr>
          <a:lstStyle>
            <a:lvl1pPr>
              <a:defRPr sz="320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394514342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Quot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24" imgH="324" progId="TCLayout.ActiveDocument.1">
                  <p:embed/>
                </p:oleObj>
              </mc:Choice>
              <mc:Fallback>
                <p:oleObj name="think-cell Slide" r:id="rId4" imgW="324" imgH="32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34" b="1258"/>
          <a:stretch/>
        </p:blipFill>
        <p:spPr>
          <a:xfrm rot="16200000" flipH="1">
            <a:off x="6797461" y="101443"/>
            <a:ext cx="769257" cy="10019821"/>
          </a:xfrm>
          <a:custGeom>
            <a:avLst/>
            <a:gdLst>
              <a:gd name="connsiteX0" fmla="*/ 0 w 769257"/>
              <a:gd name="connsiteY0" fmla="*/ 0 h 10019821"/>
              <a:gd name="connsiteX1" fmla="*/ 0 w 769257"/>
              <a:gd name="connsiteY1" fmla="*/ 4631160 h 10019821"/>
              <a:gd name="connsiteX2" fmla="*/ 216750 w 769257"/>
              <a:gd name="connsiteY2" fmla="*/ 999646 h 10019821"/>
              <a:gd name="connsiteX3" fmla="*/ 197800 w 769257"/>
              <a:gd name="connsiteY3" fmla="*/ 10019821 h 10019821"/>
              <a:gd name="connsiteX4" fmla="*/ 769257 w 769257"/>
              <a:gd name="connsiteY4" fmla="*/ 10019821 h 10019821"/>
              <a:gd name="connsiteX5" fmla="*/ 769257 w 769257"/>
              <a:gd name="connsiteY5" fmla="*/ 0 h 10019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69257" h="10019821">
                <a:moveTo>
                  <a:pt x="0" y="0"/>
                </a:moveTo>
                <a:lnTo>
                  <a:pt x="0" y="4631160"/>
                </a:lnTo>
                <a:lnTo>
                  <a:pt x="216750" y="999646"/>
                </a:lnTo>
                <a:lnTo>
                  <a:pt x="197800" y="10019821"/>
                </a:lnTo>
                <a:lnTo>
                  <a:pt x="769257" y="10019821"/>
                </a:lnTo>
                <a:lnTo>
                  <a:pt x="769257" y="0"/>
                </a:lnTo>
                <a:close/>
              </a:path>
            </a:pathLst>
          </a:cu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0"/>
            <a:ext cx="12192000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  <p:sp>
        <p:nvSpPr>
          <p:cNvPr id="3" name="Textfeld 1">
            <a:extLst>
              <a:ext uri="{FF2B5EF4-FFF2-40B4-BE49-F238E27FC236}">
                <a16:creationId xmlns:a16="http://schemas.microsoft.com/office/drawing/2014/main" id="{FF5E3DBF-9439-A7C8-D19C-5FA48CE742BA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3581400" y="159413"/>
            <a:ext cx="5029200" cy="323165"/>
          </a:xfrm>
          <a:prstGeom prst="rect">
            <a:avLst/>
          </a:prstGeom>
          <a:pattFill>
            <a:fgClr>
              <a:srgbClr val="EEA632"/>
            </a:fgClr>
            <a:bgClr>
              <a:srgbClr val="EEA632"/>
            </a:bgClr>
          </a:pattFill>
          <a:ln w="9525" cap="rnd">
            <a:solidFill>
              <a:srgbClr val="575757"/>
            </a:solidFill>
            <a:prstDash val="solid"/>
          </a:ln>
        </p:spPr>
        <p:txBody>
          <a:bodyPr vert="horz" wrap="square" lIns="36576" tIns="36576" rIns="36576" bIns="36576" rtlCol="0" anchor="t">
            <a:sp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en-US" b="1">
                <a:solidFill>
                  <a:srgbClr val="000000"/>
                </a:solidFill>
                <a:sym typeface="Trebuchet MS" panose="020B0603020202020204" pitchFamily="34" charset="0"/>
              </a:rPr>
              <a:t>Draft document – Pre-read</a:t>
            </a:r>
          </a:p>
        </p:txBody>
      </p:sp>
    </p:spTree>
    <p:extLst>
      <p:ext uri="{BB962C8B-B14F-4D97-AF65-F5344CB8AC3E}">
        <p14:creationId xmlns:p14="http://schemas.microsoft.com/office/powerpoint/2010/main" val="27663081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pecial gray">
    <p:bg>
      <p:bgPr>
        <a:solidFill>
          <a:schemeClr val="tx1">
            <a:lumMod val="85000"/>
            <a:lumOff val="1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238470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2000250" y="622800"/>
            <a:ext cx="9562950" cy="470898"/>
          </a:xfrm>
        </p:spPr>
        <p:txBody>
          <a:bodyPr vert="horz"/>
          <a:lstStyle>
            <a:lvl1pPr>
              <a:defRPr sz="3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7" name="Copyright" hidden="1"/>
          <p:cNvSpPr txBox="1"/>
          <p:nvPr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  <p:sp>
        <p:nvSpPr>
          <p:cNvPr id="2" name="Textfeld 1">
            <a:extLst>
              <a:ext uri="{FF2B5EF4-FFF2-40B4-BE49-F238E27FC236}">
                <a16:creationId xmlns:a16="http://schemas.microsoft.com/office/drawing/2014/main" id="{9532CA23-84F9-FC20-82D8-519483247077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3581400" y="159413"/>
            <a:ext cx="5029200" cy="323165"/>
          </a:xfrm>
          <a:prstGeom prst="rect">
            <a:avLst/>
          </a:prstGeom>
          <a:pattFill>
            <a:fgClr>
              <a:srgbClr val="EEA632"/>
            </a:fgClr>
            <a:bgClr>
              <a:srgbClr val="EEA632"/>
            </a:bgClr>
          </a:pattFill>
          <a:ln w="9525" cap="rnd">
            <a:solidFill>
              <a:srgbClr val="575757"/>
            </a:solidFill>
            <a:prstDash val="solid"/>
          </a:ln>
        </p:spPr>
        <p:txBody>
          <a:bodyPr vert="horz" wrap="square" lIns="36576" tIns="36576" rIns="36576" bIns="36576" rtlCol="0" anchor="t">
            <a:sp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en-US" b="1">
                <a:solidFill>
                  <a:srgbClr val="000000"/>
                </a:solidFill>
                <a:sym typeface="Trebuchet MS" panose="020B0603020202020204" pitchFamily="34" charset="0"/>
              </a:rPr>
              <a:t>Draft document – Pre-read</a:t>
            </a:r>
          </a:p>
        </p:txBody>
      </p:sp>
    </p:spTree>
    <p:extLst>
      <p:ext uri="{BB962C8B-B14F-4D97-AF65-F5344CB8AC3E}">
        <p14:creationId xmlns:p14="http://schemas.microsoft.com/office/powerpoint/2010/main" val="17968644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pyright" hidden="1"/>
          <p:cNvSpPr txBox="1"/>
          <p:nvPr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706593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lank green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pyright" hidden="1"/>
          <p:cNvSpPr txBox="1"/>
          <p:nvPr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2757826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sclaim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pyright" hidden="1"/>
          <p:cNvSpPr txBox="1"/>
          <p:nvPr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4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660633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4" name="Picture 13"/>
          <p:cNvPicPr>
            <a:picLocks noChangeAspect="1"/>
          </p:cNvPicPr>
          <p:nvPr/>
        </p:nvPicPr>
        <p:blipFill rotWithShape="1">
          <a:blip r:embed="rId5"/>
          <a:srcRect l="1079" t="8722" r="1079" b="8722"/>
          <a:stretch/>
        </p:blipFill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</p:spPr>
      </p:pic>
      <p:sp>
        <p:nvSpPr>
          <p:cNvPr id="11" name="Rectangle 10"/>
          <p:cNvSpPr/>
          <p:nvPr/>
        </p:nvSpPr>
        <p:spPr bwMode="black">
          <a:xfrm>
            <a:off x="630936" y="626200"/>
            <a:ext cx="8125200" cy="5529600"/>
          </a:xfrm>
          <a:prstGeom prst="rect">
            <a:avLst/>
          </a:prstGeom>
          <a:gradFill flip="none" rotWithShape="1">
            <a:gsLst>
              <a:gs pos="0">
                <a:srgbClr val="EF2427">
                  <a:shade val="30000"/>
                  <a:satMod val="115000"/>
                  <a:alpha val="76000"/>
                </a:srgbClr>
              </a:gs>
              <a:gs pos="100000">
                <a:srgbClr val="ED1B24">
                  <a:alpha val="61000"/>
                </a:srgb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62328" y="2992637"/>
            <a:ext cx="3062417" cy="7967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080145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8" name="Group 47"/>
          <p:cNvGrpSpPr/>
          <p:nvPr/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sp>
          <p:nvSpPr>
            <p:cNvPr id="55" name="Freeform 54"/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5678521 h 6858000"/>
                <a:gd name="connsiteX2" fmla="*/ 629400 w 12193200"/>
                <a:gd name="connsiteY2" fmla="*/ 5678521 h 6858000"/>
                <a:gd name="connsiteX3" fmla="*/ 629400 w 12193200"/>
                <a:gd name="connsiteY3" fmla="*/ 6583680 h 6858000"/>
                <a:gd name="connsiteX4" fmla="*/ 11562600 w 12193200"/>
                <a:gd name="connsiteY4" fmla="*/ 6583680 h 6858000"/>
                <a:gd name="connsiteX5" fmla="*/ 11562600 w 12193200"/>
                <a:gd name="connsiteY5" fmla="*/ 5678521 h 6858000"/>
                <a:gd name="connsiteX6" fmla="*/ 11562000 w 12193200"/>
                <a:gd name="connsiteY6" fmla="*/ 5678521 h 6858000"/>
                <a:gd name="connsiteX7" fmla="*/ 11562000 w 12193200"/>
                <a:gd name="connsiteY7" fmla="*/ 622800 h 6858000"/>
                <a:gd name="connsiteX8" fmla="*/ 0 w 12193200"/>
                <a:gd name="connsiteY8" fmla="*/ 0 h 6858000"/>
                <a:gd name="connsiteX9" fmla="*/ 12193200 w 12193200"/>
                <a:gd name="connsiteY9" fmla="*/ 0 h 6858000"/>
                <a:gd name="connsiteX10" fmla="*/ 12193200 w 12193200"/>
                <a:gd name="connsiteY10" fmla="*/ 622800 h 6858000"/>
                <a:gd name="connsiteX11" fmla="*/ 12192000 w 12193200"/>
                <a:gd name="connsiteY11" fmla="*/ 622800 h 6858000"/>
                <a:gd name="connsiteX12" fmla="*/ 12192000 w 12193200"/>
                <a:gd name="connsiteY12" fmla="*/ 6160597 h 6858000"/>
                <a:gd name="connsiteX13" fmla="*/ 12193200 w 12193200"/>
                <a:gd name="connsiteY13" fmla="*/ 6160597 h 6858000"/>
                <a:gd name="connsiteX14" fmla="*/ 12193200 w 12193200"/>
                <a:gd name="connsiteY14" fmla="*/ 6858000 h 6858000"/>
                <a:gd name="connsiteX15" fmla="*/ 12192000 w 12193200"/>
                <a:gd name="connsiteY15" fmla="*/ 6858000 h 6858000"/>
                <a:gd name="connsiteX16" fmla="*/ 11562000 w 12193200"/>
                <a:gd name="connsiteY16" fmla="*/ 6858000 h 6858000"/>
                <a:gd name="connsiteX17" fmla="*/ 630001 w 12193200"/>
                <a:gd name="connsiteY17" fmla="*/ 6858000 h 6858000"/>
                <a:gd name="connsiteX18" fmla="*/ 1 w 12193200"/>
                <a:gd name="connsiteY18" fmla="*/ 6858000 h 6858000"/>
                <a:gd name="connsiteX19" fmla="*/ 1 w 12193200"/>
                <a:gd name="connsiteY19" fmla="*/ 6160597 h 6858000"/>
                <a:gd name="connsiteX20" fmla="*/ 1 w 12193200"/>
                <a:gd name="connsiteY20" fmla="*/ 622800 h 6858000"/>
                <a:gd name="connsiteX21" fmla="*/ 0 w 12193200"/>
                <a:gd name="connsiteY21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5678521"/>
                  </a:lnTo>
                  <a:lnTo>
                    <a:pt x="629400" y="5678521"/>
                  </a:lnTo>
                  <a:lnTo>
                    <a:pt x="629400" y="6583680"/>
                  </a:lnTo>
                  <a:lnTo>
                    <a:pt x="11562600" y="6583680"/>
                  </a:lnTo>
                  <a:lnTo>
                    <a:pt x="11562600" y="5678521"/>
                  </a:lnTo>
                  <a:lnTo>
                    <a:pt x="11562000" y="5678521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chemeClr val="accent4">
                <a:lumMod val="20000"/>
                <a:lumOff val="80000"/>
                <a:alpha val="57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>
                <a:solidFill>
                  <a:schemeClr val="tx1"/>
                </a:solidFill>
              </a:endParaRPr>
            </a:p>
          </p:txBody>
        </p:sp>
        <p:grpSp>
          <p:nvGrpSpPr>
            <p:cNvPr id="56" name="Group 55"/>
            <p:cNvGrpSpPr/>
            <p:nvPr/>
          </p:nvGrpSpPr>
          <p:grpSpPr>
            <a:xfrm>
              <a:off x="-600" y="622800"/>
              <a:ext cx="12193200" cy="5055720"/>
              <a:chOff x="-600" y="622800"/>
              <a:chExt cx="12193200" cy="5055720"/>
            </a:xfrm>
          </p:grpSpPr>
          <p:cxnSp>
            <p:nvCxnSpPr>
              <p:cNvPr id="116" name="Straight Connector 115"/>
              <p:cNvCxnSpPr/>
              <p:nvPr/>
            </p:nvCxnSpPr>
            <p:spPr>
              <a:xfrm>
                <a:off x="-600" y="622800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7" name="Straight Connector 116"/>
              <p:cNvCxnSpPr/>
              <p:nvPr/>
            </p:nvCxnSpPr>
            <p:spPr>
              <a:xfrm>
                <a:off x="-600" y="920195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8" name="Straight Connector 117"/>
              <p:cNvCxnSpPr/>
              <p:nvPr/>
            </p:nvCxnSpPr>
            <p:spPr>
              <a:xfrm>
                <a:off x="-600" y="1217590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9" name="Straight Connector 118"/>
              <p:cNvCxnSpPr/>
              <p:nvPr/>
            </p:nvCxnSpPr>
            <p:spPr>
              <a:xfrm>
                <a:off x="-600" y="1514985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0" name="Straight Connector 119"/>
              <p:cNvCxnSpPr/>
              <p:nvPr/>
            </p:nvCxnSpPr>
            <p:spPr>
              <a:xfrm>
                <a:off x="-600" y="1812380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1" name="Straight Connector 120"/>
              <p:cNvCxnSpPr/>
              <p:nvPr/>
            </p:nvCxnSpPr>
            <p:spPr>
              <a:xfrm>
                <a:off x="-600" y="2109775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2" name="Straight Connector 121"/>
              <p:cNvCxnSpPr/>
              <p:nvPr/>
            </p:nvCxnSpPr>
            <p:spPr>
              <a:xfrm>
                <a:off x="-600" y="2407170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3" name="Straight Connector 122"/>
              <p:cNvCxnSpPr/>
              <p:nvPr/>
            </p:nvCxnSpPr>
            <p:spPr>
              <a:xfrm>
                <a:off x="-600" y="2704565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4" name="Straight Connector 123"/>
              <p:cNvCxnSpPr/>
              <p:nvPr/>
            </p:nvCxnSpPr>
            <p:spPr>
              <a:xfrm>
                <a:off x="-600" y="3001960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5" name="Straight Connector 124"/>
              <p:cNvCxnSpPr/>
              <p:nvPr/>
            </p:nvCxnSpPr>
            <p:spPr>
              <a:xfrm>
                <a:off x="-600" y="3299355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6" name="Straight Connector 125"/>
              <p:cNvCxnSpPr/>
              <p:nvPr/>
            </p:nvCxnSpPr>
            <p:spPr>
              <a:xfrm>
                <a:off x="-600" y="3596750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7" name="Straight Connector 126"/>
              <p:cNvCxnSpPr/>
              <p:nvPr/>
            </p:nvCxnSpPr>
            <p:spPr>
              <a:xfrm>
                <a:off x="-600" y="3894145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8" name="Straight Connector 127"/>
              <p:cNvCxnSpPr/>
              <p:nvPr/>
            </p:nvCxnSpPr>
            <p:spPr>
              <a:xfrm>
                <a:off x="-600" y="4191540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9" name="Straight Connector 128"/>
              <p:cNvCxnSpPr/>
              <p:nvPr/>
            </p:nvCxnSpPr>
            <p:spPr>
              <a:xfrm>
                <a:off x="-600" y="4488935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0" name="Straight Connector 129"/>
              <p:cNvCxnSpPr/>
              <p:nvPr/>
            </p:nvCxnSpPr>
            <p:spPr>
              <a:xfrm>
                <a:off x="-600" y="4786330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1" name="Straight Connector 130"/>
              <p:cNvCxnSpPr/>
              <p:nvPr/>
            </p:nvCxnSpPr>
            <p:spPr>
              <a:xfrm>
                <a:off x="-600" y="5083725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2" name="Straight Connector 131"/>
              <p:cNvCxnSpPr/>
              <p:nvPr/>
            </p:nvCxnSpPr>
            <p:spPr>
              <a:xfrm>
                <a:off x="-600" y="5381120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3" name="Straight Connector 132"/>
              <p:cNvCxnSpPr/>
              <p:nvPr/>
            </p:nvCxnSpPr>
            <p:spPr>
              <a:xfrm>
                <a:off x="-600" y="5678520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93" name="Group 92"/>
            <p:cNvGrpSpPr/>
            <p:nvPr/>
          </p:nvGrpSpPr>
          <p:grpSpPr>
            <a:xfrm>
              <a:off x="629400" y="623550"/>
              <a:ext cx="10933200" cy="5054970"/>
              <a:chOff x="629400" y="623550"/>
              <a:chExt cx="10933200" cy="5537047"/>
            </a:xfrm>
          </p:grpSpPr>
          <p:sp>
            <p:nvSpPr>
              <p:cNvPr id="100" name="Rectangle 34"/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1" name="Rectangle 35"/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2" name="Rectangle 36"/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3" name="Rectangle 37"/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4" name="Rectangle 38"/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5" name="Rectangle 39"/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6" name="Rectangle 40"/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7" name="Rectangle 41"/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8" name="Rectangle 42"/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9" name="Rectangle 43"/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0" name="Rectangle 44"/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1" name="Rectangle 5"/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2" name="Rectangle 7"/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3" name="Rectangle 9"/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4" name="Rectangle 11"/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5" name="Rectangle 13"/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94" name="Group 93"/>
            <p:cNvGrpSpPr/>
            <p:nvPr/>
          </p:nvGrpSpPr>
          <p:grpSpPr>
            <a:xfrm>
              <a:off x="-600" y="0"/>
              <a:ext cx="12193200" cy="6858000"/>
              <a:chOff x="-600" y="0"/>
              <a:chExt cx="12193200" cy="6858000"/>
            </a:xfrm>
          </p:grpSpPr>
          <p:sp>
            <p:nvSpPr>
              <p:cNvPr id="95" name="Slide edges"/>
              <p:cNvSpPr>
                <a:spLocks/>
              </p:cNvSpPr>
              <p:nvPr/>
            </p:nvSpPr>
            <p:spPr bwMode="auto">
              <a:xfrm>
                <a:off x="-600" y="0"/>
                <a:ext cx="12193200" cy="6858000"/>
              </a:xfrm>
              <a:custGeom>
                <a:avLst/>
                <a:gdLst>
                  <a:gd name="T0" fmla="*/ 6024 w 6026"/>
                  <a:gd name="T1" fmla="*/ 3394 h 3396"/>
                  <a:gd name="T2" fmla="*/ 6024 w 6026"/>
                  <a:gd name="T3" fmla="*/ 3391 h 3396"/>
                  <a:gd name="T4" fmla="*/ 5 w 6026"/>
                  <a:gd name="T5" fmla="*/ 3391 h 3396"/>
                  <a:gd name="T6" fmla="*/ 5 w 6026"/>
                  <a:gd name="T7" fmla="*/ 5 h 3396"/>
                  <a:gd name="T8" fmla="*/ 6021 w 6026"/>
                  <a:gd name="T9" fmla="*/ 5 h 3396"/>
                  <a:gd name="T10" fmla="*/ 6021 w 6026"/>
                  <a:gd name="T11" fmla="*/ 3394 h 3396"/>
                  <a:gd name="T12" fmla="*/ 6024 w 6026"/>
                  <a:gd name="T13" fmla="*/ 3394 h 3396"/>
                  <a:gd name="T14" fmla="*/ 6024 w 6026"/>
                  <a:gd name="T15" fmla="*/ 3391 h 3396"/>
                  <a:gd name="T16" fmla="*/ 6024 w 6026"/>
                  <a:gd name="T17" fmla="*/ 3394 h 3396"/>
                  <a:gd name="T18" fmla="*/ 6026 w 6026"/>
                  <a:gd name="T19" fmla="*/ 3394 h 3396"/>
                  <a:gd name="T20" fmla="*/ 6026 w 6026"/>
                  <a:gd name="T21" fmla="*/ 0 h 3396"/>
                  <a:gd name="T22" fmla="*/ 0 w 6026"/>
                  <a:gd name="T23" fmla="*/ 0 h 3396"/>
                  <a:gd name="T24" fmla="*/ 0 w 6026"/>
                  <a:gd name="T25" fmla="*/ 3396 h 3396"/>
                  <a:gd name="T26" fmla="*/ 6026 w 6026"/>
                  <a:gd name="T27" fmla="*/ 3396 h 3396"/>
                  <a:gd name="T28" fmla="*/ 6026 w 6026"/>
                  <a:gd name="T29" fmla="*/ 3394 h 3396"/>
                  <a:gd name="T30" fmla="*/ 6024 w 6026"/>
                  <a:gd name="T31" fmla="*/ 3394 h 33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6026" h="3396">
                    <a:moveTo>
                      <a:pt x="6024" y="3394"/>
                    </a:moveTo>
                    <a:lnTo>
                      <a:pt x="6024" y="3391"/>
                    </a:lnTo>
                    <a:lnTo>
                      <a:pt x="5" y="3391"/>
                    </a:lnTo>
                    <a:lnTo>
                      <a:pt x="5" y="5"/>
                    </a:lnTo>
                    <a:lnTo>
                      <a:pt x="6021" y="5"/>
                    </a:lnTo>
                    <a:lnTo>
                      <a:pt x="6021" y="3394"/>
                    </a:lnTo>
                    <a:lnTo>
                      <a:pt x="6024" y="3394"/>
                    </a:lnTo>
                    <a:lnTo>
                      <a:pt x="6024" y="3391"/>
                    </a:lnTo>
                    <a:lnTo>
                      <a:pt x="6024" y="3394"/>
                    </a:lnTo>
                    <a:lnTo>
                      <a:pt x="6026" y="3394"/>
                    </a:lnTo>
                    <a:lnTo>
                      <a:pt x="6026" y="0"/>
                    </a:lnTo>
                    <a:lnTo>
                      <a:pt x="0" y="0"/>
                    </a:lnTo>
                    <a:lnTo>
                      <a:pt x="0" y="3396"/>
                    </a:lnTo>
                    <a:lnTo>
                      <a:pt x="6026" y="3396"/>
                    </a:lnTo>
                    <a:lnTo>
                      <a:pt x="6026" y="3394"/>
                    </a:lnTo>
                    <a:lnTo>
                      <a:pt x="6024" y="3394"/>
                    </a:lnTo>
                    <a:close/>
                  </a:path>
                </a:pathLst>
              </a:custGeom>
              <a:solidFill>
                <a:schemeClr val="accent5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575757"/>
                  </a:solidFill>
                  <a:effectLst/>
                  <a:uLnTx/>
                  <a:uFillTx/>
                  <a:ea typeface="+mn-ea"/>
                  <a:cs typeface="+mn-cs"/>
                </a:endParaRPr>
              </a:p>
            </p:txBody>
          </p:sp>
          <p:sp>
            <p:nvSpPr>
              <p:cNvPr id="96" name="Footnote measure"/>
              <p:cNvSpPr>
                <a:spLocks noChangeArrowheads="1"/>
              </p:cNvSpPr>
              <p:nvPr/>
            </p:nvSpPr>
            <p:spPr bwMode="auto">
              <a:xfrm>
                <a:off x="629400" y="5678521"/>
                <a:ext cx="10933200" cy="905159"/>
              </a:xfrm>
              <a:prstGeom prst="rect">
                <a:avLst/>
              </a:prstGeom>
              <a:solidFill>
                <a:schemeClr val="accent3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7" name="Whitespace measure"/>
              <p:cNvSpPr>
                <a:spLocks noChangeArrowheads="1"/>
              </p:cNvSpPr>
              <p:nvPr/>
            </p:nvSpPr>
            <p:spPr bwMode="auto">
              <a:xfrm>
                <a:off x="629400" y="1514985"/>
                <a:ext cx="10932229" cy="594790"/>
              </a:xfrm>
              <a:prstGeom prst="rect">
                <a:avLst/>
              </a:prstGeom>
              <a:solidFill>
                <a:schemeClr val="accent3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8" name="Live area"/>
              <p:cNvSpPr/>
              <p:nvPr/>
            </p:nvSpPr>
            <p:spPr>
              <a:xfrm>
                <a:off x="629400" y="2109775"/>
                <a:ext cx="10933200" cy="3568747"/>
              </a:xfrm>
              <a:custGeom>
                <a:avLst/>
                <a:gdLst>
                  <a:gd name="connsiteX0" fmla="*/ 0 w 10931999"/>
                  <a:gd name="connsiteY0" fmla="*/ 0 h 5537797"/>
                  <a:gd name="connsiteX1" fmla="*/ 10931999 w 10931999"/>
                  <a:gd name="connsiteY1" fmla="*/ 0 h 5537797"/>
                  <a:gd name="connsiteX2" fmla="*/ 10931999 w 10931999"/>
                  <a:gd name="connsiteY2" fmla="*/ 5537797 h 5537797"/>
                  <a:gd name="connsiteX3" fmla="*/ 0 w 10931999"/>
                  <a:gd name="connsiteY3" fmla="*/ 5537797 h 55377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0931999" h="5537797">
                    <a:moveTo>
                      <a:pt x="0" y="0"/>
                    </a:moveTo>
                    <a:lnTo>
                      <a:pt x="10931999" y="0"/>
                    </a:lnTo>
                    <a:lnTo>
                      <a:pt x="10931999" y="5537797"/>
                    </a:lnTo>
                    <a:lnTo>
                      <a:pt x="0" y="5537797"/>
                    </a:lnTo>
                    <a:close/>
                  </a:path>
                </a:pathLst>
              </a:custGeom>
              <a:noFill/>
              <a:ln w="9525">
                <a:solidFill>
                  <a:srgbClr val="ED1B24">
                    <a:alpha val="35000"/>
                  </a:srgbClr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>
                  <a:lnSpc>
                    <a:spcPct val="90000"/>
                  </a:lnSpc>
                  <a:spcAft>
                    <a:spcPts val="1000"/>
                  </a:spcAft>
                </a:pPr>
                <a:endParaRPr lang="en-US" sz="1200">
                  <a:solidFill>
                    <a:schemeClr val="bg1"/>
                  </a:solidFill>
                </a:endParaRPr>
              </a:p>
            </p:txBody>
          </p:sp>
          <p:sp>
            <p:nvSpPr>
              <p:cNvPr id="99" name="Footnote example"/>
              <p:cNvSpPr txBox="1"/>
              <p:nvPr/>
            </p:nvSpPr>
            <p:spPr>
              <a:xfrm>
                <a:off x="630000" y="5678521"/>
                <a:ext cx="9030914" cy="332399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b">
                <a:spAutoFit/>
              </a:bodyPr>
              <a:lstStyle/>
              <a:p>
                <a:pPr lvl="0">
                  <a:lnSpc>
                    <a:spcPct val="90000"/>
                  </a:lnSpc>
                  <a:defRPr/>
                </a:pPr>
                <a:r>
                  <a:rPr lang="en-US" sz="800">
                    <a:solidFill>
                      <a:prstClr val="white">
                        <a:lumMod val="65000"/>
                      </a:prstClr>
                    </a:solidFill>
                    <a:sym typeface="Trebuchet MS" panose="020B0603020202020204" pitchFamily="34" charset="0"/>
                  </a:rPr>
                  <a:t>1. </a:t>
                </a:r>
                <a:r>
                  <a:rPr lang="en-US" sz="800" err="1">
                    <a:solidFill>
                      <a:prstClr val="white">
                        <a:lumMod val="65000"/>
                      </a:prstClr>
                    </a:solidFill>
                    <a:sym typeface="Trebuchet MS" panose="020B0603020202020204" pitchFamily="34" charset="0"/>
                  </a:rPr>
                  <a:t>xxxx</a:t>
                </a:r>
                <a:r>
                  <a:rPr lang="en-US" sz="800">
                    <a:solidFill>
                      <a:prstClr val="white">
                        <a:lumMod val="65000"/>
                      </a:prstClr>
                    </a:solidFill>
                    <a:sym typeface="Trebuchet MS" panose="020B0603020202020204" pitchFamily="34" charset="0"/>
                  </a:rPr>
                  <a:t>  2. </a:t>
                </a:r>
                <a:r>
                  <a:rPr lang="en-US" sz="800" err="1">
                    <a:solidFill>
                      <a:prstClr val="white">
                        <a:lumMod val="65000"/>
                      </a:prstClr>
                    </a:solidFill>
                    <a:sym typeface="Trebuchet MS" panose="020B0603020202020204" pitchFamily="34" charset="0"/>
                  </a:rPr>
                  <a:t>xxxx</a:t>
                </a:r>
                <a:r>
                  <a:rPr lang="en-US" sz="800">
                    <a:solidFill>
                      <a:prstClr val="white">
                        <a:lumMod val="65000"/>
                      </a:prstClr>
                    </a:solidFill>
                    <a:sym typeface="Trebuchet MS" panose="020B0603020202020204" pitchFamily="34" charset="0"/>
                  </a:rPr>
                  <a:t>  3. List footnotes in numerical order. Footnote numbers are not bracketed. Use 8pt font</a:t>
                </a:r>
              </a:p>
              <a:p>
                <a:pPr lvl="0">
                  <a:lnSpc>
                    <a:spcPct val="90000"/>
                  </a:lnSpc>
                  <a:defRPr/>
                </a:pPr>
                <a:r>
                  <a:rPr lang="en-US" sz="800">
                    <a:solidFill>
                      <a:prstClr val="white">
                        <a:lumMod val="65000"/>
                      </a:prstClr>
                    </a:solidFill>
                    <a:sym typeface="Trebuchet MS" panose="020B0603020202020204" pitchFamily="34" charset="0"/>
                  </a:rPr>
                  <a:t>Note: Do not put a period at the end of the note or the source</a:t>
                </a:r>
              </a:p>
              <a:p>
                <a:pPr lvl="0">
                  <a:lnSpc>
                    <a:spcPct val="90000"/>
                  </a:lnSpc>
                  <a:defRPr/>
                </a:pPr>
                <a:r>
                  <a:rPr lang="en-US" sz="800">
                    <a:solidFill>
                      <a:prstClr val="white">
                        <a:lumMod val="65000"/>
                      </a:prstClr>
                    </a:solidFill>
                    <a:sym typeface="Trebuchet MS" panose="020B0603020202020204" pitchFamily="34" charset="0"/>
                  </a:rPr>
                  <a:t>Source: Include a source for every chart that you use. Separate sources with a semicolon; BCG-related sources go at the end</a:t>
                </a:r>
                <a:endParaRPr kumimoji="0" lang="en-US" sz="800" b="0" i="0" u="none" strike="noStrike" kern="1200" cap="none" spc="0" normalizeH="0" baseline="0" noProof="0">
                  <a:ln>
                    <a:noFill/>
                  </a:ln>
                  <a:solidFill>
                    <a:prstClr val="white">
                      <a:lumMod val="65000"/>
                    </a:prstClr>
                  </a:solidFill>
                  <a:effectLst/>
                  <a:uLnTx/>
                  <a:uFillTx/>
                  <a:sym typeface="Trebuchet MS" panose="020B0603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40448041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780440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</a:pPr>
            <a:endParaRPr lang="en-US" sz="5400" b="0" i="0" baseline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11" name="Freeform: Shape 31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/>
        </p:nvSpPr>
        <p:spPr>
          <a:xfrm>
            <a:off x="0" y="6326127"/>
            <a:ext cx="12188952" cy="531873"/>
          </a:xfrm>
          <a:custGeom>
            <a:avLst/>
            <a:gdLst>
              <a:gd name="connsiteX0" fmla="*/ 8400285 w 12188952"/>
              <a:gd name="connsiteY0" fmla="*/ 0 h 531873"/>
              <a:gd name="connsiteX1" fmla="*/ 12188950 w 12188952"/>
              <a:gd name="connsiteY1" fmla="*/ 0 h 531873"/>
              <a:gd name="connsiteX2" fmla="*/ 12188950 w 12188952"/>
              <a:gd name="connsiteY2" fmla="*/ 239773 h 531873"/>
              <a:gd name="connsiteX3" fmla="*/ 12188952 w 12188952"/>
              <a:gd name="connsiteY3" fmla="*/ 239773 h 531873"/>
              <a:gd name="connsiteX4" fmla="*/ 12188952 w 12188952"/>
              <a:gd name="connsiteY4" fmla="*/ 531873 h 531873"/>
              <a:gd name="connsiteX5" fmla="*/ 0 w 12188952"/>
              <a:gd name="connsiteY5" fmla="*/ 531873 h 531873"/>
              <a:gd name="connsiteX6" fmla="*/ 0 w 12188952"/>
              <a:gd name="connsiteY6" fmla="*/ 239773 h 531873"/>
              <a:gd name="connsiteX7" fmla="*/ 8220629 w 12188952"/>
              <a:gd name="connsiteY7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88952" h="531873">
                <a:moveTo>
                  <a:pt x="8400285" y="0"/>
                </a:moveTo>
                <a:lnTo>
                  <a:pt x="12188950" y="0"/>
                </a:lnTo>
                <a:lnTo>
                  <a:pt x="12188950" y="239773"/>
                </a:lnTo>
                <a:lnTo>
                  <a:pt x="12188952" y="239773"/>
                </a:lnTo>
                <a:lnTo>
                  <a:pt x="12188952" y="531873"/>
                </a:lnTo>
                <a:lnTo>
                  <a:pt x="0" y="531873"/>
                </a:lnTo>
                <a:lnTo>
                  <a:pt x="0" y="239773"/>
                </a:lnTo>
                <a:lnTo>
                  <a:pt x="8220629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5256DD11-030E-4276-B7F9-8800AF6ADF2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1122363"/>
            <a:ext cx="9144000" cy="2387600"/>
          </a:xfrm>
        </p:spPr>
        <p:txBody>
          <a:bodyPr vert="horz" anchor="b">
            <a:noAutofit/>
          </a:bodyPr>
          <a:lstStyle>
            <a:lvl1pPr algn="ctr">
              <a:defRPr sz="6000" b="1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</a:t>
            </a:r>
            <a:br>
              <a:rPr lang="en-US"/>
            </a:br>
            <a:r>
              <a:rPr lang="en-US"/>
              <a:t>title style</a:t>
            </a:r>
            <a:endParaRPr lang="en-IN"/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780C3700-E3C2-478C-8875-962D0768B72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IN"/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163454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089218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2000250" y="622800"/>
            <a:ext cx="9563100" cy="332399"/>
          </a:xfrm>
        </p:spPr>
        <p:txBody>
          <a:bodyPr vert="horz"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6" name="Copyright" hidden="1"/>
          <p:cNvSpPr txBox="1"/>
          <p:nvPr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286248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B083126-25E7-42D8-B799-608CFD4DF6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add titl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AD1DA01-0E73-44DE-A132-B4FF1E70A31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29400" y="2085628"/>
            <a:ext cx="10933950" cy="4072976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Copyright" hidden="1"/>
          <p:cNvSpPr txBox="1"/>
          <p:nvPr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193111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mall Ban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6CD8CD75-6EB9-63FD-BE3A-4B5C3A1BF46F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-1" y="-7070"/>
            <a:ext cx="10515600" cy="2457605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nl-BE"/>
              <a:t> </a:t>
            </a:r>
            <a:endParaRPr lang="en-IN"/>
          </a:p>
        </p:txBody>
      </p:sp>
      <p:sp>
        <p:nvSpPr>
          <p:cNvPr id="24" name="Text Placeholder 23">
            <a:extLst>
              <a:ext uri="{FF2B5EF4-FFF2-40B4-BE49-F238E27FC236}">
                <a16:creationId xmlns:a16="http://schemas.microsoft.com/office/drawing/2014/main" id="{E690229A-3490-77D3-9E54-2BA22E536AB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 rot="20598917">
            <a:off x="9065062" y="2451793"/>
            <a:ext cx="1633608" cy="1035995"/>
          </a:xfrm>
          <a:prstGeom prst="parallelogram">
            <a:avLst>
              <a:gd name="adj" fmla="val 66454"/>
            </a:avLst>
          </a:prstGeom>
          <a:solidFill>
            <a:schemeClr val="bg1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nl-BE"/>
              <a:t> </a:t>
            </a:r>
            <a:endParaRPr lang="en-IN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848D734-64F7-4EAD-848D-BBE864C7ACA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845320AC-DD4B-443B-9124-A76A02BBF0F0}" type="datetimeFigureOut">
              <a:rPr lang="en-IN" smtClean="0"/>
              <a:t>28-05-2025</a:t>
            </a:fld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DC0E4C3-45EC-41CA-A181-267F66D5881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CA1A946-C4A7-49E2-996F-99E68C7F5C9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E7FF1D80-0C43-4B56-BCBD-119C695EDC96}" type="slidenum">
              <a:rPr lang="en-IN" smtClean="0"/>
              <a:t>‹#›</a:t>
            </a:fld>
            <a:endParaRPr lang="en-IN"/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14D9FDB7-C5E8-7B49-4FBC-67FF7720449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705457" y="-7070"/>
            <a:ext cx="1880559" cy="3367725"/>
          </a:xfrm>
          <a:blipFill>
            <a:blip r:embed="rId2"/>
            <a:stretch>
              <a:fillRect/>
            </a:stretch>
          </a:blipFill>
          <a:ln w="31750">
            <a:noFill/>
          </a:ln>
          <a:effectLst>
            <a:outerShdw dist="38100" dir="12000000" sx="105000" sy="105000" algn="tr" rotWithShape="0">
              <a:schemeClr val="bg1"/>
            </a:outerShdw>
          </a:effectLst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nl-BE"/>
              <a:t> </a:t>
            </a:r>
            <a:endParaRPr lang="en-IN"/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C19440B5-D986-063A-B19D-D6C7ECCD5B0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35" y="1932495"/>
            <a:ext cx="5237768" cy="518040"/>
          </a:xfrm>
          <a:prstGeom prst="homePlate">
            <a:avLst/>
          </a:prstGeom>
          <a:solidFill>
            <a:srgbClr val="C00000">
              <a:alpha val="80000"/>
            </a:srgbClr>
          </a:solidFill>
        </p:spPr>
        <p:txBody>
          <a:bodyPr lIns="936000">
            <a:normAutofit/>
          </a:bodyPr>
          <a:lstStyle>
            <a:lvl1pPr>
              <a:defRPr sz="240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2E8B2B89-7C98-0C7F-0DA1-A1B84F3BB001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838201" y="2618913"/>
            <a:ext cx="8376820" cy="355994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92362721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Gray slice head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 bwMode="white">
          <a:xfrm>
            <a:off x="1" y="-1309"/>
            <a:ext cx="46944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8" name="Subtitle 2"/>
          <p:cNvSpPr>
            <a:spLocks noGrp="1"/>
          </p:cNvSpPr>
          <p:nvPr>
            <p:ph type="subTitle" idx="13" hasCustomPrompt="1"/>
          </p:nvPr>
        </p:nvSpPr>
        <p:spPr>
          <a:xfrm>
            <a:off x="630000" y="2158987"/>
            <a:ext cx="3744000" cy="541687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1600">
                <a:solidFill>
                  <a:srgbClr val="FF0000"/>
                </a:solidFill>
                <a:latin typeface="+mn-lt"/>
                <a:sym typeface="Trebuchet MS" panose="020B0603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add subtitle</a:t>
            </a:r>
          </a:p>
        </p:txBody>
      </p:sp>
      <p:sp>
        <p:nvSpPr>
          <p:cNvPr id="9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1227048"/>
            <a:ext cx="3744000" cy="664797"/>
          </a:xfrm>
        </p:spPr>
        <p:txBody>
          <a:bodyPr anchor="t">
            <a:noAutofit/>
          </a:bodyPr>
          <a:lstStyle>
            <a:lvl1pPr>
              <a:defRPr sz="2400">
                <a:solidFill>
                  <a:srgbClr val="FF000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2" name="Copyright" hidden="1"/>
          <p:cNvSpPr txBox="1"/>
          <p:nvPr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3" name="Freeform: Shape 31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/>
        </p:nvSpPr>
        <p:spPr>
          <a:xfrm>
            <a:off x="0" y="6326127"/>
            <a:ext cx="12188952" cy="531873"/>
          </a:xfrm>
          <a:custGeom>
            <a:avLst/>
            <a:gdLst>
              <a:gd name="connsiteX0" fmla="*/ 8400285 w 12188952"/>
              <a:gd name="connsiteY0" fmla="*/ 0 h 531873"/>
              <a:gd name="connsiteX1" fmla="*/ 12188950 w 12188952"/>
              <a:gd name="connsiteY1" fmla="*/ 0 h 531873"/>
              <a:gd name="connsiteX2" fmla="*/ 12188950 w 12188952"/>
              <a:gd name="connsiteY2" fmla="*/ 239773 h 531873"/>
              <a:gd name="connsiteX3" fmla="*/ 12188952 w 12188952"/>
              <a:gd name="connsiteY3" fmla="*/ 239773 h 531873"/>
              <a:gd name="connsiteX4" fmla="*/ 12188952 w 12188952"/>
              <a:gd name="connsiteY4" fmla="*/ 531873 h 531873"/>
              <a:gd name="connsiteX5" fmla="*/ 0 w 12188952"/>
              <a:gd name="connsiteY5" fmla="*/ 531873 h 531873"/>
              <a:gd name="connsiteX6" fmla="*/ 0 w 12188952"/>
              <a:gd name="connsiteY6" fmla="*/ 239773 h 531873"/>
              <a:gd name="connsiteX7" fmla="*/ 8220629 w 12188952"/>
              <a:gd name="connsiteY7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88952" h="531873">
                <a:moveTo>
                  <a:pt x="8400285" y="0"/>
                </a:moveTo>
                <a:lnTo>
                  <a:pt x="12188950" y="0"/>
                </a:lnTo>
                <a:lnTo>
                  <a:pt x="12188950" y="239773"/>
                </a:lnTo>
                <a:lnTo>
                  <a:pt x="12188952" y="239773"/>
                </a:lnTo>
                <a:lnTo>
                  <a:pt x="12188952" y="531873"/>
                </a:lnTo>
                <a:lnTo>
                  <a:pt x="0" y="531873"/>
                </a:lnTo>
                <a:lnTo>
                  <a:pt x="0" y="239773"/>
                </a:lnTo>
                <a:lnTo>
                  <a:pt x="8220629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5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441458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Section header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284742" y="2668041"/>
            <a:ext cx="9620491" cy="3201026"/>
          </a:xfrm>
          <a:prstGeom prst="rect">
            <a:avLst/>
          </a:prstGeom>
          <a:ln w="9525"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</a14:hiddenLine>
            </a:ext>
          </a:extLst>
        </p:spPr>
        <p:txBody>
          <a:bodyPr vert="horz" lIns="274320" tIns="274320" rIns="274320" bIns="137160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rgbClr val="FF0000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section title</a:t>
            </a:r>
          </a:p>
        </p:txBody>
      </p:sp>
      <p:sp>
        <p:nvSpPr>
          <p:cNvPr id="11" name="Rectangle 10"/>
          <p:cNvSpPr/>
          <p:nvPr/>
        </p:nvSpPr>
        <p:spPr bwMode="white">
          <a:xfrm>
            <a:off x="1280693" y="1424081"/>
            <a:ext cx="951721" cy="951721"/>
          </a:xfrm>
          <a:prstGeom prst="rect">
            <a:avLst/>
          </a:prstGeom>
          <a:noFill/>
          <a:ln>
            <a:solidFill>
              <a:schemeClr val="tx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3" name="Copyright" hidden="1"/>
          <p:cNvSpPr txBox="1"/>
          <p:nvPr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6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511281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Section header line">
    <p:bg bwMode="blackWhite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3826800"/>
            <a:ext cx="10936800" cy="2041200"/>
          </a:xfrm>
        </p:spPr>
        <p:txBody>
          <a:bodyPr vert="horz" anchor="t">
            <a:noAutofit/>
          </a:bodyPr>
          <a:lstStyle>
            <a:lvl1pPr>
              <a:defRPr sz="5400">
                <a:solidFill>
                  <a:srgbClr val="FF000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section title</a:t>
            </a:r>
          </a:p>
        </p:txBody>
      </p:sp>
      <p:cxnSp>
        <p:nvCxnSpPr>
          <p:cNvPr id="10" name="Straight Connector 9"/>
          <p:cNvCxnSpPr/>
          <p:nvPr/>
        </p:nvCxnSpPr>
        <p:spPr bwMode="white">
          <a:xfrm>
            <a:off x="630000" y="3680016"/>
            <a:ext cx="11558587" cy="0"/>
          </a:xfrm>
          <a:prstGeom prst="line">
            <a:avLst/>
          </a:prstGeom>
          <a:ln w="19050" cmpd="sng">
            <a:solidFill>
              <a:schemeClr val="tx2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879669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White one third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4064994" y="0"/>
            <a:ext cx="416951" cy="6858000"/>
          </a:xfrm>
          <a:prstGeom prst="rect">
            <a:avLst/>
          </a:prstGeom>
        </p:spPr>
      </p:pic>
      <p:sp>
        <p:nvSpPr>
          <p:cNvPr id="24" name="Rectangle 23"/>
          <p:cNvSpPr/>
          <p:nvPr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2400">
                <a:solidFill>
                  <a:srgbClr val="FF000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1" name="Copyright" hidden="1"/>
          <p:cNvSpPr txBox="1"/>
          <p:nvPr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5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6" name="Freeform 15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/>
        </p:nvSpPr>
        <p:spPr>
          <a:xfrm>
            <a:off x="0" y="6565900"/>
            <a:ext cx="4008608" cy="292100"/>
          </a:xfrm>
          <a:custGeom>
            <a:avLst/>
            <a:gdLst>
              <a:gd name="connsiteX0" fmla="*/ 0 w 4008608"/>
              <a:gd name="connsiteY0" fmla="*/ 0 h 292100"/>
              <a:gd name="connsiteX1" fmla="*/ 4008608 w 4008608"/>
              <a:gd name="connsiteY1" fmla="*/ 0 h 292100"/>
              <a:gd name="connsiteX2" fmla="*/ 4008608 w 4008608"/>
              <a:gd name="connsiteY2" fmla="*/ 292100 h 292100"/>
              <a:gd name="connsiteX3" fmla="*/ 0 w 4008608"/>
              <a:gd name="connsiteY3" fmla="*/ 292100 h 292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08608" h="292100">
                <a:moveTo>
                  <a:pt x="0" y="0"/>
                </a:moveTo>
                <a:lnTo>
                  <a:pt x="4008608" y="0"/>
                </a:lnTo>
                <a:lnTo>
                  <a:pt x="4008608" y="292100"/>
                </a:lnTo>
                <a:lnTo>
                  <a:pt x="0" y="292100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6845200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Green highlight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073607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7165606" y="0"/>
            <a:ext cx="416951" cy="6858000"/>
          </a:xfrm>
          <a:prstGeom prst="rect">
            <a:avLst/>
          </a:prstGeom>
        </p:spPr>
      </p:pic>
      <p:sp>
        <p:nvSpPr>
          <p:cNvPr id="14" name="Rectangle 13"/>
          <p:cNvSpPr/>
          <p:nvPr/>
        </p:nvSpPr>
        <p:spPr bwMode="white">
          <a:xfrm>
            <a:off x="0" y="0"/>
            <a:ext cx="7171956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000250" y="622800"/>
            <a:ext cx="4906279" cy="332399"/>
          </a:xfrm>
          <a:prstGeom prst="rect">
            <a:avLst/>
          </a:prstGeom>
        </p:spPr>
        <p:txBody>
          <a:bodyPr vert="horz"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9" name="Copyright" hidden="1"/>
          <p:cNvSpPr txBox="1"/>
          <p:nvPr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5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6" name="Freeform 15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/>
        </p:nvSpPr>
        <p:spPr>
          <a:xfrm>
            <a:off x="0" y="6565900"/>
            <a:ext cx="7101056" cy="292100"/>
          </a:xfrm>
          <a:custGeom>
            <a:avLst/>
            <a:gdLst>
              <a:gd name="connsiteX0" fmla="*/ 0 w 7101056"/>
              <a:gd name="connsiteY0" fmla="*/ 0 h 292100"/>
              <a:gd name="connsiteX1" fmla="*/ 7101056 w 7101056"/>
              <a:gd name="connsiteY1" fmla="*/ 0 h 292100"/>
              <a:gd name="connsiteX2" fmla="*/ 7101056 w 7101056"/>
              <a:gd name="connsiteY2" fmla="*/ 292100 h 292100"/>
              <a:gd name="connsiteX3" fmla="*/ 0 w 7101056"/>
              <a:gd name="connsiteY3" fmla="*/ 292100 h 292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101056" h="292100">
                <a:moveTo>
                  <a:pt x="0" y="0"/>
                </a:moveTo>
                <a:lnTo>
                  <a:pt x="7101056" y="0"/>
                </a:lnTo>
                <a:lnTo>
                  <a:pt x="7101056" y="292100"/>
                </a:lnTo>
                <a:lnTo>
                  <a:pt x="0" y="292100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3051645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Four column green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348864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Picture 15"/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9029246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/>
        </p:nvSpPr>
        <p:spPr bwMode="white">
          <a:xfrm>
            <a:off x="0" y="0"/>
            <a:ext cx="9034272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000250" y="622800"/>
            <a:ext cx="6731334" cy="332399"/>
          </a:xfrm>
          <a:prstGeom prst="rect">
            <a:avLst/>
          </a:prstGeom>
        </p:spPr>
        <p:txBody>
          <a:bodyPr vert="horz"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9" name="Copyright" hidden="1"/>
          <p:cNvSpPr txBox="1"/>
          <p:nvPr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9" name="Freeform 18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/>
        </p:nvSpPr>
        <p:spPr>
          <a:xfrm>
            <a:off x="-1" y="6565900"/>
            <a:ext cx="8963372" cy="292100"/>
          </a:xfrm>
          <a:custGeom>
            <a:avLst/>
            <a:gdLst>
              <a:gd name="connsiteX0" fmla="*/ 0 w 8963372"/>
              <a:gd name="connsiteY0" fmla="*/ 0 h 292100"/>
              <a:gd name="connsiteX1" fmla="*/ 8963372 w 8963372"/>
              <a:gd name="connsiteY1" fmla="*/ 0 h 292100"/>
              <a:gd name="connsiteX2" fmla="*/ 8963372 w 8963372"/>
              <a:gd name="connsiteY2" fmla="*/ 292100 h 292100"/>
              <a:gd name="connsiteX3" fmla="*/ 0 w 8963372"/>
              <a:gd name="connsiteY3" fmla="*/ 292100 h 292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963372" h="292100">
                <a:moveTo>
                  <a:pt x="0" y="0"/>
                </a:moveTo>
                <a:lnTo>
                  <a:pt x="8963372" y="0"/>
                </a:lnTo>
                <a:lnTo>
                  <a:pt x="8963372" y="292100"/>
                </a:lnTo>
                <a:lnTo>
                  <a:pt x="0" y="292100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678320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Green one third">
    <p:bg>
      <p:bgPr>
        <a:gradFill>
          <a:gsLst>
            <a:gs pos="39000">
              <a:srgbClr val="D81F30"/>
            </a:gs>
            <a:gs pos="100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22"/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24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2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26" name="Rectangle 25"/>
          <p:cNvSpPr/>
          <p:nvPr/>
        </p:nvSpPr>
        <p:spPr bwMode="ltGray">
          <a:xfrm>
            <a:off x="4080763" y="-1309"/>
            <a:ext cx="8111237" cy="68593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9" name="Copyright" hidden="1"/>
          <p:cNvSpPr txBox="1"/>
          <p:nvPr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4" name="Freeform 13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/>
        </p:nvSpPr>
        <p:spPr>
          <a:xfrm>
            <a:off x="4151664" y="6326127"/>
            <a:ext cx="8037289" cy="531873"/>
          </a:xfrm>
          <a:custGeom>
            <a:avLst/>
            <a:gdLst>
              <a:gd name="connsiteX0" fmla="*/ 4248622 w 8037289"/>
              <a:gd name="connsiteY0" fmla="*/ 0 h 531873"/>
              <a:gd name="connsiteX1" fmla="*/ 8037287 w 8037289"/>
              <a:gd name="connsiteY1" fmla="*/ 0 h 531873"/>
              <a:gd name="connsiteX2" fmla="*/ 8037287 w 8037289"/>
              <a:gd name="connsiteY2" fmla="*/ 239773 h 531873"/>
              <a:gd name="connsiteX3" fmla="*/ 8037289 w 8037289"/>
              <a:gd name="connsiteY3" fmla="*/ 239773 h 531873"/>
              <a:gd name="connsiteX4" fmla="*/ 8037289 w 8037289"/>
              <a:gd name="connsiteY4" fmla="*/ 531873 h 531873"/>
              <a:gd name="connsiteX5" fmla="*/ 0 w 8037289"/>
              <a:gd name="connsiteY5" fmla="*/ 531873 h 531873"/>
              <a:gd name="connsiteX6" fmla="*/ 0 w 8037289"/>
              <a:gd name="connsiteY6" fmla="*/ 239773 h 531873"/>
              <a:gd name="connsiteX7" fmla="*/ 4068966 w 8037289"/>
              <a:gd name="connsiteY7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037289" h="531873">
                <a:moveTo>
                  <a:pt x="4248622" y="0"/>
                </a:moveTo>
                <a:lnTo>
                  <a:pt x="8037287" y="0"/>
                </a:lnTo>
                <a:lnTo>
                  <a:pt x="8037287" y="239773"/>
                </a:lnTo>
                <a:lnTo>
                  <a:pt x="8037289" y="239773"/>
                </a:lnTo>
                <a:lnTo>
                  <a:pt x="8037289" y="531873"/>
                </a:lnTo>
                <a:lnTo>
                  <a:pt x="0" y="531873"/>
                </a:lnTo>
                <a:lnTo>
                  <a:pt x="0" y="239773"/>
                </a:lnTo>
                <a:lnTo>
                  <a:pt x="4068966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12" name="TextBox 11"/>
          <p:cNvSpPr txBox="1"/>
          <p:nvPr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5836833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Green half">
    <p:bg>
      <p:bgPr>
        <a:gradFill>
          <a:gsLst>
            <a:gs pos="39000">
              <a:srgbClr val="D81F30"/>
            </a:gs>
            <a:gs pos="100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1" name="Rectangle 10"/>
          <p:cNvSpPr/>
          <p:nvPr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2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2021" y="0"/>
            <a:ext cx="6099977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baseline="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1785600"/>
            <a:ext cx="4388400" cy="3286800"/>
          </a:xfrm>
          <a:prstGeom prst="rect">
            <a:avLst/>
          </a:prstGeom>
          <a:noFill/>
        </p:spPr>
        <p:txBody>
          <a:bodyPr vert="horz" wrap="square" lIns="0" tIns="0" rIns="320040" bIns="0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6" name="Copyright" hidden="1"/>
          <p:cNvSpPr txBox="1"/>
          <p:nvPr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22" name="Freeform 21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/>
        </p:nvSpPr>
        <p:spPr>
          <a:xfrm>
            <a:off x="6162922" y="6326127"/>
            <a:ext cx="6026031" cy="531873"/>
          </a:xfrm>
          <a:custGeom>
            <a:avLst/>
            <a:gdLst>
              <a:gd name="connsiteX0" fmla="*/ 2237364 w 6026031"/>
              <a:gd name="connsiteY0" fmla="*/ 0 h 531873"/>
              <a:gd name="connsiteX1" fmla="*/ 6026029 w 6026031"/>
              <a:gd name="connsiteY1" fmla="*/ 0 h 531873"/>
              <a:gd name="connsiteX2" fmla="*/ 6026029 w 6026031"/>
              <a:gd name="connsiteY2" fmla="*/ 239773 h 531873"/>
              <a:gd name="connsiteX3" fmla="*/ 6026031 w 6026031"/>
              <a:gd name="connsiteY3" fmla="*/ 239773 h 531873"/>
              <a:gd name="connsiteX4" fmla="*/ 6026031 w 6026031"/>
              <a:gd name="connsiteY4" fmla="*/ 531873 h 531873"/>
              <a:gd name="connsiteX5" fmla="*/ 0 w 6026031"/>
              <a:gd name="connsiteY5" fmla="*/ 531873 h 531873"/>
              <a:gd name="connsiteX6" fmla="*/ 0 w 6026031"/>
              <a:gd name="connsiteY6" fmla="*/ 239773 h 531873"/>
              <a:gd name="connsiteX7" fmla="*/ 2057708 w 6026031"/>
              <a:gd name="connsiteY7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026031" h="531873">
                <a:moveTo>
                  <a:pt x="2237364" y="0"/>
                </a:moveTo>
                <a:lnTo>
                  <a:pt x="6026029" y="0"/>
                </a:lnTo>
                <a:lnTo>
                  <a:pt x="6026029" y="239773"/>
                </a:lnTo>
                <a:lnTo>
                  <a:pt x="6026031" y="239773"/>
                </a:lnTo>
                <a:lnTo>
                  <a:pt x="6026031" y="531873"/>
                </a:lnTo>
                <a:lnTo>
                  <a:pt x="0" y="531873"/>
                </a:lnTo>
                <a:lnTo>
                  <a:pt x="0" y="239773"/>
                </a:lnTo>
                <a:lnTo>
                  <a:pt x="2057708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8304570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Green two third">
    <p:bg>
      <p:bgPr>
        <a:gradFill>
          <a:gsLst>
            <a:gs pos="39000">
              <a:srgbClr val="D81F30"/>
            </a:gs>
            <a:gs pos="100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7409849" y="0"/>
            <a:ext cx="416951" cy="6858000"/>
          </a:xfrm>
          <a:prstGeom prst="rect">
            <a:avLst/>
          </a:prstGeom>
        </p:spPr>
      </p:pic>
      <p:sp>
        <p:nvSpPr>
          <p:cNvPr id="11" name="Rectangle 10"/>
          <p:cNvSpPr/>
          <p:nvPr/>
        </p:nvSpPr>
        <p:spPr bwMode="gray">
          <a:xfrm>
            <a:off x="7819543" y="0"/>
            <a:ext cx="4372457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2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20025" y="0"/>
            <a:ext cx="4371975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600">
                <a:solidFill>
                  <a:schemeClr val="tx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630936" y="1785600"/>
            <a:ext cx="6247552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7" name="Copyright" hidden="1"/>
          <p:cNvSpPr txBox="1"/>
          <p:nvPr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21" name="Freeform 20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/>
        </p:nvSpPr>
        <p:spPr>
          <a:xfrm>
            <a:off x="7890926" y="6326127"/>
            <a:ext cx="4298027" cy="531873"/>
          </a:xfrm>
          <a:custGeom>
            <a:avLst/>
            <a:gdLst>
              <a:gd name="connsiteX0" fmla="*/ 509360 w 4298027"/>
              <a:gd name="connsiteY0" fmla="*/ 0 h 531873"/>
              <a:gd name="connsiteX1" fmla="*/ 4298025 w 4298027"/>
              <a:gd name="connsiteY1" fmla="*/ 0 h 531873"/>
              <a:gd name="connsiteX2" fmla="*/ 4298025 w 4298027"/>
              <a:gd name="connsiteY2" fmla="*/ 239773 h 531873"/>
              <a:gd name="connsiteX3" fmla="*/ 4298027 w 4298027"/>
              <a:gd name="connsiteY3" fmla="*/ 239773 h 531873"/>
              <a:gd name="connsiteX4" fmla="*/ 4298027 w 4298027"/>
              <a:gd name="connsiteY4" fmla="*/ 531873 h 531873"/>
              <a:gd name="connsiteX5" fmla="*/ 0 w 4298027"/>
              <a:gd name="connsiteY5" fmla="*/ 531873 h 531873"/>
              <a:gd name="connsiteX6" fmla="*/ 0 w 4298027"/>
              <a:gd name="connsiteY6" fmla="*/ 239773 h 531873"/>
              <a:gd name="connsiteX7" fmla="*/ 329704 w 4298027"/>
              <a:gd name="connsiteY7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298027" h="531873">
                <a:moveTo>
                  <a:pt x="509360" y="0"/>
                </a:moveTo>
                <a:lnTo>
                  <a:pt x="4298025" y="0"/>
                </a:lnTo>
                <a:lnTo>
                  <a:pt x="4298025" y="239773"/>
                </a:lnTo>
                <a:lnTo>
                  <a:pt x="4298027" y="239773"/>
                </a:lnTo>
                <a:lnTo>
                  <a:pt x="4298027" y="531873"/>
                </a:lnTo>
                <a:lnTo>
                  <a:pt x="0" y="531873"/>
                </a:lnTo>
                <a:lnTo>
                  <a:pt x="0" y="239773"/>
                </a:lnTo>
                <a:lnTo>
                  <a:pt x="329704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0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3" name="Picture 12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6731256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Left arrow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24" imgH="324" progId="TCLayout.ActiveDocument.1">
                  <p:embed/>
                </p:oleObj>
              </mc:Choice>
              <mc:Fallback>
                <p:oleObj name="think-cell Slide" r:id="rId3" imgW="324" imgH="32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Freeform 14"/>
          <p:cNvSpPr/>
          <p:nvPr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pic>
        <p:nvPicPr>
          <p:cNvPr id="12" name="Picture 11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32442" y="3590399"/>
            <a:ext cx="1365250" cy="3382962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</p:spPr>
        <p:txBody>
          <a:bodyPr vert="horz" anchor="ctr" anchorCtr="0">
            <a:noAutofit/>
          </a:bodyPr>
          <a:lstStyle>
            <a:lvl1pPr>
              <a:defRPr>
                <a:solidFill>
                  <a:srgbClr val="FF0000"/>
                </a:solidFill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6" name="Copyright" hidden="1"/>
          <p:cNvSpPr txBox="1"/>
          <p:nvPr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2" name="Freeform 21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/>
        </p:nvSpPr>
        <p:spPr>
          <a:xfrm>
            <a:off x="1" y="6565900"/>
            <a:ext cx="3266011" cy="292100"/>
          </a:xfrm>
          <a:custGeom>
            <a:avLst/>
            <a:gdLst>
              <a:gd name="connsiteX0" fmla="*/ 0 w 3266011"/>
              <a:gd name="connsiteY0" fmla="*/ 0 h 292100"/>
              <a:gd name="connsiteX1" fmla="*/ 3266011 w 3266011"/>
              <a:gd name="connsiteY1" fmla="*/ 0 h 292100"/>
              <a:gd name="connsiteX2" fmla="*/ 3195872 w 3266011"/>
              <a:gd name="connsiteY2" fmla="*/ 292100 h 292100"/>
              <a:gd name="connsiteX3" fmla="*/ 0 w 3266011"/>
              <a:gd name="connsiteY3" fmla="*/ 292100 h 292100"/>
              <a:gd name="connsiteX4" fmla="*/ 0 w 3266011"/>
              <a:gd name="connsiteY4" fmla="*/ 0 h 292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266011" h="292100">
                <a:moveTo>
                  <a:pt x="0" y="0"/>
                </a:moveTo>
                <a:lnTo>
                  <a:pt x="3266011" y="0"/>
                </a:lnTo>
                <a:lnTo>
                  <a:pt x="3195872" y="292100"/>
                </a:lnTo>
                <a:lnTo>
                  <a:pt x="0" y="292100"/>
                </a:lnTo>
                <a:lnTo>
                  <a:pt x="0" y="0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2924459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71B7E0B-B9AB-4B09-9FA8-8F241C6C77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  <a:prstGeom prst="rect">
            <a:avLst/>
          </a:prstGeo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E0DC009-8F5D-4B01-9AF1-49AF4E050F7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F14F7DC-3B4D-4A95-890A-3EE5422BCE4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845320AC-DD4B-443B-9124-A76A02BBF0F0}" type="datetimeFigureOut">
              <a:rPr lang="en-IN" smtClean="0"/>
              <a:t>28-05-2025</a:t>
            </a:fld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93FF639-381D-4943-A7F9-5482099F3C7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0B07293-A1E5-4593-B503-BB95BD7F4AF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E7FF1D80-0C43-4B56-BCBD-119C695EDC96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51971891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Green left arro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Freeform 14"/>
          <p:cNvSpPr/>
          <p:nvPr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gradFill flip="none" rotWithShape="1">
            <a:gsLst>
              <a:gs pos="0">
                <a:srgbClr val="403F85"/>
              </a:gs>
              <a:gs pos="81000">
                <a:srgbClr val="ED1B24"/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</p:spPr>
        <p:txBody>
          <a:bodyPr vert="horz" anchor="ctr" anchorCtr="0">
            <a:noAutofit/>
          </a:bodyPr>
          <a:lstStyle>
            <a:lvl1pPr>
              <a:defRPr>
                <a:solidFill>
                  <a:srgbClr val="FFFFFF"/>
                </a:solidFill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216" b="7716"/>
          <a:stretch/>
        </p:blipFill>
        <p:spPr>
          <a:xfrm rot="120000">
            <a:off x="2174642" y="3402828"/>
            <a:ext cx="2694666" cy="3461745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  <p:sp>
        <p:nvSpPr>
          <p:cNvPr id="11" name="Copyright" hidden="1"/>
          <p:cNvSpPr txBox="1"/>
          <p:nvPr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8" name="Freeform 17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/>
        </p:nvSpPr>
        <p:spPr>
          <a:xfrm>
            <a:off x="3335834" y="6326127"/>
            <a:ext cx="8853119" cy="531873"/>
          </a:xfrm>
          <a:custGeom>
            <a:avLst/>
            <a:gdLst>
              <a:gd name="connsiteX0" fmla="*/ 5064452 w 8853119"/>
              <a:gd name="connsiteY0" fmla="*/ 0 h 531873"/>
              <a:gd name="connsiteX1" fmla="*/ 8853117 w 8853119"/>
              <a:gd name="connsiteY1" fmla="*/ 0 h 531873"/>
              <a:gd name="connsiteX2" fmla="*/ 8853117 w 8853119"/>
              <a:gd name="connsiteY2" fmla="*/ 239773 h 531873"/>
              <a:gd name="connsiteX3" fmla="*/ 8853119 w 8853119"/>
              <a:gd name="connsiteY3" fmla="*/ 239773 h 531873"/>
              <a:gd name="connsiteX4" fmla="*/ 8853119 w 8853119"/>
              <a:gd name="connsiteY4" fmla="*/ 531873 h 531873"/>
              <a:gd name="connsiteX5" fmla="*/ 0 w 8853119"/>
              <a:gd name="connsiteY5" fmla="*/ 531873 h 531873"/>
              <a:gd name="connsiteX6" fmla="*/ 70140 w 8853119"/>
              <a:gd name="connsiteY6" fmla="*/ 239773 h 531873"/>
              <a:gd name="connsiteX7" fmla="*/ 4884796 w 8853119"/>
              <a:gd name="connsiteY7" fmla="*/ 239773 h 531873"/>
              <a:gd name="connsiteX8" fmla="*/ 5064452 w 8853119"/>
              <a:gd name="connsiteY8" fmla="*/ 0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8853119" h="531873">
                <a:moveTo>
                  <a:pt x="5064452" y="0"/>
                </a:moveTo>
                <a:lnTo>
                  <a:pt x="8853117" y="0"/>
                </a:lnTo>
                <a:lnTo>
                  <a:pt x="8853117" y="239773"/>
                </a:lnTo>
                <a:lnTo>
                  <a:pt x="8853119" y="239773"/>
                </a:lnTo>
                <a:lnTo>
                  <a:pt x="8853119" y="531873"/>
                </a:lnTo>
                <a:lnTo>
                  <a:pt x="0" y="531873"/>
                </a:lnTo>
                <a:lnTo>
                  <a:pt x="70140" y="239773"/>
                </a:lnTo>
                <a:lnTo>
                  <a:pt x="4884796" y="239773"/>
                </a:lnTo>
                <a:lnTo>
                  <a:pt x="5064452" y="0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4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315953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Arrow one third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Pentagon 3"/>
          <p:cNvSpPr/>
          <p:nvPr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400" b="0">
                <a:solidFill>
                  <a:srgbClr val="FF000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1" name="Picture 10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81525" y="3394392"/>
            <a:ext cx="1298575" cy="3571875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Copyright" hidden="1"/>
          <p:cNvSpPr txBox="1"/>
          <p:nvPr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6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8" name="Freeform 17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/>
        </p:nvSpPr>
        <p:spPr>
          <a:xfrm>
            <a:off x="1" y="6565900"/>
            <a:ext cx="4713649" cy="292100"/>
          </a:xfrm>
          <a:custGeom>
            <a:avLst/>
            <a:gdLst>
              <a:gd name="connsiteX0" fmla="*/ 0 w 4713649"/>
              <a:gd name="connsiteY0" fmla="*/ 0 h 292100"/>
              <a:gd name="connsiteX1" fmla="*/ 4713649 w 4713649"/>
              <a:gd name="connsiteY1" fmla="*/ 0 h 292100"/>
              <a:gd name="connsiteX2" fmla="*/ 4653832 w 4713649"/>
              <a:gd name="connsiteY2" fmla="*/ 292100 h 292100"/>
              <a:gd name="connsiteX3" fmla="*/ 0 w 4713649"/>
              <a:gd name="connsiteY3" fmla="*/ 292100 h 292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713649" h="292100">
                <a:moveTo>
                  <a:pt x="0" y="0"/>
                </a:moveTo>
                <a:lnTo>
                  <a:pt x="4713649" y="0"/>
                </a:lnTo>
                <a:lnTo>
                  <a:pt x="4653832" y="292100"/>
                </a:lnTo>
                <a:lnTo>
                  <a:pt x="0" y="292100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4224666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Green arrow one thir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Pentagon 3"/>
          <p:cNvSpPr/>
          <p:nvPr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gradFill flip="none" rotWithShape="1">
            <a:gsLst>
              <a:gs pos="0">
                <a:srgbClr val="403F85"/>
              </a:gs>
              <a:gs pos="81000">
                <a:srgbClr val="ED1B24"/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400" b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562" b="6867"/>
          <a:stretch/>
        </p:blipFill>
        <p:spPr>
          <a:xfrm>
            <a:off x="3578059" y="3416300"/>
            <a:ext cx="2694666" cy="3441700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  <p:sp>
        <p:nvSpPr>
          <p:cNvPr id="10" name="Copyright" hidden="1"/>
          <p:cNvSpPr txBox="1"/>
          <p:nvPr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8" name="Freeform 17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/>
        </p:nvSpPr>
        <p:spPr>
          <a:xfrm>
            <a:off x="4795632" y="6326127"/>
            <a:ext cx="7393321" cy="531873"/>
          </a:xfrm>
          <a:custGeom>
            <a:avLst/>
            <a:gdLst>
              <a:gd name="connsiteX0" fmla="*/ 3604654 w 7393321"/>
              <a:gd name="connsiteY0" fmla="*/ 0 h 531873"/>
              <a:gd name="connsiteX1" fmla="*/ 7393319 w 7393321"/>
              <a:gd name="connsiteY1" fmla="*/ 0 h 531873"/>
              <a:gd name="connsiteX2" fmla="*/ 7393319 w 7393321"/>
              <a:gd name="connsiteY2" fmla="*/ 239773 h 531873"/>
              <a:gd name="connsiteX3" fmla="*/ 7393321 w 7393321"/>
              <a:gd name="connsiteY3" fmla="*/ 239773 h 531873"/>
              <a:gd name="connsiteX4" fmla="*/ 7393321 w 7393321"/>
              <a:gd name="connsiteY4" fmla="*/ 531873 h 531873"/>
              <a:gd name="connsiteX5" fmla="*/ 0 w 7393321"/>
              <a:gd name="connsiteY5" fmla="*/ 531873 h 531873"/>
              <a:gd name="connsiteX6" fmla="*/ 59817 w 7393321"/>
              <a:gd name="connsiteY6" fmla="*/ 239773 h 531873"/>
              <a:gd name="connsiteX7" fmla="*/ 3424998 w 7393321"/>
              <a:gd name="connsiteY7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393321" h="531873">
                <a:moveTo>
                  <a:pt x="3604654" y="0"/>
                </a:moveTo>
                <a:lnTo>
                  <a:pt x="7393319" y="0"/>
                </a:lnTo>
                <a:lnTo>
                  <a:pt x="7393319" y="239773"/>
                </a:lnTo>
                <a:lnTo>
                  <a:pt x="7393321" y="239773"/>
                </a:lnTo>
                <a:lnTo>
                  <a:pt x="7393321" y="531873"/>
                </a:lnTo>
                <a:lnTo>
                  <a:pt x="0" y="531873"/>
                </a:lnTo>
                <a:lnTo>
                  <a:pt x="59817" y="239773"/>
                </a:lnTo>
                <a:lnTo>
                  <a:pt x="3424998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43734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Arrow half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274833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entagon 8"/>
          <p:cNvSpPr/>
          <p:nvPr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2000250" y="622800"/>
            <a:ext cx="3377572" cy="332399"/>
          </a:xfrm>
          <a:prstGeom prst="rect">
            <a:avLst/>
          </a:prstGeom>
        </p:spPr>
        <p:txBody>
          <a:bodyPr vert="horz"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0" name="Picture 9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7806" y="3589606"/>
            <a:ext cx="1365250" cy="3382962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Copyright" hidden="1"/>
          <p:cNvSpPr txBox="1"/>
          <p:nvPr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grpSp>
        <p:nvGrpSpPr>
          <p:cNvPr id="12" name="Group 11"/>
          <p:cNvGrpSpPr/>
          <p:nvPr/>
        </p:nvGrpSpPr>
        <p:grpSpPr>
          <a:xfrm>
            <a:off x="0" y="6565900"/>
            <a:ext cx="5538597" cy="292100"/>
            <a:chOff x="0" y="6565900"/>
            <a:chExt cx="5538597" cy="292100"/>
          </a:xfrm>
        </p:grpSpPr>
        <p:sp>
          <p:nvSpPr>
            <p:cNvPr id="13" name="Freeform 12">
              <a:extLst>
                <a:ext uri="{FF2B5EF4-FFF2-40B4-BE49-F238E27FC236}">
                  <a16:creationId xmlns:a16="http://schemas.microsoft.com/office/drawing/2014/main" id="{D6F1E491-2552-48AF-8871-FAF6B673CB54}"/>
                </a:ext>
              </a:extLst>
            </p:cNvPr>
            <p:cNvSpPr/>
            <p:nvPr/>
          </p:nvSpPr>
          <p:spPr>
            <a:xfrm>
              <a:off x="824948" y="6565900"/>
              <a:ext cx="4713649" cy="292100"/>
            </a:xfrm>
            <a:custGeom>
              <a:avLst/>
              <a:gdLst>
                <a:gd name="connsiteX0" fmla="*/ 0 w 4713649"/>
                <a:gd name="connsiteY0" fmla="*/ 0 h 292100"/>
                <a:gd name="connsiteX1" fmla="*/ 4713649 w 4713649"/>
                <a:gd name="connsiteY1" fmla="*/ 0 h 292100"/>
                <a:gd name="connsiteX2" fmla="*/ 4653832 w 4713649"/>
                <a:gd name="connsiteY2" fmla="*/ 292100 h 292100"/>
                <a:gd name="connsiteX3" fmla="*/ 0 w 4713649"/>
                <a:gd name="connsiteY3" fmla="*/ 292100 h 292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713649" h="292100">
                  <a:moveTo>
                    <a:pt x="0" y="0"/>
                  </a:moveTo>
                  <a:lnTo>
                    <a:pt x="4713649" y="0"/>
                  </a:lnTo>
                  <a:lnTo>
                    <a:pt x="4653832" y="292100"/>
                  </a:lnTo>
                  <a:lnTo>
                    <a:pt x="0" y="292100"/>
                  </a:lnTo>
                  <a:close/>
                </a:path>
              </a:pathLst>
            </a:custGeom>
            <a:solidFill>
              <a:srgbClr val="FF0000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1240B29-F687-4F45-9708-019B960494DF}">
                <a14:hiddenLine xmlns:a14="http://schemas.microsoft.com/office/drawing/2010/main" w="9525" cap="rnd" cmpd="sng" algn="ctr">
                  <a:solidFill>
                    <a:srgbClr val="29BA74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FFFFFF"/>
                </a:solidFill>
              </a:endParaRPr>
            </a:p>
          </p:txBody>
        </p:sp>
        <p:sp>
          <p:nvSpPr>
            <p:cNvPr id="16" name="Rectangle 15"/>
            <p:cNvSpPr/>
            <p:nvPr/>
          </p:nvSpPr>
          <p:spPr>
            <a:xfrm>
              <a:off x="0" y="6565900"/>
              <a:ext cx="1427967" cy="292100"/>
            </a:xfrm>
            <a:prstGeom prst="rect">
              <a:avLst/>
            </a:prstGeom>
            <a:solidFill>
              <a:srgbClr val="FF0000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1240B29-F687-4F45-9708-019B960494DF}">
                <a14:hiddenLine xmlns:a14="http://schemas.microsoft.com/office/drawing/2010/main" w="9525" cap="rnd" cmpd="sng" algn="ctr">
                  <a:solidFill>
                    <a:srgbClr val="29BA74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FFFFFF"/>
                </a:solidFill>
              </a:endParaRPr>
            </a:p>
          </p:txBody>
        </p:sp>
      </p:grpSp>
      <p:pic>
        <p:nvPicPr>
          <p:cNvPr id="14" name="Picture 13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3722970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Green arrow half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401162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entagon 8"/>
          <p:cNvSpPr/>
          <p:nvPr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gradFill flip="none" rotWithShape="1">
            <a:gsLst>
              <a:gs pos="0">
                <a:srgbClr val="403F85"/>
              </a:gs>
              <a:gs pos="81000">
                <a:srgbClr val="ED1B24"/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2000250" y="622800"/>
            <a:ext cx="3377572" cy="332399"/>
          </a:xfrm>
          <a:prstGeom prst="rect">
            <a:avLst/>
          </a:prstGeom>
        </p:spPr>
        <p:txBody>
          <a:bodyPr vert="horz"/>
          <a:lstStyle>
            <a:lvl1pPr>
              <a:defRPr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4460172" y="3407803"/>
            <a:ext cx="2694666" cy="3456551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12" name="Copyright" hidden="1"/>
          <p:cNvSpPr txBox="1"/>
          <p:nvPr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1" name="Freeform 10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/>
        </p:nvSpPr>
        <p:spPr>
          <a:xfrm>
            <a:off x="914400" y="6326127"/>
            <a:ext cx="11274552" cy="531873"/>
          </a:xfrm>
          <a:custGeom>
            <a:avLst/>
            <a:gdLst>
              <a:gd name="connsiteX0" fmla="*/ 7485885 w 11274552"/>
              <a:gd name="connsiteY0" fmla="*/ 0 h 531873"/>
              <a:gd name="connsiteX1" fmla="*/ 11274550 w 11274552"/>
              <a:gd name="connsiteY1" fmla="*/ 0 h 531873"/>
              <a:gd name="connsiteX2" fmla="*/ 11274550 w 11274552"/>
              <a:gd name="connsiteY2" fmla="*/ 239773 h 531873"/>
              <a:gd name="connsiteX3" fmla="*/ 11274552 w 11274552"/>
              <a:gd name="connsiteY3" fmla="*/ 239773 h 531873"/>
              <a:gd name="connsiteX4" fmla="*/ 11274552 w 11274552"/>
              <a:gd name="connsiteY4" fmla="*/ 531873 h 531873"/>
              <a:gd name="connsiteX5" fmla="*/ 0 w 11274552"/>
              <a:gd name="connsiteY5" fmla="*/ 531873 h 531873"/>
              <a:gd name="connsiteX6" fmla="*/ 0 w 11274552"/>
              <a:gd name="connsiteY6" fmla="*/ 531872 h 531873"/>
              <a:gd name="connsiteX7" fmla="*/ 4696667 w 11274552"/>
              <a:gd name="connsiteY7" fmla="*/ 531872 h 531873"/>
              <a:gd name="connsiteX8" fmla="*/ 4766807 w 11274552"/>
              <a:gd name="connsiteY8" fmla="*/ 239773 h 531873"/>
              <a:gd name="connsiteX9" fmla="*/ 7306229 w 11274552"/>
              <a:gd name="connsiteY9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1274552" h="531873">
                <a:moveTo>
                  <a:pt x="7485885" y="0"/>
                </a:moveTo>
                <a:lnTo>
                  <a:pt x="11274550" y="0"/>
                </a:lnTo>
                <a:lnTo>
                  <a:pt x="11274550" y="239773"/>
                </a:lnTo>
                <a:lnTo>
                  <a:pt x="11274552" y="239773"/>
                </a:lnTo>
                <a:lnTo>
                  <a:pt x="11274552" y="531873"/>
                </a:lnTo>
                <a:lnTo>
                  <a:pt x="0" y="531873"/>
                </a:lnTo>
                <a:lnTo>
                  <a:pt x="0" y="531872"/>
                </a:lnTo>
                <a:lnTo>
                  <a:pt x="4696667" y="531872"/>
                </a:lnTo>
                <a:lnTo>
                  <a:pt x="4766807" y="239773"/>
                </a:lnTo>
                <a:lnTo>
                  <a:pt x="7306229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8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3" name="Picture 12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343125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Arrow two third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13017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000250" y="622800"/>
            <a:ext cx="4884246" cy="332399"/>
          </a:xfrm>
          <a:prstGeom prst="rect">
            <a:avLst/>
          </a:prstGeom>
        </p:spPr>
        <p:txBody>
          <a:bodyPr vert="horz"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1" name="Picture 10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90339" y="3589606"/>
            <a:ext cx="1365250" cy="3382962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Copyright" hidden="1"/>
          <p:cNvSpPr txBox="1"/>
          <p:nvPr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8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9" name="Freeform 8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/>
        </p:nvSpPr>
        <p:spPr>
          <a:xfrm>
            <a:off x="-1" y="6565900"/>
            <a:ext cx="7638826" cy="292100"/>
          </a:xfrm>
          <a:custGeom>
            <a:avLst/>
            <a:gdLst>
              <a:gd name="connsiteX0" fmla="*/ 0 w 7638826"/>
              <a:gd name="connsiteY0" fmla="*/ 0 h 292100"/>
              <a:gd name="connsiteX1" fmla="*/ 2925177 w 7638826"/>
              <a:gd name="connsiteY1" fmla="*/ 0 h 292100"/>
              <a:gd name="connsiteX2" fmla="*/ 6027750 w 7638826"/>
              <a:gd name="connsiteY2" fmla="*/ 0 h 292100"/>
              <a:gd name="connsiteX3" fmla="*/ 7638826 w 7638826"/>
              <a:gd name="connsiteY3" fmla="*/ 0 h 292100"/>
              <a:gd name="connsiteX4" fmla="*/ 7579009 w 7638826"/>
              <a:gd name="connsiteY4" fmla="*/ 292100 h 292100"/>
              <a:gd name="connsiteX5" fmla="*/ 5951257 w 7638826"/>
              <a:gd name="connsiteY5" fmla="*/ 292100 h 292100"/>
              <a:gd name="connsiteX6" fmla="*/ 2925177 w 7638826"/>
              <a:gd name="connsiteY6" fmla="*/ 292100 h 292100"/>
              <a:gd name="connsiteX7" fmla="*/ 0 w 7638826"/>
              <a:gd name="connsiteY7" fmla="*/ 292100 h 292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638826" h="292100">
                <a:moveTo>
                  <a:pt x="0" y="0"/>
                </a:moveTo>
                <a:lnTo>
                  <a:pt x="2925177" y="0"/>
                </a:lnTo>
                <a:lnTo>
                  <a:pt x="6027750" y="0"/>
                </a:lnTo>
                <a:lnTo>
                  <a:pt x="7638826" y="0"/>
                </a:lnTo>
                <a:lnTo>
                  <a:pt x="7579009" y="292100"/>
                </a:lnTo>
                <a:lnTo>
                  <a:pt x="5951257" y="292100"/>
                </a:lnTo>
                <a:lnTo>
                  <a:pt x="2925177" y="292100"/>
                </a:lnTo>
                <a:lnTo>
                  <a:pt x="0" y="292100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pic>
        <p:nvPicPr>
          <p:cNvPr id="13" name="Picture 12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8965930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Green arrow two thir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63291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rgbClr val="403F85"/>
              </a:gs>
              <a:gs pos="81000">
                <a:srgbClr val="ED1B24"/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000250" y="622800"/>
            <a:ext cx="4884246" cy="332399"/>
          </a:xfrm>
          <a:prstGeom prst="rect">
            <a:avLst/>
          </a:prstGeom>
        </p:spPr>
        <p:txBody>
          <a:bodyPr vert="horz"/>
          <a:lstStyle>
            <a:lvl1pPr>
              <a:defRPr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6567628" y="3407803"/>
            <a:ext cx="2694666" cy="3456551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10" name="Copyright" hidden="1"/>
          <p:cNvSpPr txBox="1"/>
          <p:nvPr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5" name="Freeform 14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/>
        </p:nvSpPr>
        <p:spPr>
          <a:xfrm>
            <a:off x="70900" y="6326127"/>
            <a:ext cx="12118052" cy="531873"/>
          </a:xfrm>
          <a:custGeom>
            <a:avLst/>
            <a:gdLst>
              <a:gd name="connsiteX0" fmla="*/ 8329385 w 12118052"/>
              <a:gd name="connsiteY0" fmla="*/ 0 h 531873"/>
              <a:gd name="connsiteX1" fmla="*/ 12118050 w 12118052"/>
              <a:gd name="connsiteY1" fmla="*/ 0 h 531873"/>
              <a:gd name="connsiteX2" fmla="*/ 12118050 w 12118052"/>
              <a:gd name="connsiteY2" fmla="*/ 239773 h 531873"/>
              <a:gd name="connsiteX3" fmla="*/ 12118052 w 12118052"/>
              <a:gd name="connsiteY3" fmla="*/ 239773 h 531873"/>
              <a:gd name="connsiteX4" fmla="*/ 12118052 w 12118052"/>
              <a:gd name="connsiteY4" fmla="*/ 531873 h 531873"/>
              <a:gd name="connsiteX5" fmla="*/ 0 w 12118052"/>
              <a:gd name="connsiteY5" fmla="*/ 531873 h 531873"/>
              <a:gd name="connsiteX6" fmla="*/ 0 w 12118052"/>
              <a:gd name="connsiteY6" fmla="*/ 531872 h 531873"/>
              <a:gd name="connsiteX7" fmla="*/ 7645979 w 12118052"/>
              <a:gd name="connsiteY7" fmla="*/ 531872 h 531873"/>
              <a:gd name="connsiteX8" fmla="*/ 7714149 w 12118052"/>
              <a:gd name="connsiteY8" fmla="*/ 239773 h 531873"/>
              <a:gd name="connsiteX9" fmla="*/ 8149729 w 12118052"/>
              <a:gd name="connsiteY9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118052" h="531873">
                <a:moveTo>
                  <a:pt x="8329385" y="0"/>
                </a:moveTo>
                <a:lnTo>
                  <a:pt x="12118050" y="0"/>
                </a:lnTo>
                <a:lnTo>
                  <a:pt x="12118050" y="239773"/>
                </a:lnTo>
                <a:lnTo>
                  <a:pt x="12118052" y="239773"/>
                </a:lnTo>
                <a:lnTo>
                  <a:pt x="12118052" y="531873"/>
                </a:lnTo>
                <a:lnTo>
                  <a:pt x="0" y="531873"/>
                </a:lnTo>
                <a:lnTo>
                  <a:pt x="0" y="531872"/>
                </a:lnTo>
                <a:lnTo>
                  <a:pt x="7645979" y="531872"/>
                </a:lnTo>
                <a:lnTo>
                  <a:pt x="7714149" y="239773"/>
                </a:lnTo>
                <a:lnTo>
                  <a:pt x="8149729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4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981093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Big statement green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sp>
        <p:nvSpPr>
          <p:cNvPr id="12" name="Copyright" hidden="1"/>
          <p:cNvSpPr txBox="1"/>
          <p:nvPr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5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5949518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Big statement ic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/>
        </p:nvSpPr>
        <p:spPr bwMode="white">
          <a:xfrm>
            <a:off x="630000" y="1435623"/>
            <a:ext cx="932688" cy="932688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  <a:prstGeom prst="rect">
            <a:avLst/>
          </a:prstGeom>
        </p:spPr>
        <p:txBody>
          <a:bodyPr vert="horz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rgbClr val="FF0000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sp>
        <p:nvSpPr>
          <p:cNvPr id="14" name="Copyright" hidden="1"/>
          <p:cNvSpPr txBox="1"/>
          <p:nvPr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5" name="Freeform: Shape 31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/>
        </p:nvSpPr>
        <p:spPr>
          <a:xfrm>
            <a:off x="0" y="6326127"/>
            <a:ext cx="12188952" cy="531873"/>
          </a:xfrm>
          <a:custGeom>
            <a:avLst/>
            <a:gdLst>
              <a:gd name="connsiteX0" fmla="*/ 8400285 w 12188952"/>
              <a:gd name="connsiteY0" fmla="*/ 0 h 531873"/>
              <a:gd name="connsiteX1" fmla="*/ 12188950 w 12188952"/>
              <a:gd name="connsiteY1" fmla="*/ 0 h 531873"/>
              <a:gd name="connsiteX2" fmla="*/ 12188950 w 12188952"/>
              <a:gd name="connsiteY2" fmla="*/ 239773 h 531873"/>
              <a:gd name="connsiteX3" fmla="*/ 12188952 w 12188952"/>
              <a:gd name="connsiteY3" fmla="*/ 239773 h 531873"/>
              <a:gd name="connsiteX4" fmla="*/ 12188952 w 12188952"/>
              <a:gd name="connsiteY4" fmla="*/ 531873 h 531873"/>
              <a:gd name="connsiteX5" fmla="*/ 0 w 12188952"/>
              <a:gd name="connsiteY5" fmla="*/ 531873 h 531873"/>
              <a:gd name="connsiteX6" fmla="*/ 0 w 12188952"/>
              <a:gd name="connsiteY6" fmla="*/ 239773 h 531873"/>
              <a:gd name="connsiteX7" fmla="*/ 8220629 w 12188952"/>
              <a:gd name="connsiteY7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88952" h="531873">
                <a:moveTo>
                  <a:pt x="8400285" y="0"/>
                </a:moveTo>
                <a:lnTo>
                  <a:pt x="12188950" y="0"/>
                </a:lnTo>
                <a:lnTo>
                  <a:pt x="12188950" y="239773"/>
                </a:lnTo>
                <a:lnTo>
                  <a:pt x="12188952" y="239773"/>
                </a:lnTo>
                <a:lnTo>
                  <a:pt x="12188952" y="531873"/>
                </a:lnTo>
                <a:lnTo>
                  <a:pt x="0" y="531873"/>
                </a:lnTo>
                <a:lnTo>
                  <a:pt x="0" y="239773"/>
                </a:lnTo>
                <a:lnTo>
                  <a:pt x="8220629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199432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Quot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34" b="1258"/>
          <a:stretch/>
        </p:blipFill>
        <p:spPr>
          <a:xfrm rot="16200000" flipH="1">
            <a:off x="6797461" y="101443"/>
            <a:ext cx="769257" cy="10019821"/>
          </a:xfrm>
          <a:custGeom>
            <a:avLst/>
            <a:gdLst>
              <a:gd name="connsiteX0" fmla="*/ 0 w 769257"/>
              <a:gd name="connsiteY0" fmla="*/ 0 h 10019821"/>
              <a:gd name="connsiteX1" fmla="*/ 0 w 769257"/>
              <a:gd name="connsiteY1" fmla="*/ 4631160 h 10019821"/>
              <a:gd name="connsiteX2" fmla="*/ 216750 w 769257"/>
              <a:gd name="connsiteY2" fmla="*/ 999646 h 10019821"/>
              <a:gd name="connsiteX3" fmla="*/ 197800 w 769257"/>
              <a:gd name="connsiteY3" fmla="*/ 10019821 h 10019821"/>
              <a:gd name="connsiteX4" fmla="*/ 769257 w 769257"/>
              <a:gd name="connsiteY4" fmla="*/ 10019821 h 10019821"/>
              <a:gd name="connsiteX5" fmla="*/ 769257 w 769257"/>
              <a:gd name="connsiteY5" fmla="*/ 0 h 10019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69257" h="10019821">
                <a:moveTo>
                  <a:pt x="0" y="0"/>
                </a:moveTo>
                <a:lnTo>
                  <a:pt x="0" y="4631160"/>
                </a:lnTo>
                <a:lnTo>
                  <a:pt x="216750" y="999646"/>
                </a:lnTo>
                <a:lnTo>
                  <a:pt x="197800" y="10019821"/>
                </a:lnTo>
                <a:lnTo>
                  <a:pt x="769257" y="10019821"/>
                </a:lnTo>
                <a:lnTo>
                  <a:pt x="769257" y="0"/>
                </a:lnTo>
                <a:close/>
              </a:path>
            </a:pathLst>
          </a:cu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0"/>
            <a:ext cx="12192000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540223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1DB2C72-5C31-4847-8CD8-188EAF2876B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594804"/>
            <a:ext cx="10515600" cy="1095884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DC00F5E-95BE-443B-9074-342A83E1E593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EC6D343-039E-44AC-AD8D-0A77F89D7DB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BD9C2589-3C14-47E7-A740-7EC315AA84E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845320AC-DD4B-443B-9124-A76A02BBF0F0}" type="datetimeFigureOut">
              <a:rPr lang="en-IN" smtClean="0"/>
              <a:t>28-05-2025</a:t>
            </a:fld>
            <a:endParaRPr lang="en-IN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E433748-DB03-41A2-8FAE-7F5E289C56E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IN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A42C3E9-0E41-40A0-B320-10F1519A46F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E7FF1D80-0C43-4B56-BCBD-119C695EDC96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864484635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Special gray">
    <p:bg>
      <p:bgPr>
        <a:solidFill>
          <a:schemeClr val="tx1">
            <a:lumMod val="85000"/>
            <a:lumOff val="1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442779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000250" y="622800"/>
            <a:ext cx="9562950" cy="332399"/>
          </a:xfrm>
        </p:spPr>
        <p:txBody>
          <a:bodyPr vert="horz"/>
          <a:lstStyle>
            <a:lvl1pPr>
              <a:defRPr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7" name="Copyright" hidden="1"/>
          <p:cNvSpPr txBox="1"/>
          <p:nvPr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817989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Table of contents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Freeform 12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7" name="Freeform 12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630000" y="2577934"/>
            <a:ext cx="2819400" cy="17617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indent="0">
              <a:lnSpc>
                <a:spcPct val="106000"/>
              </a:lnSpc>
              <a:spcAft>
                <a:spcPts val="700"/>
              </a:spcAft>
              <a:buFontTx/>
              <a:buNone/>
            </a:pPr>
            <a:r>
              <a:rPr lang="en-US" sz="5400">
                <a:solidFill>
                  <a:srgbClr val="FF0000"/>
                </a:solidFill>
                <a:latin typeface="+mn-lt"/>
                <a:sym typeface="Trebuchet MS" panose="020B0603020202020204" pitchFamily="34" charset="0"/>
              </a:rPr>
              <a:t>Table of contents</a:t>
            </a:r>
          </a:p>
        </p:txBody>
      </p:sp>
      <p:pic>
        <p:nvPicPr>
          <p:cNvPr id="10" name="Picture 9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8638" y="3586748"/>
            <a:ext cx="1365250" cy="3382962"/>
          </a:xfrm>
          <a:custGeom>
            <a:avLst/>
            <a:gdLst>
              <a:gd name="connsiteX0" fmla="*/ 94280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28720 w 1365250"/>
              <a:gd name="connsiteY3" fmla="*/ 3382962 h 3382962"/>
              <a:gd name="connsiteX4" fmla="*/ 0 w 1365250"/>
              <a:gd name="connsiteY4" fmla="*/ 0 h 3382962"/>
              <a:gd name="connsiteX5" fmla="*/ 929501 w 1365250"/>
              <a:gd name="connsiteY5" fmla="*/ 0 h 3382962"/>
              <a:gd name="connsiteX6" fmla="*/ 0 w 1365250"/>
              <a:gd name="connsiteY6" fmla="*/ 2860398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65250" h="3382962">
                <a:moveTo>
                  <a:pt x="94280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28720" y="3382962"/>
                </a:lnTo>
                <a:close/>
                <a:moveTo>
                  <a:pt x="0" y="0"/>
                </a:moveTo>
                <a:lnTo>
                  <a:pt x="929501" y="0"/>
                </a:lnTo>
                <a:lnTo>
                  <a:pt x="0" y="2860398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Copyright" hidden="1"/>
          <p:cNvSpPr txBox="1"/>
          <p:nvPr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8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4" name="Freeform 13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/>
        </p:nvSpPr>
        <p:spPr>
          <a:xfrm>
            <a:off x="1" y="6565900"/>
            <a:ext cx="3266011" cy="292100"/>
          </a:xfrm>
          <a:custGeom>
            <a:avLst/>
            <a:gdLst>
              <a:gd name="connsiteX0" fmla="*/ 0 w 3266011"/>
              <a:gd name="connsiteY0" fmla="*/ 0 h 292100"/>
              <a:gd name="connsiteX1" fmla="*/ 3266011 w 3266011"/>
              <a:gd name="connsiteY1" fmla="*/ 0 h 292100"/>
              <a:gd name="connsiteX2" fmla="*/ 3195872 w 3266011"/>
              <a:gd name="connsiteY2" fmla="*/ 292100 h 292100"/>
              <a:gd name="connsiteX3" fmla="*/ 0 w 3266011"/>
              <a:gd name="connsiteY3" fmla="*/ 292100 h 292100"/>
              <a:gd name="connsiteX4" fmla="*/ 0 w 3266011"/>
              <a:gd name="connsiteY4" fmla="*/ 0 h 292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266011" h="292100">
                <a:moveTo>
                  <a:pt x="0" y="0"/>
                </a:moveTo>
                <a:lnTo>
                  <a:pt x="3266011" y="0"/>
                </a:lnTo>
                <a:lnTo>
                  <a:pt x="3195872" y="292100"/>
                </a:lnTo>
                <a:lnTo>
                  <a:pt x="0" y="292100"/>
                </a:lnTo>
                <a:lnTo>
                  <a:pt x="0" y="0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6178523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Blank green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pyright" hidden="1"/>
          <p:cNvSpPr txBox="1"/>
          <p:nvPr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3227356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pyright" hidden="1"/>
          <p:cNvSpPr txBox="1"/>
          <p:nvPr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4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265033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D.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5"/>
          <a:srcRect l="1079" t="8722" r="1079" b="8722"/>
          <a:stretch/>
        </p:blipFill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</p:spPr>
      </p:pic>
      <p:sp>
        <p:nvSpPr>
          <p:cNvPr id="11" name="Rectangle 10"/>
          <p:cNvSpPr/>
          <p:nvPr/>
        </p:nvSpPr>
        <p:spPr bwMode="black">
          <a:xfrm>
            <a:off x="630936" y="626200"/>
            <a:ext cx="8125200" cy="5529600"/>
          </a:xfrm>
          <a:prstGeom prst="rect">
            <a:avLst/>
          </a:prstGeom>
          <a:gradFill flip="none" rotWithShape="1">
            <a:gsLst>
              <a:gs pos="0">
                <a:srgbClr val="EF2427">
                  <a:shade val="30000"/>
                  <a:satMod val="115000"/>
                  <a:alpha val="76000"/>
                </a:srgbClr>
              </a:gs>
              <a:gs pos="100000">
                <a:srgbClr val="ED1B24">
                  <a:alpha val="61000"/>
                </a:srgb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62328" y="2992637"/>
            <a:ext cx="3062417" cy="7967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545014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8" name="Group 47"/>
          <p:cNvGrpSpPr/>
          <p:nvPr/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sp>
          <p:nvSpPr>
            <p:cNvPr id="49" name="Freeform 48"/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5678521 h 6858000"/>
                <a:gd name="connsiteX2" fmla="*/ 629400 w 12193200"/>
                <a:gd name="connsiteY2" fmla="*/ 5678521 h 6858000"/>
                <a:gd name="connsiteX3" fmla="*/ 629400 w 12193200"/>
                <a:gd name="connsiteY3" fmla="*/ 6583680 h 6858000"/>
                <a:gd name="connsiteX4" fmla="*/ 11562600 w 12193200"/>
                <a:gd name="connsiteY4" fmla="*/ 6583680 h 6858000"/>
                <a:gd name="connsiteX5" fmla="*/ 11562600 w 12193200"/>
                <a:gd name="connsiteY5" fmla="*/ 5678521 h 6858000"/>
                <a:gd name="connsiteX6" fmla="*/ 11562000 w 12193200"/>
                <a:gd name="connsiteY6" fmla="*/ 5678521 h 6858000"/>
                <a:gd name="connsiteX7" fmla="*/ 11562000 w 12193200"/>
                <a:gd name="connsiteY7" fmla="*/ 622800 h 6858000"/>
                <a:gd name="connsiteX8" fmla="*/ 0 w 12193200"/>
                <a:gd name="connsiteY8" fmla="*/ 0 h 6858000"/>
                <a:gd name="connsiteX9" fmla="*/ 12193200 w 12193200"/>
                <a:gd name="connsiteY9" fmla="*/ 0 h 6858000"/>
                <a:gd name="connsiteX10" fmla="*/ 12193200 w 12193200"/>
                <a:gd name="connsiteY10" fmla="*/ 622800 h 6858000"/>
                <a:gd name="connsiteX11" fmla="*/ 12192000 w 12193200"/>
                <a:gd name="connsiteY11" fmla="*/ 622800 h 6858000"/>
                <a:gd name="connsiteX12" fmla="*/ 12192000 w 12193200"/>
                <a:gd name="connsiteY12" fmla="*/ 6160597 h 6858000"/>
                <a:gd name="connsiteX13" fmla="*/ 12193200 w 12193200"/>
                <a:gd name="connsiteY13" fmla="*/ 6160597 h 6858000"/>
                <a:gd name="connsiteX14" fmla="*/ 12193200 w 12193200"/>
                <a:gd name="connsiteY14" fmla="*/ 6858000 h 6858000"/>
                <a:gd name="connsiteX15" fmla="*/ 12192000 w 12193200"/>
                <a:gd name="connsiteY15" fmla="*/ 6858000 h 6858000"/>
                <a:gd name="connsiteX16" fmla="*/ 11562000 w 12193200"/>
                <a:gd name="connsiteY16" fmla="*/ 6858000 h 6858000"/>
                <a:gd name="connsiteX17" fmla="*/ 630001 w 12193200"/>
                <a:gd name="connsiteY17" fmla="*/ 6858000 h 6858000"/>
                <a:gd name="connsiteX18" fmla="*/ 1 w 12193200"/>
                <a:gd name="connsiteY18" fmla="*/ 6858000 h 6858000"/>
                <a:gd name="connsiteX19" fmla="*/ 1 w 12193200"/>
                <a:gd name="connsiteY19" fmla="*/ 6160597 h 6858000"/>
                <a:gd name="connsiteX20" fmla="*/ 1 w 12193200"/>
                <a:gd name="connsiteY20" fmla="*/ 622800 h 6858000"/>
                <a:gd name="connsiteX21" fmla="*/ 0 w 12193200"/>
                <a:gd name="connsiteY21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5678521"/>
                  </a:lnTo>
                  <a:lnTo>
                    <a:pt x="629400" y="5678521"/>
                  </a:lnTo>
                  <a:lnTo>
                    <a:pt x="629400" y="6583680"/>
                  </a:lnTo>
                  <a:lnTo>
                    <a:pt x="11562600" y="6583680"/>
                  </a:lnTo>
                  <a:lnTo>
                    <a:pt x="11562600" y="5678521"/>
                  </a:lnTo>
                  <a:lnTo>
                    <a:pt x="11562000" y="5678521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chemeClr val="accent4">
                <a:lumMod val="20000"/>
                <a:lumOff val="80000"/>
                <a:alpha val="57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>
                <a:solidFill>
                  <a:schemeClr val="tx1"/>
                </a:solidFill>
              </a:endParaRPr>
            </a:p>
          </p:txBody>
        </p:sp>
        <p:grpSp>
          <p:nvGrpSpPr>
            <p:cNvPr id="50" name="Group 49"/>
            <p:cNvGrpSpPr/>
            <p:nvPr/>
          </p:nvGrpSpPr>
          <p:grpSpPr>
            <a:xfrm>
              <a:off x="-600" y="622800"/>
              <a:ext cx="12193200" cy="5055720"/>
              <a:chOff x="-600" y="622800"/>
              <a:chExt cx="12193200" cy="5055720"/>
            </a:xfrm>
          </p:grpSpPr>
          <p:cxnSp>
            <p:nvCxnSpPr>
              <p:cNvPr id="74" name="Straight Connector 73"/>
              <p:cNvCxnSpPr/>
              <p:nvPr/>
            </p:nvCxnSpPr>
            <p:spPr>
              <a:xfrm>
                <a:off x="-600" y="622800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5" name="Straight Connector 74"/>
              <p:cNvCxnSpPr/>
              <p:nvPr/>
            </p:nvCxnSpPr>
            <p:spPr>
              <a:xfrm>
                <a:off x="-600" y="920195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6" name="Straight Connector 75"/>
              <p:cNvCxnSpPr/>
              <p:nvPr/>
            </p:nvCxnSpPr>
            <p:spPr>
              <a:xfrm>
                <a:off x="-600" y="1217590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7" name="Straight Connector 76"/>
              <p:cNvCxnSpPr/>
              <p:nvPr/>
            </p:nvCxnSpPr>
            <p:spPr>
              <a:xfrm>
                <a:off x="-600" y="1514985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8" name="Straight Connector 77"/>
              <p:cNvCxnSpPr/>
              <p:nvPr/>
            </p:nvCxnSpPr>
            <p:spPr>
              <a:xfrm>
                <a:off x="-600" y="1812380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9" name="Straight Connector 78"/>
              <p:cNvCxnSpPr/>
              <p:nvPr/>
            </p:nvCxnSpPr>
            <p:spPr>
              <a:xfrm>
                <a:off x="-600" y="2109775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0" name="Straight Connector 79"/>
              <p:cNvCxnSpPr/>
              <p:nvPr/>
            </p:nvCxnSpPr>
            <p:spPr>
              <a:xfrm>
                <a:off x="-600" y="2407170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1" name="Straight Connector 80"/>
              <p:cNvCxnSpPr/>
              <p:nvPr/>
            </p:nvCxnSpPr>
            <p:spPr>
              <a:xfrm>
                <a:off x="-600" y="2704565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2" name="Straight Connector 81"/>
              <p:cNvCxnSpPr/>
              <p:nvPr/>
            </p:nvCxnSpPr>
            <p:spPr>
              <a:xfrm>
                <a:off x="-600" y="3001960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3" name="Straight Connector 82"/>
              <p:cNvCxnSpPr/>
              <p:nvPr/>
            </p:nvCxnSpPr>
            <p:spPr>
              <a:xfrm>
                <a:off x="-600" y="3299355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4" name="Straight Connector 83"/>
              <p:cNvCxnSpPr/>
              <p:nvPr/>
            </p:nvCxnSpPr>
            <p:spPr>
              <a:xfrm>
                <a:off x="-600" y="3596750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5" name="Straight Connector 84"/>
              <p:cNvCxnSpPr/>
              <p:nvPr/>
            </p:nvCxnSpPr>
            <p:spPr>
              <a:xfrm>
                <a:off x="-600" y="3894145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6" name="Straight Connector 85"/>
              <p:cNvCxnSpPr/>
              <p:nvPr/>
            </p:nvCxnSpPr>
            <p:spPr>
              <a:xfrm>
                <a:off x="-600" y="4191540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7" name="Straight Connector 86"/>
              <p:cNvCxnSpPr/>
              <p:nvPr/>
            </p:nvCxnSpPr>
            <p:spPr>
              <a:xfrm>
                <a:off x="-600" y="4488935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8" name="Straight Connector 87"/>
              <p:cNvCxnSpPr/>
              <p:nvPr/>
            </p:nvCxnSpPr>
            <p:spPr>
              <a:xfrm>
                <a:off x="-600" y="4786330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9" name="Straight Connector 88"/>
              <p:cNvCxnSpPr/>
              <p:nvPr/>
            </p:nvCxnSpPr>
            <p:spPr>
              <a:xfrm>
                <a:off x="-600" y="5083725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0" name="Straight Connector 89"/>
              <p:cNvCxnSpPr/>
              <p:nvPr/>
            </p:nvCxnSpPr>
            <p:spPr>
              <a:xfrm>
                <a:off x="-600" y="5381120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1" name="Straight Connector 90"/>
              <p:cNvCxnSpPr/>
              <p:nvPr/>
            </p:nvCxnSpPr>
            <p:spPr>
              <a:xfrm>
                <a:off x="-600" y="5678520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1" name="Group 50"/>
            <p:cNvGrpSpPr/>
            <p:nvPr/>
          </p:nvGrpSpPr>
          <p:grpSpPr>
            <a:xfrm>
              <a:off x="629400" y="623550"/>
              <a:ext cx="10933200" cy="5054970"/>
              <a:chOff x="629400" y="623550"/>
              <a:chExt cx="10933200" cy="5537047"/>
            </a:xfrm>
          </p:grpSpPr>
          <p:sp>
            <p:nvSpPr>
              <p:cNvPr id="58" name="Rectangle 34"/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9" name="Rectangle 35"/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0" name="Rectangle 36"/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1" name="Rectangle 37"/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2" name="Rectangle 38"/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3" name="Rectangle 39"/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4" name="Rectangle 40"/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5" name="Rectangle 41"/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6" name="Rectangle 42"/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7" name="Rectangle 43"/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8" name="Rectangle 44"/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9" name="Rectangle 5"/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0" name="Rectangle 7"/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1" name="Rectangle 9"/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2" name="Rectangle 11"/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3" name="Rectangle 13"/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52" name="Group 51"/>
            <p:cNvGrpSpPr/>
            <p:nvPr/>
          </p:nvGrpSpPr>
          <p:grpSpPr>
            <a:xfrm>
              <a:off x="-600" y="0"/>
              <a:ext cx="12193200" cy="6858000"/>
              <a:chOff x="-600" y="0"/>
              <a:chExt cx="12193200" cy="6858000"/>
            </a:xfrm>
          </p:grpSpPr>
          <p:sp>
            <p:nvSpPr>
              <p:cNvPr id="53" name="Slide edges"/>
              <p:cNvSpPr>
                <a:spLocks/>
              </p:cNvSpPr>
              <p:nvPr/>
            </p:nvSpPr>
            <p:spPr bwMode="auto">
              <a:xfrm>
                <a:off x="-600" y="0"/>
                <a:ext cx="12193200" cy="6858000"/>
              </a:xfrm>
              <a:custGeom>
                <a:avLst/>
                <a:gdLst>
                  <a:gd name="T0" fmla="*/ 6024 w 6026"/>
                  <a:gd name="T1" fmla="*/ 3394 h 3396"/>
                  <a:gd name="T2" fmla="*/ 6024 w 6026"/>
                  <a:gd name="T3" fmla="*/ 3391 h 3396"/>
                  <a:gd name="T4" fmla="*/ 5 w 6026"/>
                  <a:gd name="T5" fmla="*/ 3391 h 3396"/>
                  <a:gd name="T6" fmla="*/ 5 w 6026"/>
                  <a:gd name="T7" fmla="*/ 5 h 3396"/>
                  <a:gd name="T8" fmla="*/ 6021 w 6026"/>
                  <a:gd name="T9" fmla="*/ 5 h 3396"/>
                  <a:gd name="T10" fmla="*/ 6021 w 6026"/>
                  <a:gd name="T11" fmla="*/ 3394 h 3396"/>
                  <a:gd name="T12" fmla="*/ 6024 w 6026"/>
                  <a:gd name="T13" fmla="*/ 3394 h 3396"/>
                  <a:gd name="T14" fmla="*/ 6024 w 6026"/>
                  <a:gd name="T15" fmla="*/ 3391 h 3396"/>
                  <a:gd name="T16" fmla="*/ 6024 w 6026"/>
                  <a:gd name="T17" fmla="*/ 3394 h 3396"/>
                  <a:gd name="T18" fmla="*/ 6026 w 6026"/>
                  <a:gd name="T19" fmla="*/ 3394 h 3396"/>
                  <a:gd name="T20" fmla="*/ 6026 w 6026"/>
                  <a:gd name="T21" fmla="*/ 0 h 3396"/>
                  <a:gd name="T22" fmla="*/ 0 w 6026"/>
                  <a:gd name="T23" fmla="*/ 0 h 3396"/>
                  <a:gd name="T24" fmla="*/ 0 w 6026"/>
                  <a:gd name="T25" fmla="*/ 3396 h 3396"/>
                  <a:gd name="T26" fmla="*/ 6026 w 6026"/>
                  <a:gd name="T27" fmla="*/ 3396 h 3396"/>
                  <a:gd name="T28" fmla="*/ 6026 w 6026"/>
                  <a:gd name="T29" fmla="*/ 3394 h 3396"/>
                  <a:gd name="T30" fmla="*/ 6024 w 6026"/>
                  <a:gd name="T31" fmla="*/ 3394 h 33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6026" h="3396">
                    <a:moveTo>
                      <a:pt x="6024" y="3394"/>
                    </a:moveTo>
                    <a:lnTo>
                      <a:pt x="6024" y="3391"/>
                    </a:lnTo>
                    <a:lnTo>
                      <a:pt x="5" y="3391"/>
                    </a:lnTo>
                    <a:lnTo>
                      <a:pt x="5" y="5"/>
                    </a:lnTo>
                    <a:lnTo>
                      <a:pt x="6021" y="5"/>
                    </a:lnTo>
                    <a:lnTo>
                      <a:pt x="6021" y="3394"/>
                    </a:lnTo>
                    <a:lnTo>
                      <a:pt x="6024" y="3394"/>
                    </a:lnTo>
                    <a:lnTo>
                      <a:pt x="6024" y="3391"/>
                    </a:lnTo>
                    <a:lnTo>
                      <a:pt x="6024" y="3394"/>
                    </a:lnTo>
                    <a:lnTo>
                      <a:pt x="6026" y="3394"/>
                    </a:lnTo>
                    <a:lnTo>
                      <a:pt x="6026" y="0"/>
                    </a:lnTo>
                    <a:lnTo>
                      <a:pt x="0" y="0"/>
                    </a:lnTo>
                    <a:lnTo>
                      <a:pt x="0" y="3396"/>
                    </a:lnTo>
                    <a:lnTo>
                      <a:pt x="6026" y="3396"/>
                    </a:lnTo>
                    <a:lnTo>
                      <a:pt x="6026" y="3394"/>
                    </a:lnTo>
                    <a:lnTo>
                      <a:pt x="6024" y="3394"/>
                    </a:lnTo>
                    <a:close/>
                  </a:path>
                </a:pathLst>
              </a:custGeom>
              <a:solidFill>
                <a:schemeClr val="accent5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575757"/>
                  </a:solidFill>
                  <a:effectLst/>
                  <a:uLnTx/>
                  <a:uFillTx/>
                  <a:ea typeface="+mn-ea"/>
                  <a:cs typeface="+mn-cs"/>
                </a:endParaRPr>
              </a:p>
            </p:txBody>
          </p:sp>
          <p:sp>
            <p:nvSpPr>
              <p:cNvPr id="54" name="Footnote measure"/>
              <p:cNvSpPr>
                <a:spLocks noChangeArrowheads="1"/>
              </p:cNvSpPr>
              <p:nvPr/>
            </p:nvSpPr>
            <p:spPr bwMode="auto">
              <a:xfrm>
                <a:off x="629400" y="5678521"/>
                <a:ext cx="10933200" cy="905159"/>
              </a:xfrm>
              <a:prstGeom prst="rect">
                <a:avLst/>
              </a:prstGeom>
              <a:solidFill>
                <a:schemeClr val="accent3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5" name="Whitespace measure"/>
              <p:cNvSpPr>
                <a:spLocks noChangeArrowheads="1"/>
              </p:cNvSpPr>
              <p:nvPr/>
            </p:nvSpPr>
            <p:spPr bwMode="auto">
              <a:xfrm>
                <a:off x="629400" y="1514985"/>
                <a:ext cx="10932229" cy="594790"/>
              </a:xfrm>
              <a:prstGeom prst="rect">
                <a:avLst/>
              </a:prstGeom>
              <a:solidFill>
                <a:schemeClr val="accent3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6" name="Live area"/>
              <p:cNvSpPr/>
              <p:nvPr/>
            </p:nvSpPr>
            <p:spPr>
              <a:xfrm>
                <a:off x="629400" y="2109775"/>
                <a:ext cx="10933200" cy="3568747"/>
              </a:xfrm>
              <a:custGeom>
                <a:avLst/>
                <a:gdLst>
                  <a:gd name="connsiteX0" fmla="*/ 0 w 10931999"/>
                  <a:gd name="connsiteY0" fmla="*/ 0 h 5537797"/>
                  <a:gd name="connsiteX1" fmla="*/ 10931999 w 10931999"/>
                  <a:gd name="connsiteY1" fmla="*/ 0 h 5537797"/>
                  <a:gd name="connsiteX2" fmla="*/ 10931999 w 10931999"/>
                  <a:gd name="connsiteY2" fmla="*/ 5537797 h 5537797"/>
                  <a:gd name="connsiteX3" fmla="*/ 0 w 10931999"/>
                  <a:gd name="connsiteY3" fmla="*/ 5537797 h 55377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0931999" h="5537797">
                    <a:moveTo>
                      <a:pt x="0" y="0"/>
                    </a:moveTo>
                    <a:lnTo>
                      <a:pt x="10931999" y="0"/>
                    </a:lnTo>
                    <a:lnTo>
                      <a:pt x="10931999" y="5537797"/>
                    </a:lnTo>
                    <a:lnTo>
                      <a:pt x="0" y="5537797"/>
                    </a:lnTo>
                    <a:close/>
                  </a:path>
                </a:pathLst>
              </a:custGeom>
              <a:noFill/>
              <a:ln w="9525">
                <a:solidFill>
                  <a:srgbClr val="ED1B24">
                    <a:alpha val="35000"/>
                  </a:srgbClr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>
                  <a:lnSpc>
                    <a:spcPct val="90000"/>
                  </a:lnSpc>
                  <a:spcAft>
                    <a:spcPts val="1000"/>
                  </a:spcAft>
                </a:pPr>
                <a:endParaRPr lang="en-US" sz="1200">
                  <a:solidFill>
                    <a:schemeClr val="bg1"/>
                  </a:solidFill>
                </a:endParaRPr>
              </a:p>
            </p:txBody>
          </p:sp>
          <p:sp>
            <p:nvSpPr>
              <p:cNvPr id="57" name="Footnote example"/>
              <p:cNvSpPr txBox="1"/>
              <p:nvPr/>
            </p:nvSpPr>
            <p:spPr>
              <a:xfrm>
                <a:off x="630000" y="5678521"/>
                <a:ext cx="9030914" cy="332399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b">
                <a:spAutoFit/>
              </a:bodyPr>
              <a:lstStyle/>
              <a:p>
                <a:pPr lvl="0">
                  <a:lnSpc>
                    <a:spcPct val="90000"/>
                  </a:lnSpc>
                  <a:defRPr/>
                </a:pPr>
                <a:r>
                  <a:rPr lang="en-US" sz="800">
                    <a:solidFill>
                      <a:prstClr val="white">
                        <a:lumMod val="65000"/>
                      </a:prstClr>
                    </a:solidFill>
                    <a:sym typeface="Trebuchet MS" panose="020B0603020202020204" pitchFamily="34" charset="0"/>
                  </a:rPr>
                  <a:t>1. </a:t>
                </a:r>
                <a:r>
                  <a:rPr lang="en-US" sz="800" err="1">
                    <a:solidFill>
                      <a:prstClr val="white">
                        <a:lumMod val="65000"/>
                      </a:prstClr>
                    </a:solidFill>
                    <a:sym typeface="Trebuchet MS" panose="020B0603020202020204" pitchFamily="34" charset="0"/>
                  </a:rPr>
                  <a:t>xxxx</a:t>
                </a:r>
                <a:r>
                  <a:rPr lang="en-US" sz="800">
                    <a:solidFill>
                      <a:prstClr val="white">
                        <a:lumMod val="65000"/>
                      </a:prstClr>
                    </a:solidFill>
                    <a:sym typeface="Trebuchet MS" panose="020B0603020202020204" pitchFamily="34" charset="0"/>
                  </a:rPr>
                  <a:t>  2. </a:t>
                </a:r>
                <a:r>
                  <a:rPr lang="en-US" sz="800" err="1">
                    <a:solidFill>
                      <a:prstClr val="white">
                        <a:lumMod val="65000"/>
                      </a:prstClr>
                    </a:solidFill>
                    <a:sym typeface="Trebuchet MS" panose="020B0603020202020204" pitchFamily="34" charset="0"/>
                  </a:rPr>
                  <a:t>xxxx</a:t>
                </a:r>
                <a:r>
                  <a:rPr lang="en-US" sz="800">
                    <a:solidFill>
                      <a:prstClr val="white">
                        <a:lumMod val="65000"/>
                      </a:prstClr>
                    </a:solidFill>
                    <a:sym typeface="Trebuchet MS" panose="020B0603020202020204" pitchFamily="34" charset="0"/>
                  </a:rPr>
                  <a:t>  3. List footnotes in numerical order. Footnote numbers are not bracketed. Use 8pt font</a:t>
                </a:r>
              </a:p>
              <a:p>
                <a:pPr lvl="0">
                  <a:lnSpc>
                    <a:spcPct val="90000"/>
                  </a:lnSpc>
                  <a:defRPr/>
                </a:pPr>
                <a:r>
                  <a:rPr lang="en-US" sz="800">
                    <a:solidFill>
                      <a:prstClr val="white">
                        <a:lumMod val="65000"/>
                      </a:prstClr>
                    </a:solidFill>
                    <a:sym typeface="Trebuchet MS" panose="020B0603020202020204" pitchFamily="34" charset="0"/>
                  </a:rPr>
                  <a:t>Note: Do not put a period at the end of the note or the source</a:t>
                </a:r>
              </a:p>
              <a:p>
                <a:pPr lvl="0">
                  <a:lnSpc>
                    <a:spcPct val="90000"/>
                  </a:lnSpc>
                  <a:defRPr/>
                </a:pPr>
                <a:r>
                  <a:rPr lang="en-US" sz="800">
                    <a:solidFill>
                      <a:prstClr val="white">
                        <a:lumMod val="65000"/>
                      </a:prstClr>
                    </a:solidFill>
                    <a:sym typeface="Trebuchet MS" panose="020B0603020202020204" pitchFamily="34" charset="0"/>
                  </a:rPr>
                  <a:t>Source: Include a source for every chart that you use. Separate sources with a semicolon; BCG-related sources go at the end</a:t>
                </a:r>
                <a:endParaRPr kumimoji="0" lang="en-US" sz="800" b="0" i="0" u="none" strike="noStrike" kern="1200" cap="none" spc="0" normalizeH="0" baseline="0" noProof="0">
                  <a:ln>
                    <a:noFill/>
                  </a:ln>
                  <a:solidFill>
                    <a:prstClr val="white">
                      <a:lumMod val="65000"/>
                    </a:prstClr>
                  </a:solidFill>
                  <a:effectLst/>
                  <a:uLnTx/>
                  <a:uFillTx/>
                  <a:sym typeface="Trebuchet MS" panose="020B0603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9929833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Agenda Section Header Overview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9662793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/>
          <p:cNvSpPr/>
          <p:nvPr/>
        </p:nvSpPr>
        <p:spPr bwMode="invGray">
          <a:xfrm>
            <a:off x="1388145" y="4691187"/>
            <a:ext cx="929337" cy="995874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</a:endParaRPr>
          </a:p>
        </p:txBody>
      </p:sp>
      <p:sp>
        <p:nvSpPr>
          <p:cNvPr id="12" name="Rectangle 11"/>
          <p:cNvSpPr/>
          <p:nvPr>
            <p:custDataLst>
              <p:tags r:id="rId2"/>
            </p:custDataLst>
          </p:nvPr>
        </p:nvSpPr>
        <p:spPr>
          <a:xfrm>
            <a:off x="2509482" y="4691187"/>
            <a:ext cx="1570152" cy="1468176"/>
          </a:xfrm>
          <a:prstGeom prst="rect">
            <a:avLst/>
          </a:prstGeom>
          <a:noFill/>
          <a:ln w="9525" cmpd="sng">
            <a:solidFill>
              <a:srgbClr val="FFFFFF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000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1200">
              <a:solidFill>
                <a:srgbClr val="FFFFFF"/>
              </a:solidFill>
              <a:latin typeface="Trebuchet MS" panose="020B0603020202020204" pitchFamily="34" charset="0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630000" y="1161143"/>
            <a:ext cx="3448800" cy="3234456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txBody>
          <a:bodyPr wrap="square" lIns="612000" tIns="468000" rIns="0" bIns="0" rtlCol="0" anchor="t">
            <a:no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5400">
              <a:solidFill>
                <a:schemeClr val="bg1"/>
              </a:solidFill>
            </a:endParaRPr>
          </a:p>
        </p:txBody>
      </p:sp>
      <p:sp>
        <p:nvSpPr>
          <p:cNvPr id="10" name="TextBox 1"/>
          <p:cNvSpPr txBox="1"/>
          <p:nvPr/>
        </p:nvSpPr>
        <p:spPr>
          <a:xfrm>
            <a:off x="1109949" y="1347645"/>
            <a:ext cx="2488182" cy="8963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5400">
                <a:solidFill>
                  <a:schemeClr val="bg1"/>
                </a:solidFill>
                <a:latin typeface="+mj-lt"/>
              </a:rPr>
              <a:t>Agenda</a:t>
            </a:r>
          </a:p>
        </p:txBody>
      </p:sp>
      <p:sp>
        <p:nvSpPr>
          <p:cNvPr id="13" name="Copyright" hidden="1"/>
          <p:cNvSpPr txBox="1"/>
          <p:nvPr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117310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Agenda Section Header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2491335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/>
          <p:cNvSpPr/>
          <p:nvPr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1285200" y="2667600"/>
            <a:ext cx="9619200" cy="3200400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</a:endParaRPr>
          </a:p>
        </p:txBody>
      </p:sp>
      <p:sp>
        <p:nvSpPr>
          <p:cNvPr id="8" name="Copyright" hidden="1"/>
          <p:cNvSpPr txBox="1"/>
          <p:nvPr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6302233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Agenda Full Width Overview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6165635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tle 1"/>
          <p:cNvSpPr txBox="1">
            <a:spLocks/>
          </p:cNvSpPr>
          <p:nvPr/>
        </p:nvSpPr>
        <p:spPr>
          <a:xfrm>
            <a:off x="2000250" y="622800"/>
            <a:ext cx="5819748" cy="4708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>
                <a:solidFill>
                  <a:schemeClr val="bg1"/>
                </a:solidFill>
              </a:rPr>
              <a:t>Agenda</a:t>
            </a:r>
          </a:p>
        </p:txBody>
      </p:sp>
      <p:cxnSp>
        <p:nvCxnSpPr>
          <p:cNvPr id="13" name="Straight Connector 12"/>
          <p:cNvCxnSpPr/>
          <p:nvPr/>
        </p:nvCxnSpPr>
        <p:spPr bwMode="white">
          <a:xfrm>
            <a:off x="618898" y="1206000"/>
            <a:ext cx="11576304" cy="0"/>
          </a:xfrm>
          <a:prstGeom prst="line">
            <a:avLst/>
          </a:prstGeom>
          <a:ln w="9525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Copyright" hidden="1"/>
          <p:cNvSpPr txBox="1"/>
          <p:nvPr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555850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Agenda Two-Thirds">
    <p:bg>
      <p:bgPr>
        <a:gradFill>
          <a:gsLst>
            <a:gs pos="39000">
              <a:srgbClr val="D81F30"/>
            </a:gs>
            <a:gs pos="100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625905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/>
        </p:nvSpPr>
        <p:spPr bwMode="white">
          <a:xfrm>
            <a:off x="4080763" y="-1309"/>
            <a:ext cx="8111237" cy="685930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630000" y="3207715"/>
            <a:ext cx="1547143" cy="4431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3200">
                <a:solidFill>
                  <a:schemeClr val="bg1"/>
                </a:solidFill>
              </a:rPr>
              <a:t>Agenda</a:t>
            </a:r>
          </a:p>
        </p:txBody>
      </p:sp>
      <p:sp>
        <p:nvSpPr>
          <p:cNvPr id="9" name="Copyright" hidden="1"/>
          <p:cNvSpPr txBox="1"/>
          <p:nvPr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4" name="Freeform 13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/>
        </p:nvSpPr>
        <p:spPr>
          <a:xfrm>
            <a:off x="4151664" y="6326127"/>
            <a:ext cx="8037289" cy="531873"/>
          </a:xfrm>
          <a:custGeom>
            <a:avLst/>
            <a:gdLst>
              <a:gd name="connsiteX0" fmla="*/ 4248622 w 8037289"/>
              <a:gd name="connsiteY0" fmla="*/ 0 h 531873"/>
              <a:gd name="connsiteX1" fmla="*/ 8037287 w 8037289"/>
              <a:gd name="connsiteY1" fmla="*/ 0 h 531873"/>
              <a:gd name="connsiteX2" fmla="*/ 8037287 w 8037289"/>
              <a:gd name="connsiteY2" fmla="*/ 239773 h 531873"/>
              <a:gd name="connsiteX3" fmla="*/ 8037289 w 8037289"/>
              <a:gd name="connsiteY3" fmla="*/ 239773 h 531873"/>
              <a:gd name="connsiteX4" fmla="*/ 8037289 w 8037289"/>
              <a:gd name="connsiteY4" fmla="*/ 531873 h 531873"/>
              <a:gd name="connsiteX5" fmla="*/ 0 w 8037289"/>
              <a:gd name="connsiteY5" fmla="*/ 531873 h 531873"/>
              <a:gd name="connsiteX6" fmla="*/ 0 w 8037289"/>
              <a:gd name="connsiteY6" fmla="*/ 239773 h 531873"/>
              <a:gd name="connsiteX7" fmla="*/ 4068966 w 8037289"/>
              <a:gd name="connsiteY7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037289" h="531873">
                <a:moveTo>
                  <a:pt x="4248622" y="0"/>
                </a:moveTo>
                <a:lnTo>
                  <a:pt x="8037287" y="0"/>
                </a:lnTo>
                <a:lnTo>
                  <a:pt x="8037287" y="239773"/>
                </a:lnTo>
                <a:lnTo>
                  <a:pt x="8037289" y="239773"/>
                </a:lnTo>
                <a:lnTo>
                  <a:pt x="8037289" y="531873"/>
                </a:lnTo>
                <a:lnTo>
                  <a:pt x="0" y="531873"/>
                </a:lnTo>
                <a:lnTo>
                  <a:pt x="0" y="239773"/>
                </a:lnTo>
                <a:lnTo>
                  <a:pt x="4068966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7258717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3D02468-7FCF-4FDF-A74C-CB2240AB3A1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594804"/>
            <a:ext cx="10515600" cy="1095884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0E243AA-B4B1-4103-A9B8-22071B4E6A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80E04929-F75F-44CF-A232-AD0554FBC2A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00827F4-EB25-451E-AE39-24B2360FFD7F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D8BF4AA1-2369-43E6-A207-7E7558064635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E03F3335-9B92-46D8-9D35-449EA4FD416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845320AC-DD4B-443B-9124-A76A02BBF0F0}" type="datetimeFigureOut">
              <a:rPr lang="en-IN" smtClean="0"/>
              <a:t>28-05-2025</a:t>
            </a:fld>
            <a:endParaRPr lang="en-IN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BC7791CD-F999-4893-94A3-13D588DA595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IN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C2DC15D-A64C-4F8C-B5DA-1840A321BD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E7FF1D80-0C43-4B56-BCBD-119C695EDC96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352652731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Agenda D. Section Header Overvie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0357141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/>
        </p:nvSpPr>
        <p:spPr bwMode="invGray">
          <a:xfrm>
            <a:off x="1388145" y="4691187"/>
            <a:ext cx="929337" cy="995874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</a:endParaRPr>
          </a:p>
        </p:txBody>
      </p:sp>
      <p:sp>
        <p:nvSpPr>
          <p:cNvPr id="10" name="Rectangle 9"/>
          <p:cNvSpPr/>
          <p:nvPr>
            <p:custDataLst>
              <p:tags r:id="rId2"/>
            </p:custDataLst>
          </p:nvPr>
        </p:nvSpPr>
        <p:spPr>
          <a:xfrm>
            <a:off x="2509482" y="4691187"/>
            <a:ext cx="1570152" cy="1468176"/>
          </a:xfrm>
          <a:prstGeom prst="rect">
            <a:avLst/>
          </a:prstGeom>
          <a:noFill/>
          <a:ln w="9525" cmpd="sng">
            <a:solidFill>
              <a:schemeClr val="accent4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000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1200">
              <a:solidFill>
                <a:srgbClr val="FFFFFF"/>
              </a:solidFill>
              <a:latin typeface="Trebuchet MS" panose="020B0603020202020204" pitchFamily="34" charset="0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630000" y="1161143"/>
            <a:ext cx="3448800" cy="3234456"/>
          </a:xfrm>
          <a:prstGeom prst="rect">
            <a:avLst/>
          </a:prstGeom>
          <a:noFill/>
          <a:ln>
            <a:solidFill>
              <a:schemeClr val="accent4"/>
            </a:solidFill>
          </a:ln>
        </p:spPr>
        <p:txBody>
          <a:bodyPr wrap="square" lIns="612000" tIns="468000" rIns="0" bIns="0" rtlCol="0" anchor="t">
            <a:no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5400">
              <a:solidFill>
                <a:schemeClr val="accent4"/>
              </a:solidFill>
            </a:endParaRPr>
          </a:p>
        </p:txBody>
      </p:sp>
      <p:sp>
        <p:nvSpPr>
          <p:cNvPr id="9" name="TextBox 1"/>
          <p:cNvSpPr txBox="1"/>
          <p:nvPr/>
        </p:nvSpPr>
        <p:spPr>
          <a:xfrm>
            <a:off x="1109949" y="1347645"/>
            <a:ext cx="2488182" cy="8963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 sz="5400">
                <a:solidFill>
                  <a:schemeClr val="accent4"/>
                </a:solidFill>
                <a:latin typeface="+mj-lt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r>
              <a:rPr lang="en-US"/>
              <a:t>Agenda</a:t>
            </a:r>
          </a:p>
        </p:txBody>
      </p:sp>
      <p:sp>
        <p:nvSpPr>
          <p:cNvPr id="12" name="Copyright" hidden="1"/>
          <p:cNvSpPr txBox="1"/>
          <p:nvPr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0677767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Agenda D. Section Hea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0092972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1285200" y="2667600"/>
            <a:ext cx="9619200" cy="3200400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</a:endParaRPr>
          </a:p>
        </p:txBody>
      </p:sp>
      <p:sp>
        <p:nvSpPr>
          <p:cNvPr id="6" name="Copyright" hidden="1"/>
          <p:cNvSpPr txBox="1"/>
          <p:nvPr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373766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Agenda D. Full Width Overvie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1511955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1"/>
          <p:cNvSpPr txBox="1">
            <a:spLocks/>
          </p:cNvSpPr>
          <p:nvPr/>
        </p:nvSpPr>
        <p:spPr>
          <a:xfrm>
            <a:off x="2000250" y="622800"/>
            <a:ext cx="5819748" cy="4708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>
                <a:solidFill>
                  <a:schemeClr val="accent4"/>
                </a:solidFill>
              </a:rPr>
              <a:t>Agenda</a:t>
            </a:r>
          </a:p>
        </p:txBody>
      </p:sp>
      <p:cxnSp>
        <p:nvCxnSpPr>
          <p:cNvPr id="9" name="Straight Connector 8"/>
          <p:cNvCxnSpPr/>
          <p:nvPr/>
        </p:nvCxnSpPr>
        <p:spPr bwMode="white">
          <a:xfrm>
            <a:off x="618898" y="1206000"/>
            <a:ext cx="11576304" cy="0"/>
          </a:xfrm>
          <a:prstGeom prst="line">
            <a:avLst/>
          </a:prstGeom>
          <a:ln w="9525" cmpd="sng">
            <a:solidFill>
              <a:schemeClr val="accent4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Copyright" hidden="1"/>
          <p:cNvSpPr txBox="1"/>
          <p:nvPr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72630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Agenda D. Two-Thirds">
    <p:bg>
      <p:bgPr>
        <a:gradFill>
          <a:gsLst>
            <a:gs pos="39000">
              <a:srgbClr val="D81F30"/>
            </a:gs>
            <a:gs pos="100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0184410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22"/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26" name="Rectangle 25"/>
          <p:cNvSpPr/>
          <p:nvPr/>
        </p:nvSpPr>
        <p:spPr bwMode="ltGray">
          <a:xfrm>
            <a:off x="4080763" y="-1309"/>
            <a:ext cx="8111237" cy="68593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630000" y="3262145"/>
            <a:ext cx="1161047" cy="3323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2400">
                <a:solidFill>
                  <a:schemeClr val="bg1"/>
                </a:solidFill>
              </a:rPr>
              <a:t>Agenda</a:t>
            </a:r>
          </a:p>
        </p:txBody>
      </p:sp>
      <p:sp>
        <p:nvSpPr>
          <p:cNvPr id="9" name="Copyright" hidden="1"/>
          <p:cNvSpPr txBox="1"/>
          <p:nvPr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1" name="Freeform 10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/>
        </p:nvSpPr>
        <p:spPr>
          <a:xfrm>
            <a:off x="4151664" y="6326127"/>
            <a:ext cx="8037289" cy="531873"/>
          </a:xfrm>
          <a:custGeom>
            <a:avLst/>
            <a:gdLst>
              <a:gd name="connsiteX0" fmla="*/ 4248622 w 8037289"/>
              <a:gd name="connsiteY0" fmla="*/ 0 h 531873"/>
              <a:gd name="connsiteX1" fmla="*/ 8037287 w 8037289"/>
              <a:gd name="connsiteY1" fmla="*/ 0 h 531873"/>
              <a:gd name="connsiteX2" fmla="*/ 8037287 w 8037289"/>
              <a:gd name="connsiteY2" fmla="*/ 239773 h 531873"/>
              <a:gd name="connsiteX3" fmla="*/ 8037289 w 8037289"/>
              <a:gd name="connsiteY3" fmla="*/ 239773 h 531873"/>
              <a:gd name="connsiteX4" fmla="*/ 8037289 w 8037289"/>
              <a:gd name="connsiteY4" fmla="*/ 531873 h 531873"/>
              <a:gd name="connsiteX5" fmla="*/ 0 w 8037289"/>
              <a:gd name="connsiteY5" fmla="*/ 531873 h 531873"/>
              <a:gd name="connsiteX6" fmla="*/ 0 w 8037289"/>
              <a:gd name="connsiteY6" fmla="*/ 239773 h 531873"/>
              <a:gd name="connsiteX7" fmla="*/ 4068966 w 8037289"/>
              <a:gd name="connsiteY7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037289" h="531873">
                <a:moveTo>
                  <a:pt x="4248622" y="0"/>
                </a:moveTo>
                <a:lnTo>
                  <a:pt x="8037287" y="0"/>
                </a:lnTo>
                <a:lnTo>
                  <a:pt x="8037287" y="239773"/>
                </a:lnTo>
                <a:lnTo>
                  <a:pt x="8037289" y="239773"/>
                </a:lnTo>
                <a:lnTo>
                  <a:pt x="8037289" y="531873"/>
                </a:lnTo>
                <a:lnTo>
                  <a:pt x="0" y="531873"/>
                </a:lnTo>
                <a:lnTo>
                  <a:pt x="0" y="239773"/>
                </a:lnTo>
                <a:lnTo>
                  <a:pt x="4068966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5849805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Agenda D. Table of Contents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430046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 12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7" name="Freeform 12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630000" y="2577934"/>
            <a:ext cx="2819400" cy="17617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indent="0">
              <a:lnSpc>
                <a:spcPct val="106000"/>
              </a:lnSpc>
              <a:spcAft>
                <a:spcPts val="700"/>
              </a:spcAft>
              <a:buFontTx/>
              <a:buNone/>
            </a:pPr>
            <a:r>
              <a:rPr lang="en-US" sz="54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Table of contents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8638" y="3586748"/>
            <a:ext cx="1365250" cy="3382962"/>
          </a:xfrm>
          <a:custGeom>
            <a:avLst/>
            <a:gdLst>
              <a:gd name="connsiteX0" fmla="*/ 94280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28720 w 1365250"/>
              <a:gd name="connsiteY3" fmla="*/ 3382962 h 3382962"/>
              <a:gd name="connsiteX4" fmla="*/ 0 w 1365250"/>
              <a:gd name="connsiteY4" fmla="*/ 0 h 3382962"/>
              <a:gd name="connsiteX5" fmla="*/ 929501 w 1365250"/>
              <a:gd name="connsiteY5" fmla="*/ 0 h 3382962"/>
              <a:gd name="connsiteX6" fmla="*/ 0 w 1365250"/>
              <a:gd name="connsiteY6" fmla="*/ 2860398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65250" h="3382962">
                <a:moveTo>
                  <a:pt x="94280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28720" y="3382962"/>
                </a:lnTo>
                <a:close/>
                <a:moveTo>
                  <a:pt x="0" y="0"/>
                </a:moveTo>
                <a:lnTo>
                  <a:pt x="929501" y="0"/>
                </a:lnTo>
                <a:lnTo>
                  <a:pt x="0" y="2860398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Copyright" hidden="1"/>
          <p:cNvSpPr txBox="1"/>
          <p:nvPr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4" name="Freeform 13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/>
        </p:nvSpPr>
        <p:spPr>
          <a:xfrm>
            <a:off x="1" y="6565900"/>
            <a:ext cx="3266011" cy="292100"/>
          </a:xfrm>
          <a:custGeom>
            <a:avLst/>
            <a:gdLst>
              <a:gd name="connsiteX0" fmla="*/ 0 w 3266011"/>
              <a:gd name="connsiteY0" fmla="*/ 0 h 292100"/>
              <a:gd name="connsiteX1" fmla="*/ 3266011 w 3266011"/>
              <a:gd name="connsiteY1" fmla="*/ 0 h 292100"/>
              <a:gd name="connsiteX2" fmla="*/ 3195872 w 3266011"/>
              <a:gd name="connsiteY2" fmla="*/ 292100 h 292100"/>
              <a:gd name="connsiteX3" fmla="*/ 0 w 3266011"/>
              <a:gd name="connsiteY3" fmla="*/ 292100 h 292100"/>
              <a:gd name="connsiteX4" fmla="*/ 0 w 3266011"/>
              <a:gd name="connsiteY4" fmla="*/ 0 h 292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266011" h="292100">
                <a:moveTo>
                  <a:pt x="0" y="0"/>
                </a:moveTo>
                <a:lnTo>
                  <a:pt x="3266011" y="0"/>
                </a:lnTo>
                <a:lnTo>
                  <a:pt x="3195872" y="292100"/>
                </a:lnTo>
                <a:lnTo>
                  <a:pt x="0" y="292100"/>
                </a:lnTo>
                <a:lnTo>
                  <a:pt x="0" y="0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2169961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genda Section Header Overview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4684360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/>
          <p:cNvSpPr/>
          <p:nvPr/>
        </p:nvSpPr>
        <p:spPr bwMode="invGray">
          <a:xfrm>
            <a:off x="1388145" y="4691187"/>
            <a:ext cx="929337" cy="995874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</a:endParaRPr>
          </a:p>
        </p:txBody>
      </p:sp>
      <p:sp>
        <p:nvSpPr>
          <p:cNvPr id="12" name="Rectangle 11"/>
          <p:cNvSpPr/>
          <p:nvPr>
            <p:custDataLst>
              <p:tags r:id="rId2"/>
            </p:custDataLst>
          </p:nvPr>
        </p:nvSpPr>
        <p:spPr>
          <a:xfrm>
            <a:off x="2509482" y="4691187"/>
            <a:ext cx="1570152" cy="1468176"/>
          </a:xfrm>
          <a:prstGeom prst="rect">
            <a:avLst/>
          </a:prstGeom>
          <a:noFill/>
          <a:ln w="9525" cmpd="sng">
            <a:solidFill>
              <a:srgbClr val="FFFFFF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000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1200">
              <a:solidFill>
                <a:srgbClr val="FFFFFF"/>
              </a:solidFill>
              <a:latin typeface="Trebuchet MS" panose="020B0603020202020204" pitchFamily="34" charset="0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630000" y="1161143"/>
            <a:ext cx="3448800" cy="3234456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txBody>
          <a:bodyPr wrap="square" lIns="612000" tIns="468000" rIns="0" bIns="0" rtlCol="0" anchor="t">
            <a:no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5400">
              <a:solidFill>
                <a:schemeClr val="bg1"/>
              </a:solidFill>
            </a:endParaRPr>
          </a:p>
        </p:txBody>
      </p:sp>
      <p:sp>
        <p:nvSpPr>
          <p:cNvPr id="10" name="TextBox 1"/>
          <p:cNvSpPr txBox="1"/>
          <p:nvPr/>
        </p:nvSpPr>
        <p:spPr>
          <a:xfrm>
            <a:off x="1109949" y="1347645"/>
            <a:ext cx="2488182" cy="8963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5400">
                <a:solidFill>
                  <a:schemeClr val="bg1"/>
                </a:solidFill>
                <a:latin typeface="+mj-lt"/>
              </a:rPr>
              <a:t>Agenda</a:t>
            </a:r>
          </a:p>
        </p:txBody>
      </p:sp>
      <p:sp>
        <p:nvSpPr>
          <p:cNvPr id="13" name="Copyright" hidden="1"/>
          <p:cNvSpPr txBox="1"/>
          <p:nvPr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943902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genda Section Header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8455663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/>
          <p:cNvSpPr/>
          <p:nvPr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1285200" y="2667600"/>
            <a:ext cx="9619200" cy="3200400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</a:endParaRPr>
          </a:p>
        </p:txBody>
      </p:sp>
      <p:sp>
        <p:nvSpPr>
          <p:cNvPr id="8" name="Copyright" hidden="1"/>
          <p:cNvSpPr txBox="1"/>
          <p:nvPr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0482150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genda Full Width Overview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0615787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tle 1"/>
          <p:cNvSpPr txBox="1">
            <a:spLocks/>
          </p:cNvSpPr>
          <p:nvPr/>
        </p:nvSpPr>
        <p:spPr>
          <a:xfrm>
            <a:off x="2000250" y="622800"/>
            <a:ext cx="5819748" cy="4708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>
                <a:solidFill>
                  <a:schemeClr val="bg1"/>
                </a:solidFill>
              </a:rPr>
              <a:t>Agenda</a:t>
            </a:r>
          </a:p>
        </p:txBody>
      </p:sp>
      <p:cxnSp>
        <p:nvCxnSpPr>
          <p:cNvPr id="13" name="Straight Connector 12"/>
          <p:cNvCxnSpPr/>
          <p:nvPr/>
        </p:nvCxnSpPr>
        <p:spPr bwMode="white">
          <a:xfrm>
            <a:off x="618898" y="1206000"/>
            <a:ext cx="11576304" cy="0"/>
          </a:xfrm>
          <a:prstGeom prst="line">
            <a:avLst/>
          </a:prstGeom>
          <a:ln w="9525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Copyright" hidden="1"/>
          <p:cNvSpPr txBox="1"/>
          <p:nvPr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833046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genda Two-Thirds">
    <p:bg>
      <p:bgPr>
        <a:gradFill>
          <a:gsLst>
            <a:gs pos="39000">
              <a:srgbClr val="D81F30"/>
            </a:gs>
            <a:gs pos="100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3056107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/>
        </p:nvSpPr>
        <p:spPr bwMode="white">
          <a:xfrm>
            <a:off x="4080763" y="-1309"/>
            <a:ext cx="8111237" cy="685930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630000" y="3207715"/>
            <a:ext cx="1547143" cy="4431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3200">
                <a:solidFill>
                  <a:schemeClr val="bg1"/>
                </a:solidFill>
              </a:rPr>
              <a:t>Agenda</a:t>
            </a:r>
          </a:p>
        </p:txBody>
      </p:sp>
      <p:sp>
        <p:nvSpPr>
          <p:cNvPr id="9" name="Copyright" hidden="1"/>
          <p:cNvSpPr txBox="1"/>
          <p:nvPr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4" name="Freeform 13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/>
        </p:nvSpPr>
        <p:spPr>
          <a:xfrm>
            <a:off x="4151664" y="6326127"/>
            <a:ext cx="8037289" cy="531873"/>
          </a:xfrm>
          <a:custGeom>
            <a:avLst/>
            <a:gdLst>
              <a:gd name="connsiteX0" fmla="*/ 4248622 w 8037289"/>
              <a:gd name="connsiteY0" fmla="*/ 0 h 531873"/>
              <a:gd name="connsiteX1" fmla="*/ 8037287 w 8037289"/>
              <a:gd name="connsiteY1" fmla="*/ 0 h 531873"/>
              <a:gd name="connsiteX2" fmla="*/ 8037287 w 8037289"/>
              <a:gd name="connsiteY2" fmla="*/ 239773 h 531873"/>
              <a:gd name="connsiteX3" fmla="*/ 8037289 w 8037289"/>
              <a:gd name="connsiteY3" fmla="*/ 239773 h 531873"/>
              <a:gd name="connsiteX4" fmla="*/ 8037289 w 8037289"/>
              <a:gd name="connsiteY4" fmla="*/ 531873 h 531873"/>
              <a:gd name="connsiteX5" fmla="*/ 0 w 8037289"/>
              <a:gd name="connsiteY5" fmla="*/ 531873 h 531873"/>
              <a:gd name="connsiteX6" fmla="*/ 0 w 8037289"/>
              <a:gd name="connsiteY6" fmla="*/ 239773 h 531873"/>
              <a:gd name="connsiteX7" fmla="*/ 4068966 w 8037289"/>
              <a:gd name="connsiteY7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037289" h="531873">
                <a:moveTo>
                  <a:pt x="4248622" y="0"/>
                </a:moveTo>
                <a:lnTo>
                  <a:pt x="8037287" y="0"/>
                </a:lnTo>
                <a:lnTo>
                  <a:pt x="8037287" y="239773"/>
                </a:lnTo>
                <a:lnTo>
                  <a:pt x="8037289" y="239773"/>
                </a:lnTo>
                <a:lnTo>
                  <a:pt x="8037289" y="531873"/>
                </a:lnTo>
                <a:lnTo>
                  <a:pt x="0" y="531873"/>
                </a:lnTo>
                <a:lnTo>
                  <a:pt x="0" y="239773"/>
                </a:lnTo>
                <a:lnTo>
                  <a:pt x="4068966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0238248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 Overvie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1208697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/>
        </p:nvSpPr>
        <p:spPr bwMode="invGray">
          <a:xfrm>
            <a:off x="1388145" y="4691187"/>
            <a:ext cx="929337" cy="995874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</a:endParaRPr>
          </a:p>
        </p:txBody>
      </p:sp>
      <p:sp>
        <p:nvSpPr>
          <p:cNvPr id="10" name="Rectangle 9"/>
          <p:cNvSpPr/>
          <p:nvPr>
            <p:custDataLst>
              <p:tags r:id="rId2"/>
            </p:custDataLst>
          </p:nvPr>
        </p:nvSpPr>
        <p:spPr>
          <a:xfrm>
            <a:off x="2509482" y="4691187"/>
            <a:ext cx="1570152" cy="1468176"/>
          </a:xfrm>
          <a:prstGeom prst="rect">
            <a:avLst/>
          </a:prstGeom>
          <a:noFill/>
          <a:ln w="9525" cmpd="sng">
            <a:solidFill>
              <a:schemeClr val="accent4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000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1200">
              <a:solidFill>
                <a:srgbClr val="FFFFFF"/>
              </a:solidFill>
              <a:latin typeface="Trebuchet MS" panose="020B0603020202020204" pitchFamily="34" charset="0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630000" y="1161143"/>
            <a:ext cx="3448800" cy="3234456"/>
          </a:xfrm>
          <a:prstGeom prst="rect">
            <a:avLst/>
          </a:prstGeom>
          <a:noFill/>
          <a:ln>
            <a:solidFill>
              <a:schemeClr val="accent4"/>
            </a:solidFill>
          </a:ln>
        </p:spPr>
        <p:txBody>
          <a:bodyPr wrap="square" lIns="612000" tIns="468000" rIns="0" bIns="0" rtlCol="0" anchor="t">
            <a:no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5400">
              <a:solidFill>
                <a:schemeClr val="accent4"/>
              </a:solidFill>
            </a:endParaRPr>
          </a:p>
        </p:txBody>
      </p:sp>
      <p:sp>
        <p:nvSpPr>
          <p:cNvPr id="9" name="TextBox 1"/>
          <p:cNvSpPr txBox="1"/>
          <p:nvPr/>
        </p:nvSpPr>
        <p:spPr>
          <a:xfrm>
            <a:off x="1109949" y="1347645"/>
            <a:ext cx="2488182" cy="8963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 sz="5400">
                <a:solidFill>
                  <a:schemeClr val="accent4"/>
                </a:solidFill>
                <a:latin typeface="+mj-lt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r>
              <a:rPr lang="en-US"/>
              <a:t>Agenda</a:t>
            </a:r>
          </a:p>
        </p:txBody>
      </p:sp>
      <p:sp>
        <p:nvSpPr>
          <p:cNvPr id="12" name="Copyright" hidden="1"/>
          <p:cNvSpPr txBox="1"/>
          <p:nvPr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5447575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93CF90B-3E15-4F7E-BB5F-299B1B0F144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603682"/>
            <a:ext cx="10515600" cy="1087006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6F4AAD7-1A55-4EF2-B2E9-061838DB719C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845320AC-DD4B-443B-9124-A76A02BBF0F0}" type="datetimeFigureOut">
              <a:rPr lang="en-IN" smtClean="0"/>
              <a:t>28-05-2025</a:t>
            </a:fld>
            <a:endParaRPr lang="en-IN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88CA981-8C39-4EC6-A9CA-0C480F1F0E2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IN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A762AA3-31AA-402A-B34F-1D493ADEF85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E7FF1D80-0C43-4B56-BCBD-119C695EDC96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021201011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1740329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1285200" y="2667600"/>
            <a:ext cx="9619200" cy="3200400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</a:endParaRPr>
          </a:p>
        </p:txBody>
      </p:sp>
      <p:sp>
        <p:nvSpPr>
          <p:cNvPr id="6" name="Copyright" hidden="1"/>
          <p:cNvSpPr txBox="1"/>
          <p:nvPr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8554494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Full Width Overvie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6883915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1"/>
          <p:cNvSpPr txBox="1">
            <a:spLocks/>
          </p:cNvSpPr>
          <p:nvPr/>
        </p:nvSpPr>
        <p:spPr>
          <a:xfrm>
            <a:off x="2000250" y="622800"/>
            <a:ext cx="5819748" cy="4708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>
                <a:solidFill>
                  <a:schemeClr val="accent4"/>
                </a:solidFill>
              </a:rPr>
              <a:t>Agenda</a:t>
            </a:r>
          </a:p>
        </p:txBody>
      </p:sp>
      <p:cxnSp>
        <p:nvCxnSpPr>
          <p:cNvPr id="9" name="Straight Connector 8"/>
          <p:cNvCxnSpPr/>
          <p:nvPr/>
        </p:nvCxnSpPr>
        <p:spPr bwMode="white">
          <a:xfrm>
            <a:off x="618898" y="1206000"/>
            <a:ext cx="11576304" cy="0"/>
          </a:xfrm>
          <a:prstGeom prst="line">
            <a:avLst/>
          </a:prstGeom>
          <a:ln w="9525" cmpd="sng">
            <a:solidFill>
              <a:schemeClr val="accent4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Copyright" hidden="1"/>
          <p:cNvSpPr txBox="1"/>
          <p:nvPr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5200282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genda D. Two-Thirds">
    <p:bg>
      <p:bgPr>
        <a:gradFill>
          <a:gsLst>
            <a:gs pos="39000">
              <a:srgbClr val="D81F30"/>
            </a:gs>
            <a:gs pos="100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5348418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22"/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26" name="Rectangle 25"/>
          <p:cNvSpPr/>
          <p:nvPr/>
        </p:nvSpPr>
        <p:spPr bwMode="ltGray">
          <a:xfrm>
            <a:off x="4080763" y="-1309"/>
            <a:ext cx="8111237" cy="68593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630000" y="3262145"/>
            <a:ext cx="1161047" cy="3323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2400">
                <a:solidFill>
                  <a:schemeClr val="bg1"/>
                </a:solidFill>
              </a:rPr>
              <a:t>Agenda</a:t>
            </a:r>
          </a:p>
        </p:txBody>
      </p:sp>
      <p:sp>
        <p:nvSpPr>
          <p:cNvPr id="9" name="Copyright" hidden="1"/>
          <p:cNvSpPr txBox="1"/>
          <p:nvPr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1" name="Freeform 10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/>
        </p:nvSpPr>
        <p:spPr>
          <a:xfrm>
            <a:off x="4151664" y="6326127"/>
            <a:ext cx="8037289" cy="531873"/>
          </a:xfrm>
          <a:custGeom>
            <a:avLst/>
            <a:gdLst>
              <a:gd name="connsiteX0" fmla="*/ 4248622 w 8037289"/>
              <a:gd name="connsiteY0" fmla="*/ 0 h 531873"/>
              <a:gd name="connsiteX1" fmla="*/ 8037287 w 8037289"/>
              <a:gd name="connsiteY1" fmla="*/ 0 h 531873"/>
              <a:gd name="connsiteX2" fmla="*/ 8037287 w 8037289"/>
              <a:gd name="connsiteY2" fmla="*/ 239773 h 531873"/>
              <a:gd name="connsiteX3" fmla="*/ 8037289 w 8037289"/>
              <a:gd name="connsiteY3" fmla="*/ 239773 h 531873"/>
              <a:gd name="connsiteX4" fmla="*/ 8037289 w 8037289"/>
              <a:gd name="connsiteY4" fmla="*/ 531873 h 531873"/>
              <a:gd name="connsiteX5" fmla="*/ 0 w 8037289"/>
              <a:gd name="connsiteY5" fmla="*/ 531873 h 531873"/>
              <a:gd name="connsiteX6" fmla="*/ 0 w 8037289"/>
              <a:gd name="connsiteY6" fmla="*/ 239773 h 531873"/>
              <a:gd name="connsiteX7" fmla="*/ 4068966 w 8037289"/>
              <a:gd name="connsiteY7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037289" h="531873">
                <a:moveTo>
                  <a:pt x="4248622" y="0"/>
                </a:moveTo>
                <a:lnTo>
                  <a:pt x="8037287" y="0"/>
                </a:lnTo>
                <a:lnTo>
                  <a:pt x="8037287" y="239773"/>
                </a:lnTo>
                <a:lnTo>
                  <a:pt x="8037289" y="239773"/>
                </a:lnTo>
                <a:lnTo>
                  <a:pt x="8037289" y="531873"/>
                </a:lnTo>
                <a:lnTo>
                  <a:pt x="0" y="531873"/>
                </a:lnTo>
                <a:lnTo>
                  <a:pt x="0" y="239773"/>
                </a:lnTo>
                <a:lnTo>
                  <a:pt x="4068966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894857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genda D. Table of Contents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0923558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 12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7" name="Freeform 12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630000" y="2577934"/>
            <a:ext cx="2819400" cy="17617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indent="0">
              <a:lnSpc>
                <a:spcPct val="106000"/>
              </a:lnSpc>
              <a:spcAft>
                <a:spcPts val="700"/>
              </a:spcAft>
              <a:buFontTx/>
              <a:buNone/>
            </a:pPr>
            <a:r>
              <a:rPr lang="en-US" sz="54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Table of contents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8638" y="3586748"/>
            <a:ext cx="1365250" cy="3382962"/>
          </a:xfrm>
          <a:custGeom>
            <a:avLst/>
            <a:gdLst>
              <a:gd name="connsiteX0" fmla="*/ 94280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28720 w 1365250"/>
              <a:gd name="connsiteY3" fmla="*/ 3382962 h 3382962"/>
              <a:gd name="connsiteX4" fmla="*/ 0 w 1365250"/>
              <a:gd name="connsiteY4" fmla="*/ 0 h 3382962"/>
              <a:gd name="connsiteX5" fmla="*/ 929501 w 1365250"/>
              <a:gd name="connsiteY5" fmla="*/ 0 h 3382962"/>
              <a:gd name="connsiteX6" fmla="*/ 0 w 1365250"/>
              <a:gd name="connsiteY6" fmla="*/ 2860398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65250" h="3382962">
                <a:moveTo>
                  <a:pt x="94280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28720" y="3382962"/>
                </a:lnTo>
                <a:close/>
                <a:moveTo>
                  <a:pt x="0" y="0"/>
                </a:moveTo>
                <a:lnTo>
                  <a:pt x="929501" y="0"/>
                </a:lnTo>
                <a:lnTo>
                  <a:pt x="0" y="2860398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Copyright" hidden="1"/>
          <p:cNvSpPr txBox="1"/>
          <p:nvPr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4" name="Freeform 13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/>
        </p:nvSpPr>
        <p:spPr>
          <a:xfrm>
            <a:off x="1" y="6565900"/>
            <a:ext cx="3266011" cy="292100"/>
          </a:xfrm>
          <a:custGeom>
            <a:avLst/>
            <a:gdLst>
              <a:gd name="connsiteX0" fmla="*/ 0 w 3266011"/>
              <a:gd name="connsiteY0" fmla="*/ 0 h 292100"/>
              <a:gd name="connsiteX1" fmla="*/ 3266011 w 3266011"/>
              <a:gd name="connsiteY1" fmla="*/ 0 h 292100"/>
              <a:gd name="connsiteX2" fmla="*/ 3195872 w 3266011"/>
              <a:gd name="connsiteY2" fmla="*/ 292100 h 292100"/>
              <a:gd name="connsiteX3" fmla="*/ 0 w 3266011"/>
              <a:gd name="connsiteY3" fmla="*/ 292100 h 292100"/>
              <a:gd name="connsiteX4" fmla="*/ 0 w 3266011"/>
              <a:gd name="connsiteY4" fmla="*/ 0 h 292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266011" h="292100">
                <a:moveTo>
                  <a:pt x="0" y="0"/>
                </a:moveTo>
                <a:lnTo>
                  <a:pt x="3266011" y="0"/>
                </a:lnTo>
                <a:lnTo>
                  <a:pt x="3195872" y="292100"/>
                </a:lnTo>
                <a:lnTo>
                  <a:pt x="0" y="292100"/>
                </a:lnTo>
                <a:lnTo>
                  <a:pt x="0" y="0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7288736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D. Gray slice head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14DB36A4-3C22-4171-A7C0-131095FDCC9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807718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14DB36A4-3C22-4171-A7C0-131095FDCC9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/>
        </p:nvSpPr>
        <p:spPr bwMode="white">
          <a:xfrm>
            <a:off x="1" y="-1309"/>
            <a:ext cx="3252485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2" name="Copyright" hidden="1"/>
          <p:cNvSpPr txBox="1"/>
          <p:nvPr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3" name="Freeform: Shape 31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/>
        </p:nvSpPr>
        <p:spPr>
          <a:xfrm>
            <a:off x="0" y="6326127"/>
            <a:ext cx="12188952" cy="531873"/>
          </a:xfrm>
          <a:custGeom>
            <a:avLst/>
            <a:gdLst>
              <a:gd name="connsiteX0" fmla="*/ 8400285 w 12188952"/>
              <a:gd name="connsiteY0" fmla="*/ 0 h 531873"/>
              <a:gd name="connsiteX1" fmla="*/ 12188950 w 12188952"/>
              <a:gd name="connsiteY1" fmla="*/ 0 h 531873"/>
              <a:gd name="connsiteX2" fmla="*/ 12188950 w 12188952"/>
              <a:gd name="connsiteY2" fmla="*/ 239773 h 531873"/>
              <a:gd name="connsiteX3" fmla="*/ 12188952 w 12188952"/>
              <a:gd name="connsiteY3" fmla="*/ 239773 h 531873"/>
              <a:gd name="connsiteX4" fmla="*/ 12188952 w 12188952"/>
              <a:gd name="connsiteY4" fmla="*/ 531873 h 531873"/>
              <a:gd name="connsiteX5" fmla="*/ 0 w 12188952"/>
              <a:gd name="connsiteY5" fmla="*/ 531873 h 531873"/>
              <a:gd name="connsiteX6" fmla="*/ 0 w 12188952"/>
              <a:gd name="connsiteY6" fmla="*/ 239773 h 531873"/>
              <a:gd name="connsiteX7" fmla="*/ 8220629 w 12188952"/>
              <a:gd name="connsiteY7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88952" h="531873">
                <a:moveTo>
                  <a:pt x="8400285" y="0"/>
                </a:moveTo>
                <a:lnTo>
                  <a:pt x="12188950" y="0"/>
                </a:lnTo>
                <a:lnTo>
                  <a:pt x="12188950" y="239773"/>
                </a:lnTo>
                <a:lnTo>
                  <a:pt x="12188952" y="239773"/>
                </a:lnTo>
                <a:lnTo>
                  <a:pt x="12188952" y="531873"/>
                </a:lnTo>
                <a:lnTo>
                  <a:pt x="0" y="531873"/>
                </a:lnTo>
                <a:lnTo>
                  <a:pt x="0" y="239773"/>
                </a:lnTo>
                <a:lnTo>
                  <a:pt x="8220629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5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  <p:sp>
        <p:nvSpPr>
          <p:cNvPr id="17" name="Title 1">
            <a:extLst>
              <a:ext uri="{FF2B5EF4-FFF2-40B4-BE49-F238E27FC236}">
                <a16:creationId xmlns:a16="http://schemas.microsoft.com/office/drawing/2014/main" id="{8C8680F0-21E4-46C4-A4F9-6D480C873DD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16539" y="622800"/>
            <a:ext cx="6731334" cy="332399"/>
          </a:xfrm>
          <a:prstGeom prst="rect">
            <a:avLst/>
          </a:prstGeom>
        </p:spPr>
        <p:txBody>
          <a:bodyPr vert="horz"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4920347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AD80251-A270-4E06-8B61-B004C2D48B3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948398B-5712-4392-BF79-C2DB66C9F66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323100"/>
            <a:ext cx="5181600" cy="4861943"/>
          </a:xfrm>
        </p:spPr>
        <p:txBody>
          <a:bodyPr/>
          <a:lstStyle>
            <a:lvl5pP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D0F195B1-4716-4861-9204-52610EDF380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323100"/>
            <a:ext cx="5181600" cy="4861943"/>
          </a:xfrm>
        </p:spPr>
        <p:txBody>
          <a:bodyPr/>
          <a:lstStyle>
            <a:lvl5pP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1FE1935-7105-430F-946D-71B46775561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A8D8781-F333-4946-AF18-7BA11951484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D2EEE2-BEA9-4B3C-953F-0D7A8D5BA1CE}" type="slidenum">
              <a:rPr lang="en-US" smtClean="0"/>
              <a:t>‹#›</a:t>
            </a:fld>
            <a:endParaRPr lang="en-US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16A1896A-BA8D-431F-95F6-F392024CFB6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75568" y="5486400"/>
            <a:ext cx="916432" cy="1371600"/>
          </a:xfrm>
          <a:prstGeom prst="rect">
            <a:avLst/>
          </a:prstGeom>
        </p:spPr>
      </p:pic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02CCEED1-031C-4747-8FF8-BCC4F185F4D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604608" y="636106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lang="en-US" sz="1200" smtClean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0E9FF1F-FEB2-4F66-8B9B-5D7410AEB099}" type="datetime1">
              <a:rPr lang="en-IN" smtClean="0"/>
              <a:t>28-05-2025</a:t>
            </a:fld>
            <a:endParaRPr lang="nl-BE"/>
          </a:p>
        </p:txBody>
      </p:sp>
      <p:pic>
        <p:nvPicPr>
          <p:cNvPr id="5" name="Picture 4" descr="Logo&#10;&#10;Description automatically generated">
            <a:extLst>
              <a:ext uri="{FF2B5EF4-FFF2-40B4-BE49-F238E27FC236}">
                <a16:creationId xmlns:a16="http://schemas.microsoft.com/office/drawing/2014/main" id="{8BCF6980-2B7E-16A0-F837-8D71310227E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93840" y="327617"/>
            <a:ext cx="1708369" cy="5603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5917574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06400" y="1110463"/>
            <a:ext cx="10515600" cy="4351338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C0F64E7-4CAD-4115-A22A-3CC70AA6344F}" type="datetimeFigureOut">
              <a:rPr lang="en-IN" smtClean="0"/>
              <a:t>28-05-2025</a:t>
            </a:fld>
            <a:endParaRPr lang="en-IN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D1FCB6-DF89-42A9-B7BC-A2000AE48D33}" type="slidenum">
              <a:rPr lang="en-IN" smtClean="0"/>
              <a:t>‹#›</a:t>
            </a:fld>
            <a:endParaRPr lang="en-IN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C931B419-2E29-09FD-430D-DE253A31C26A}"/>
              </a:ext>
            </a:extLst>
          </p:cNvPr>
          <p:cNvCxnSpPr>
            <a:cxnSpLocks/>
          </p:cNvCxnSpPr>
          <p:nvPr/>
        </p:nvCxnSpPr>
        <p:spPr>
          <a:xfrm>
            <a:off x="139701" y="723900"/>
            <a:ext cx="11869420" cy="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BE02E117-8ED3-3291-050B-BC1C302F5915}"/>
              </a:ext>
            </a:extLst>
          </p:cNvPr>
          <p:cNvCxnSpPr>
            <a:cxnSpLocks/>
          </p:cNvCxnSpPr>
          <p:nvPr/>
        </p:nvCxnSpPr>
        <p:spPr>
          <a:xfrm>
            <a:off x="266701" y="6267450"/>
            <a:ext cx="11657076" cy="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itle 1">
            <a:extLst>
              <a:ext uri="{FF2B5EF4-FFF2-40B4-BE49-F238E27FC236}">
                <a16:creationId xmlns:a16="http://schemas.microsoft.com/office/drawing/2014/main" id="{93CE8BE2-339E-4AD4-EA58-BAC74D9B15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019808" y="0"/>
            <a:ext cx="10172192" cy="713232"/>
          </a:xfrm>
        </p:spPr>
        <p:txBody>
          <a:bodyPr>
            <a:noAutofit/>
          </a:bodyPr>
          <a:lstStyle>
            <a:lvl1pPr>
              <a:defRPr b="1"/>
            </a:lvl1pPr>
          </a:lstStyle>
          <a:p>
            <a:r>
              <a:rPr lang="en-US" sz="2800" b="1"/>
              <a:t>Click to edit Master title style</a:t>
            </a:r>
            <a:endParaRPr lang="en-IN" sz="2800" b="1"/>
          </a:p>
        </p:txBody>
      </p:sp>
    </p:spTree>
    <p:extLst>
      <p:ext uri="{BB962C8B-B14F-4D97-AF65-F5344CB8AC3E}">
        <p14:creationId xmlns:p14="http://schemas.microsoft.com/office/powerpoint/2010/main" val="4110121060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13D201A-9DA8-DB84-7FE9-4E715DBA5A3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B81C770-0E6D-C998-90C4-83BC4B39E83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AA9CADD-0F51-C184-2EF8-2723AE119CF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CC0B3F3-C496-4C08-8F3B-356613ED4F01}" type="datetimeFigureOut">
              <a:rPr lang="en-IN" smtClean="0"/>
              <a:t>28-05-2025</a:t>
            </a:fld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332D01F-2889-A1B2-54FF-9F4AA33E917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3942604-76C5-C6D3-B11A-DEE898F40FC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9966D4-1F64-42D7-B1B4-5DC3A92B8B21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813107388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10591353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 descr="Background pattern&#10;&#10;Description automatically generated">
            <a:extLst>
              <a:ext uri="{FF2B5EF4-FFF2-40B4-BE49-F238E27FC236}">
                <a16:creationId xmlns:a16="http://schemas.microsoft.com/office/drawing/2014/main" id="{76102CE6-44EB-4F0C-AFC8-016AA9CE6BE5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alphaModFix/>
          </a:blip>
          <a:srcRect t="7804" b="7804"/>
          <a:stretch/>
        </p:blipFill>
        <p:spPr>
          <a:xfrm flipH="1">
            <a:off x="-1" y="0"/>
            <a:ext cx="12192000" cy="6858000"/>
          </a:xfrm>
          <a:prstGeom prst="rect">
            <a:avLst/>
          </a:prstGeom>
        </p:spPr>
      </p:pic>
      <p:sp>
        <p:nvSpPr>
          <p:cNvPr id="59" name="Parallelogram 58">
            <a:extLst>
              <a:ext uri="{FF2B5EF4-FFF2-40B4-BE49-F238E27FC236}">
                <a16:creationId xmlns:a16="http://schemas.microsoft.com/office/drawing/2014/main" id="{4216D125-6937-46FC-BEB0-E1BCBC3E6DF7}"/>
              </a:ext>
            </a:extLst>
          </p:cNvPr>
          <p:cNvSpPr/>
          <p:nvPr/>
        </p:nvSpPr>
        <p:spPr bwMode="black">
          <a:xfrm>
            <a:off x="8545508" y="1488060"/>
            <a:ext cx="2846389" cy="5369940"/>
          </a:xfrm>
          <a:prstGeom prst="parallelogram">
            <a:avLst>
              <a:gd name="adj" fmla="val 47699"/>
            </a:avLst>
          </a:prstGeom>
          <a:solidFill>
            <a:srgbClr val="ED1D24">
              <a:alpha val="61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endParaRPr lang="en-US" sz="15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39" name="Parallelogram 38">
            <a:extLst>
              <a:ext uri="{FF2B5EF4-FFF2-40B4-BE49-F238E27FC236}">
                <a16:creationId xmlns:a16="http://schemas.microsoft.com/office/drawing/2014/main" id="{64493FB8-0591-43CA-9898-D4DD63E9E607}"/>
              </a:ext>
            </a:extLst>
          </p:cNvPr>
          <p:cNvSpPr/>
          <p:nvPr/>
        </p:nvSpPr>
        <p:spPr bwMode="black">
          <a:xfrm>
            <a:off x="8454068" y="0"/>
            <a:ext cx="2846389" cy="5369940"/>
          </a:xfrm>
          <a:prstGeom prst="parallelogram">
            <a:avLst>
              <a:gd name="adj" fmla="val 47699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endParaRPr lang="en-US" sz="15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3" name="Rectangle 2" hidden="1"/>
          <p:cNvSpPr/>
          <p:nvPr>
            <p:custDataLst>
              <p:tags r:id="rId2"/>
            </p:custDataLst>
          </p:nvPr>
        </p:nvSpPr>
        <p:spPr>
          <a:xfrm>
            <a:off x="1" y="0"/>
            <a:ext cx="158751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</a:pPr>
            <a:endParaRPr lang="en-US" sz="4050" b="0" i="0" baseline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51" name="Freeform: Shape 50">
            <a:extLst>
              <a:ext uri="{FF2B5EF4-FFF2-40B4-BE49-F238E27FC236}">
                <a16:creationId xmlns:a16="http://schemas.microsoft.com/office/drawing/2014/main" id="{C09FB0A7-2EA7-43BA-8A8F-7E0C2CD590C9}"/>
              </a:ext>
            </a:extLst>
          </p:cNvPr>
          <p:cNvSpPr/>
          <p:nvPr/>
        </p:nvSpPr>
        <p:spPr bwMode="black">
          <a:xfrm>
            <a:off x="-4499" y="1488060"/>
            <a:ext cx="10413417" cy="4117298"/>
          </a:xfrm>
          <a:custGeom>
            <a:avLst/>
            <a:gdLst>
              <a:gd name="connsiteX0" fmla="*/ 0 w 10413417"/>
              <a:gd name="connsiteY0" fmla="*/ 0 h 4117298"/>
              <a:gd name="connsiteX1" fmla="*/ 10413417 w 10413417"/>
              <a:gd name="connsiteY1" fmla="*/ 0 h 4117298"/>
              <a:gd name="connsiteX2" fmla="*/ 9384092 w 10413417"/>
              <a:gd name="connsiteY2" fmla="*/ 4117298 h 4117298"/>
              <a:gd name="connsiteX3" fmla="*/ 0 w 10413417"/>
              <a:gd name="connsiteY3" fmla="*/ 4117298 h 4117298"/>
              <a:gd name="connsiteX4" fmla="*/ 0 w 10413417"/>
              <a:gd name="connsiteY4" fmla="*/ 0 h 41172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413417" h="4117298">
                <a:moveTo>
                  <a:pt x="0" y="0"/>
                </a:moveTo>
                <a:lnTo>
                  <a:pt x="10413417" y="0"/>
                </a:lnTo>
                <a:lnTo>
                  <a:pt x="9384092" y="4117298"/>
                </a:lnTo>
                <a:lnTo>
                  <a:pt x="0" y="4117298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5000">
                <a:schemeClr val="accent1">
                  <a:alpha val="90000"/>
                </a:schemeClr>
              </a:gs>
              <a:gs pos="100000">
                <a:schemeClr val="tx2">
                  <a:alpha val="90000"/>
                </a:schemeClr>
              </a:gs>
            </a:gsLst>
            <a:lin ang="189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/>
          <a:p>
            <a:pPr lvl="0" algn="ctr">
              <a:lnSpc>
                <a:spcPct val="95000"/>
              </a:lnSpc>
            </a:pPr>
            <a:endParaRPr lang="en-US" sz="15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4" name="Text Placeholder 6">
            <a:extLst>
              <a:ext uri="{FF2B5EF4-FFF2-40B4-BE49-F238E27FC236}">
                <a16:creationId xmlns:a16="http://schemas.microsoft.com/office/drawing/2014/main" id="{FFF5299E-539F-4059-A36B-ABA4F082222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black">
          <a:xfrm>
            <a:off x="957600" y="5643962"/>
            <a:ext cx="6868800" cy="327148"/>
          </a:xfrm>
          <a:prstGeom prst="rect">
            <a:avLst/>
          </a:prstGeom>
          <a:noFill/>
        </p:spPr>
        <p:txBody>
          <a:bodyPr anchor="ctr"/>
          <a:lstStyle>
            <a:lvl1pPr algn="l">
              <a:lnSpc>
                <a:spcPct val="110000"/>
              </a:lnSpc>
              <a:buNone/>
              <a:defRPr sz="900" b="1" cap="all" baseline="0">
                <a:solidFill>
                  <a:schemeClr val="tx1"/>
                </a:solidFill>
                <a:latin typeface="+mn-lt"/>
                <a:sym typeface="Trebuchet MS" panose="020B0603020202020204" pitchFamily="34" charset="0"/>
              </a:defRPr>
            </a:lvl1pPr>
            <a:lvl2pPr algn="ctr">
              <a:buNone/>
              <a:defRPr/>
            </a:lvl2pPr>
            <a:lvl3pPr marL="0" indent="0" algn="ctr">
              <a:buNone/>
              <a:defRPr/>
            </a:lvl3pPr>
            <a:lvl4pPr marL="171450" indent="0" algn="ctr">
              <a:buNone/>
              <a:defRPr/>
            </a:lvl4pPr>
            <a:lvl5pPr marL="342900" indent="0" algn="ctr">
              <a:buNone/>
              <a:defRPr/>
            </a:lvl5pPr>
          </a:lstStyle>
          <a:p>
            <a:pPr lvl="0"/>
            <a:r>
              <a:rPr lang="en-US"/>
              <a:t>Click to edit date/place</a:t>
            </a:r>
          </a:p>
        </p:txBody>
      </p:sp>
      <p:sp>
        <p:nvSpPr>
          <p:cNvPr id="28" name="Subtitle 2">
            <a:extLst>
              <a:ext uri="{FF2B5EF4-FFF2-40B4-BE49-F238E27FC236}">
                <a16:creationId xmlns:a16="http://schemas.microsoft.com/office/drawing/2014/main" id="{48C69496-98E5-4D15-895D-9714FC81C55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white">
          <a:xfrm>
            <a:off x="957600" y="4664305"/>
            <a:ext cx="6868800" cy="436195"/>
          </a:xfrm>
          <a:prstGeom prst="rect">
            <a:avLst/>
          </a:prstGeom>
        </p:spPr>
        <p:txBody>
          <a:bodyPr anchor="ctr"/>
          <a:lstStyle>
            <a:lvl1pPr marL="0" indent="0" algn="l">
              <a:lnSpc>
                <a:spcPct val="110000"/>
              </a:lnSpc>
              <a:buNone/>
              <a:defRPr sz="1200" baseline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Subtitle in sentence case</a:t>
            </a:r>
          </a:p>
        </p:txBody>
      </p:sp>
      <p:sp>
        <p:nvSpPr>
          <p:cNvPr id="29" name="Title 1">
            <a:extLst>
              <a:ext uri="{FF2B5EF4-FFF2-40B4-BE49-F238E27FC236}">
                <a16:creationId xmlns:a16="http://schemas.microsoft.com/office/drawing/2014/main" id="{ADC26D99-1A0C-40C4-93C6-17C36E87E09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ltGray">
          <a:xfrm>
            <a:off x="957600" y="1886244"/>
            <a:ext cx="6868800" cy="2485841"/>
          </a:xfrm>
          <a:prstGeom prst="rect">
            <a:avLst/>
          </a:prstGeom>
        </p:spPr>
        <p:txBody>
          <a:bodyPr vert="horz" anchor="b">
            <a:normAutofit/>
          </a:bodyPr>
          <a:lstStyle>
            <a:lvl1pPr algn="l">
              <a:lnSpc>
                <a:spcPct val="93000"/>
              </a:lnSpc>
              <a:defRPr sz="4050" baseline="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Title in Title Case</a:t>
            </a: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25516718-0D45-4053-B2DF-55885F50CFC6}"/>
              </a:ext>
            </a:extLst>
          </p:cNvPr>
          <p:cNvGrpSpPr/>
          <p:nvPr/>
        </p:nvGrpSpPr>
        <p:grpSpPr>
          <a:xfrm>
            <a:off x="628651" y="555288"/>
            <a:ext cx="3908023" cy="962690"/>
            <a:chOff x="8558189" y="110692"/>
            <a:chExt cx="2378761" cy="585977"/>
          </a:xfrm>
        </p:grpSpPr>
        <p:cxnSp>
          <p:nvCxnSpPr>
            <p:cNvPr id="30" name="Straight Connector 29">
              <a:extLst>
                <a:ext uri="{FF2B5EF4-FFF2-40B4-BE49-F238E27FC236}">
                  <a16:creationId xmlns:a16="http://schemas.microsoft.com/office/drawing/2014/main" id="{1CC1ED8F-83BF-412C-9762-DABCB2F28161}"/>
                </a:ext>
              </a:extLst>
            </p:cNvPr>
            <p:cNvCxnSpPr>
              <a:cxnSpLocks/>
            </p:cNvCxnSpPr>
            <p:nvPr/>
          </p:nvCxnSpPr>
          <p:spPr>
            <a:xfrm>
              <a:off x="9758109" y="261509"/>
              <a:ext cx="0" cy="284343"/>
            </a:xfrm>
            <a:prstGeom prst="line">
              <a:avLst/>
            </a:prstGeom>
            <a:ln w="9525" cap="rnd">
              <a:solidFill>
                <a:schemeClr val="tx1">
                  <a:lumMod val="60000"/>
                  <a:lumOff val="40000"/>
                </a:schemeClr>
              </a:solidFill>
              <a:prstDash val="solid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31" name="Group 30">
              <a:extLst>
                <a:ext uri="{FF2B5EF4-FFF2-40B4-BE49-F238E27FC236}">
                  <a16:creationId xmlns:a16="http://schemas.microsoft.com/office/drawing/2014/main" id="{4D6D55A0-9AD8-4004-8405-6408AD3D7F55}"/>
                </a:ext>
              </a:extLst>
            </p:cNvPr>
            <p:cNvGrpSpPr/>
            <p:nvPr/>
          </p:nvGrpSpPr>
          <p:grpSpPr>
            <a:xfrm>
              <a:off x="8558189" y="110692"/>
              <a:ext cx="2378761" cy="585977"/>
              <a:chOff x="8188812" y="13712"/>
              <a:chExt cx="3166131" cy="779936"/>
            </a:xfrm>
          </p:grpSpPr>
          <p:pic>
            <p:nvPicPr>
              <p:cNvPr id="32" name="Picture 8">
                <a:extLst>
                  <a:ext uri="{FF2B5EF4-FFF2-40B4-BE49-F238E27FC236}">
                    <a16:creationId xmlns:a16="http://schemas.microsoft.com/office/drawing/2014/main" id="{0934FA06-27EF-4D39-B8F8-CEB08619EB02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7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8188812" y="13712"/>
                <a:ext cx="1403885" cy="779936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33" name="Picture 10" descr="LOGO - SVOLT">
                <a:extLst>
                  <a:ext uri="{FF2B5EF4-FFF2-40B4-BE49-F238E27FC236}">
                    <a16:creationId xmlns:a16="http://schemas.microsoft.com/office/drawing/2014/main" id="{6C086614-E3F1-4CE7-96B1-7D596AE25931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8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9979114" y="177063"/>
                <a:ext cx="1375829" cy="355601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</p:grpSp>
    </p:spTree>
    <p:extLst>
      <p:ext uri="{BB962C8B-B14F-4D97-AF65-F5344CB8AC3E}">
        <p14:creationId xmlns:p14="http://schemas.microsoft.com/office/powerpoint/2010/main" val="20248752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62BE1D45-6B01-4ED4-90C8-DFF16575F74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95644562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62BE1D45-6B01-4ED4-90C8-DFF16575F74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C2CA43F3-1813-4A01-B73F-7C0B61EAA2BE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" y="0"/>
            <a:ext cx="158751" cy="158750"/>
          </a:xfrm>
          <a:prstGeom prst="rect">
            <a:avLst/>
          </a:prstGeom>
          <a:solidFill>
            <a:srgbClr val="DB2026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550" b="0" i="0" baseline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740524"/>
            <a:ext cx="10933200" cy="353174"/>
          </a:xfrm>
          <a:prstGeom prst="rect">
            <a:avLst/>
          </a:prstGeom>
        </p:spPr>
        <p:txBody>
          <a:bodyPr vert="horz" wrap="square" lIns="0" tIns="0" rIns="0" bIns="0" anchor="b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2550" b="0" i="0" u="none" kern="1200" spc="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98657C2A-7CEA-4008-9E80-B51279C4E2EA}"/>
              </a:ext>
            </a:extLst>
          </p:cNvPr>
          <p:cNvSpPr/>
          <p:nvPr/>
        </p:nvSpPr>
        <p:spPr bwMode="black">
          <a:xfrm flipH="1">
            <a:off x="12060821" y="292100"/>
            <a:ext cx="131180" cy="801598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/>
          <a:p>
            <a:pPr lvl="0" algn="ctr">
              <a:lnSpc>
                <a:spcPct val="95000"/>
              </a:lnSpc>
            </a:pPr>
            <a:endParaRPr lang="en-US" sz="15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4EB94323-AB00-4310-8BB7-305C30AC086B}"/>
              </a:ext>
            </a:extLst>
          </p:cNvPr>
          <p:cNvSpPr/>
          <p:nvPr/>
        </p:nvSpPr>
        <p:spPr bwMode="black">
          <a:xfrm flipH="1">
            <a:off x="1" y="292100"/>
            <a:ext cx="131180" cy="80159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/>
          <a:p>
            <a:pPr lvl="0" algn="ctr">
              <a:lnSpc>
                <a:spcPct val="95000"/>
              </a:lnSpc>
            </a:pPr>
            <a:endParaRPr lang="en-US" sz="15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7" name="Copyright">
            <a:extLst>
              <a:ext uri="{FF2B5EF4-FFF2-40B4-BE49-F238E27FC236}">
                <a16:creationId xmlns:a16="http://schemas.microsoft.com/office/drawing/2014/main" id="{D8C934D0-D90A-4053-A21A-88E57CFF2460}"/>
              </a:ext>
            </a:extLst>
          </p:cNvPr>
          <p:cNvSpPr txBox="1"/>
          <p:nvPr/>
        </p:nvSpPr>
        <p:spPr>
          <a:xfrm rot="16200000">
            <a:off x="9486902" y="3934616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6605252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2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png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20" Type="http://schemas.openxmlformats.org/officeDocument/2006/relationships/image" Target="../media/image4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3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41.xml"/><Relationship Id="rId21" Type="http://schemas.openxmlformats.org/officeDocument/2006/relationships/slideLayout" Target="../slideLayouts/slideLayout36.xml"/><Relationship Id="rId42" Type="http://schemas.openxmlformats.org/officeDocument/2006/relationships/slideLayout" Target="../slideLayouts/slideLayout57.xml"/><Relationship Id="rId47" Type="http://schemas.openxmlformats.org/officeDocument/2006/relationships/slideLayout" Target="../slideLayouts/slideLayout62.xml"/><Relationship Id="rId63" Type="http://schemas.openxmlformats.org/officeDocument/2006/relationships/slideLayout" Target="../slideLayouts/slideLayout78.xml"/><Relationship Id="rId68" Type="http://schemas.openxmlformats.org/officeDocument/2006/relationships/slideLayout" Target="../slideLayouts/slideLayout83.xml"/><Relationship Id="rId84" Type="http://schemas.openxmlformats.org/officeDocument/2006/relationships/tags" Target="../tags/tag1.xml"/><Relationship Id="rId16" Type="http://schemas.openxmlformats.org/officeDocument/2006/relationships/slideLayout" Target="../slideLayouts/slideLayout31.xml"/><Relationship Id="rId11" Type="http://schemas.openxmlformats.org/officeDocument/2006/relationships/slideLayout" Target="../slideLayouts/slideLayout26.xml"/><Relationship Id="rId32" Type="http://schemas.openxmlformats.org/officeDocument/2006/relationships/slideLayout" Target="../slideLayouts/slideLayout47.xml"/><Relationship Id="rId37" Type="http://schemas.openxmlformats.org/officeDocument/2006/relationships/slideLayout" Target="../slideLayouts/slideLayout52.xml"/><Relationship Id="rId53" Type="http://schemas.openxmlformats.org/officeDocument/2006/relationships/slideLayout" Target="../slideLayouts/slideLayout68.xml"/><Relationship Id="rId58" Type="http://schemas.openxmlformats.org/officeDocument/2006/relationships/slideLayout" Target="../slideLayouts/slideLayout73.xml"/><Relationship Id="rId74" Type="http://schemas.openxmlformats.org/officeDocument/2006/relationships/slideLayout" Target="../slideLayouts/slideLayout89.xml"/><Relationship Id="rId79" Type="http://schemas.openxmlformats.org/officeDocument/2006/relationships/slideLayout" Target="../slideLayouts/slideLayout94.xml"/><Relationship Id="rId5" Type="http://schemas.openxmlformats.org/officeDocument/2006/relationships/slideLayout" Target="../slideLayouts/slideLayout20.xml"/><Relationship Id="rId19" Type="http://schemas.openxmlformats.org/officeDocument/2006/relationships/slideLayout" Target="../slideLayouts/slideLayout34.xml"/><Relationship Id="rId14" Type="http://schemas.openxmlformats.org/officeDocument/2006/relationships/slideLayout" Target="../slideLayouts/slideLayout29.xml"/><Relationship Id="rId22" Type="http://schemas.openxmlformats.org/officeDocument/2006/relationships/slideLayout" Target="../slideLayouts/slideLayout37.xml"/><Relationship Id="rId27" Type="http://schemas.openxmlformats.org/officeDocument/2006/relationships/slideLayout" Target="../slideLayouts/slideLayout42.xml"/><Relationship Id="rId30" Type="http://schemas.openxmlformats.org/officeDocument/2006/relationships/slideLayout" Target="../slideLayouts/slideLayout45.xml"/><Relationship Id="rId35" Type="http://schemas.openxmlformats.org/officeDocument/2006/relationships/slideLayout" Target="../slideLayouts/slideLayout50.xml"/><Relationship Id="rId43" Type="http://schemas.openxmlformats.org/officeDocument/2006/relationships/slideLayout" Target="../slideLayouts/slideLayout58.xml"/><Relationship Id="rId48" Type="http://schemas.openxmlformats.org/officeDocument/2006/relationships/slideLayout" Target="../slideLayouts/slideLayout63.xml"/><Relationship Id="rId56" Type="http://schemas.openxmlformats.org/officeDocument/2006/relationships/slideLayout" Target="../slideLayouts/slideLayout71.xml"/><Relationship Id="rId64" Type="http://schemas.openxmlformats.org/officeDocument/2006/relationships/slideLayout" Target="../slideLayouts/slideLayout79.xml"/><Relationship Id="rId69" Type="http://schemas.openxmlformats.org/officeDocument/2006/relationships/slideLayout" Target="../slideLayouts/slideLayout84.xml"/><Relationship Id="rId77" Type="http://schemas.openxmlformats.org/officeDocument/2006/relationships/slideLayout" Target="../slideLayouts/slideLayout92.xml"/><Relationship Id="rId8" Type="http://schemas.openxmlformats.org/officeDocument/2006/relationships/slideLayout" Target="../slideLayouts/slideLayout23.xml"/><Relationship Id="rId51" Type="http://schemas.openxmlformats.org/officeDocument/2006/relationships/slideLayout" Target="../slideLayouts/slideLayout66.xml"/><Relationship Id="rId72" Type="http://schemas.openxmlformats.org/officeDocument/2006/relationships/slideLayout" Target="../slideLayouts/slideLayout87.xml"/><Relationship Id="rId80" Type="http://schemas.openxmlformats.org/officeDocument/2006/relationships/slideLayout" Target="../slideLayouts/slideLayout95.xml"/><Relationship Id="rId85" Type="http://schemas.openxmlformats.org/officeDocument/2006/relationships/oleObject" Target="../embeddings/oleObject1.bin"/><Relationship Id="rId3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7.xml"/><Relationship Id="rId17" Type="http://schemas.openxmlformats.org/officeDocument/2006/relationships/slideLayout" Target="../slideLayouts/slideLayout32.xml"/><Relationship Id="rId25" Type="http://schemas.openxmlformats.org/officeDocument/2006/relationships/slideLayout" Target="../slideLayouts/slideLayout40.xml"/><Relationship Id="rId33" Type="http://schemas.openxmlformats.org/officeDocument/2006/relationships/slideLayout" Target="../slideLayouts/slideLayout48.xml"/><Relationship Id="rId38" Type="http://schemas.openxmlformats.org/officeDocument/2006/relationships/slideLayout" Target="../slideLayouts/slideLayout53.xml"/><Relationship Id="rId46" Type="http://schemas.openxmlformats.org/officeDocument/2006/relationships/slideLayout" Target="../slideLayouts/slideLayout61.xml"/><Relationship Id="rId59" Type="http://schemas.openxmlformats.org/officeDocument/2006/relationships/slideLayout" Target="../slideLayouts/slideLayout74.xml"/><Relationship Id="rId67" Type="http://schemas.openxmlformats.org/officeDocument/2006/relationships/slideLayout" Target="../slideLayouts/slideLayout82.xml"/><Relationship Id="rId20" Type="http://schemas.openxmlformats.org/officeDocument/2006/relationships/slideLayout" Target="../slideLayouts/slideLayout35.xml"/><Relationship Id="rId41" Type="http://schemas.openxmlformats.org/officeDocument/2006/relationships/slideLayout" Target="../slideLayouts/slideLayout56.xml"/><Relationship Id="rId54" Type="http://schemas.openxmlformats.org/officeDocument/2006/relationships/slideLayout" Target="../slideLayouts/slideLayout69.xml"/><Relationship Id="rId62" Type="http://schemas.openxmlformats.org/officeDocument/2006/relationships/slideLayout" Target="../slideLayouts/slideLayout77.xml"/><Relationship Id="rId70" Type="http://schemas.openxmlformats.org/officeDocument/2006/relationships/slideLayout" Target="../slideLayouts/slideLayout85.xml"/><Relationship Id="rId75" Type="http://schemas.openxmlformats.org/officeDocument/2006/relationships/slideLayout" Target="../slideLayouts/slideLayout90.xml"/><Relationship Id="rId83" Type="http://schemas.openxmlformats.org/officeDocument/2006/relationships/theme" Target="../theme/theme2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5" Type="http://schemas.openxmlformats.org/officeDocument/2006/relationships/slideLayout" Target="../slideLayouts/slideLayout30.xml"/><Relationship Id="rId23" Type="http://schemas.openxmlformats.org/officeDocument/2006/relationships/slideLayout" Target="../slideLayouts/slideLayout38.xml"/><Relationship Id="rId28" Type="http://schemas.openxmlformats.org/officeDocument/2006/relationships/slideLayout" Target="../slideLayouts/slideLayout43.xml"/><Relationship Id="rId36" Type="http://schemas.openxmlformats.org/officeDocument/2006/relationships/slideLayout" Target="../slideLayouts/slideLayout51.xml"/><Relationship Id="rId49" Type="http://schemas.openxmlformats.org/officeDocument/2006/relationships/slideLayout" Target="../slideLayouts/slideLayout64.xml"/><Relationship Id="rId57" Type="http://schemas.openxmlformats.org/officeDocument/2006/relationships/slideLayout" Target="../slideLayouts/slideLayout72.xml"/><Relationship Id="rId10" Type="http://schemas.openxmlformats.org/officeDocument/2006/relationships/slideLayout" Target="../slideLayouts/slideLayout25.xml"/><Relationship Id="rId31" Type="http://schemas.openxmlformats.org/officeDocument/2006/relationships/slideLayout" Target="../slideLayouts/slideLayout46.xml"/><Relationship Id="rId44" Type="http://schemas.openxmlformats.org/officeDocument/2006/relationships/slideLayout" Target="../slideLayouts/slideLayout59.xml"/><Relationship Id="rId52" Type="http://schemas.openxmlformats.org/officeDocument/2006/relationships/slideLayout" Target="../slideLayouts/slideLayout67.xml"/><Relationship Id="rId60" Type="http://schemas.openxmlformats.org/officeDocument/2006/relationships/slideLayout" Target="../slideLayouts/slideLayout75.xml"/><Relationship Id="rId65" Type="http://schemas.openxmlformats.org/officeDocument/2006/relationships/slideLayout" Target="../slideLayouts/slideLayout80.xml"/><Relationship Id="rId73" Type="http://schemas.openxmlformats.org/officeDocument/2006/relationships/slideLayout" Target="../slideLayouts/slideLayout88.xml"/><Relationship Id="rId78" Type="http://schemas.openxmlformats.org/officeDocument/2006/relationships/slideLayout" Target="../slideLayouts/slideLayout93.xml"/><Relationship Id="rId81" Type="http://schemas.openxmlformats.org/officeDocument/2006/relationships/slideLayout" Target="../slideLayouts/slideLayout96.xml"/><Relationship Id="rId86" Type="http://schemas.openxmlformats.org/officeDocument/2006/relationships/image" Target="../media/image5.emf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Relationship Id="rId13" Type="http://schemas.openxmlformats.org/officeDocument/2006/relationships/slideLayout" Target="../slideLayouts/slideLayout28.xml"/><Relationship Id="rId18" Type="http://schemas.openxmlformats.org/officeDocument/2006/relationships/slideLayout" Target="../slideLayouts/slideLayout33.xml"/><Relationship Id="rId39" Type="http://schemas.openxmlformats.org/officeDocument/2006/relationships/slideLayout" Target="../slideLayouts/slideLayout54.xml"/><Relationship Id="rId34" Type="http://schemas.openxmlformats.org/officeDocument/2006/relationships/slideLayout" Target="../slideLayouts/slideLayout49.xml"/><Relationship Id="rId50" Type="http://schemas.openxmlformats.org/officeDocument/2006/relationships/slideLayout" Target="../slideLayouts/slideLayout65.xml"/><Relationship Id="rId55" Type="http://schemas.openxmlformats.org/officeDocument/2006/relationships/slideLayout" Target="../slideLayouts/slideLayout70.xml"/><Relationship Id="rId76" Type="http://schemas.openxmlformats.org/officeDocument/2006/relationships/slideLayout" Target="../slideLayouts/slideLayout91.xml"/><Relationship Id="rId7" Type="http://schemas.openxmlformats.org/officeDocument/2006/relationships/slideLayout" Target="../slideLayouts/slideLayout22.xml"/><Relationship Id="rId71" Type="http://schemas.openxmlformats.org/officeDocument/2006/relationships/slideLayout" Target="../slideLayouts/slideLayout86.xml"/><Relationship Id="rId2" Type="http://schemas.openxmlformats.org/officeDocument/2006/relationships/slideLayout" Target="../slideLayouts/slideLayout17.xml"/><Relationship Id="rId29" Type="http://schemas.openxmlformats.org/officeDocument/2006/relationships/slideLayout" Target="../slideLayouts/slideLayout44.xml"/><Relationship Id="rId24" Type="http://schemas.openxmlformats.org/officeDocument/2006/relationships/slideLayout" Target="../slideLayouts/slideLayout39.xml"/><Relationship Id="rId40" Type="http://schemas.openxmlformats.org/officeDocument/2006/relationships/slideLayout" Target="../slideLayouts/slideLayout55.xml"/><Relationship Id="rId45" Type="http://schemas.openxmlformats.org/officeDocument/2006/relationships/slideLayout" Target="../slideLayouts/slideLayout60.xml"/><Relationship Id="rId66" Type="http://schemas.openxmlformats.org/officeDocument/2006/relationships/slideLayout" Target="../slideLayouts/slideLayout81.xml"/><Relationship Id="rId87" Type="http://schemas.openxmlformats.org/officeDocument/2006/relationships/image" Target="../media/image6.png"/><Relationship Id="rId61" Type="http://schemas.openxmlformats.org/officeDocument/2006/relationships/slideLayout" Target="../slideLayouts/slideLayout76.xml"/><Relationship Id="rId82" Type="http://schemas.openxmlformats.org/officeDocument/2006/relationships/slideLayout" Target="../slideLayouts/slideLayout97.xml"/></Relationships>
</file>

<file path=ppt/slideMasters/_rels/slideMaster3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123.xml"/><Relationship Id="rId21" Type="http://schemas.openxmlformats.org/officeDocument/2006/relationships/slideLayout" Target="../slideLayouts/slideLayout118.xml"/><Relationship Id="rId42" Type="http://schemas.openxmlformats.org/officeDocument/2006/relationships/slideLayout" Target="../slideLayouts/slideLayout139.xml"/><Relationship Id="rId47" Type="http://schemas.openxmlformats.org/officeDocument/2006/relationships/slideLayout" Target="../slideLayouts/slideLayout144.xml"/><Relationship Id="rId63" Type="http://schemas.openxmlformats.org/officeDocument/2006/relationships/slideLayout" Target="../slideLayouts/slideLayout160.xml"/><Relationship Id="rId68" Type="http://schemas.openxmlformats.org/officeDocument/2006/relationships/tags" Target="../tags/tag81.xml"/><Relationship Id="rId7" Type="http://schemas.openxmlformats.org/officeDocument/2006/relationships/slideLayout" Target="../slideLayouts/slideLayout104.xml"/><Relationship Id="rId71" Type="http://schemas.openxmlformats.org/officeDocument/2006/relationships/image" Target="../media/image5.emf"/><Relationship Id="rId2" Type="http://schemas.openxmlformats.org/officeDocument/2006/relationships/slideLayout" Target="../slideLayouts/slideLayout99.xml"/><Relationship Id="rId16" Type="http://schemas.openxmlformats.org/officeDocument/2006/relationships/slideLayout" Target="../slideLayouts/slideLayout113.xml"/><Relationship Id="rId29" Type="http://schemas.openxmlformats.org/officeDocument/2006/relationships/slideLayout" Target="../slideLayouts/slideLayout126.xml"/><Relationship Id="rId11" Type="http://schemas.openxmlformats.org/officeDocument/2006/relationships/slideLayout" Target="../slideLayouts/slideLayout108.xml"/><Relationship Id="rId24" Type="http://schemas.openxmlformats.org/officeDocument/2006/relationships/slideLayout" Target="../slideLayouts/slideLayout121.xml"/><Relationship Id="rId32" Type="http://schemas.openxmlformats.org/officeDocument/2006/relationships/slideLayout" Target="../slideLayouts/slideLayout129.xml"/><Relationship Id="rId37" Type="http://schemas.openxmlformats.org/officeDocument/2006/relationships/slideLayout" Target="../slideLayouts/slideLayout134.xml"/><Relationship Id="rId40" Type="http://schemas.openxmlformats.org/officeDocument/2006/relationships/slideLayout" Target="../slideLayouts/slideLayout137.xml"/><Relationship Id="rId45" Type="http://schemas.openxmlformats.org/officeDocument/2006/relationships/slideLayout" Target="../slideLayouts/slideLayout142.xml"/><Relationship Id="rId53" Type="http://schemas.openxmlformats.org/officeDocument/2006/relationships/slideLayout" Target="../slideLayouts/slideLayout150.xml"/><Relationship Id="rId58" Type="http://schemas.openxmlformats.org/officeDocument/2006/relationships/slideLayout" Target="../slideLayouts/slideLayout155.xml"/><Relationship Id="rId66" Type="http://schemas.openxmlformats.org/officeDocument/2006/relationships/theme" Target="../theme/theme3.xml"/><Relationship Id="rId5" Type="http://schemas.openxmlformats.org/officeDocument/2006/relationships/slideLayout" Target="../slideLayouts/slideLayout102.xml"/><Relationship Id="rId61" Type="http://schemas.openxmlformats.org/officeDocument/2006/relationships/slideLayout" Target="../slideLayouts/slideLayout158.xml"/><Relationship Id="rId19" Type="http://schemas.openxmlformats.org/officeDocument/2006/relationships/slideLayout" Target="../slideLayouts/slideLayout116.xml"/><Relationship Id="rId14" Type="http://schemas.openxmlformats.org/officeDocument/2006/relationships/slideLayout" Target="../slideLayouts/slideLayout111.xml"/><Relationship Id="rId22" Type="http://schemas.openxmlformats.org/officeDocument/2006/relationships/slideLayout" Target="../slideLayouts/slideLayout119.xml"/><Relationship Id="rId27" Type="http://schemas.openxmlformats.org/officeDocument/2006/relationships/slideLayout" Target="../slideLayouts/slideLayout124.xml"/><Relationship Id="rId30" Type="http://schemas.openxmlformats.org/officeDocument/2006/relationships/slideLayout" Target="../slideLayouts/slideLayout127.xml"/><Relationship Id="rId35" Type="http://schemas.openxmlformats.org/officeDocument/2006/relationships/slideLayout" Target="../slideLayouts/slideLayout132.xml"/><Relationship Id="rId43" Type="http://schemas.openxmlformats.org/officeDocument/2006/relationships/slideLayout" Target="../slideLayouts/slideLayout140.xml"/><Relationship Id="rId48" Type="http://schemas.openxmlformats.org/officeDocument/2006/relationships/slideLayout" Target="../slideLayouts/slideLayout145.xml"/><Relationship Id="rId56" Type="http://schemas.openxmlformats.org/officeDocument/2006/relationships/slideLayout" Target="../slideLayouts/slideLayout153.xml"/><Relationship Id="rId64" Type="http://schemas.openxmlformats.org/officeDocument/2006/relationships/slideLayout" Target="../slideLayouts/slideLayout161.xml"/><Relationship Id="rId69" Type="http://schemas.openxmlformats.org/officeDocument/2006/relationships/tags" Target="../tags/tag82.xml"/><Relationship Id="rId8" Type="http://schemas.openxmlformats.org/officeDocument/2006/relationships/slideLayout" Target="../slideLayouts/slideLayout105.xml"/><Relationship Id="rId51" Type="http://schemas.openxmlformats.org/officeDocument/2006/relationships/slideLayout" Target="../slideLayouts/slideLayout148.xml"/><Relationship Id="rId72" Type="http://schemas.openxmlformats.org/officeDocument/2006/relationships/oleObject" Target="../embeddings/oleObject63.bin"/><Relationship Id="rId3" Type="http://schemas.openxmlformats.org/officeDocument/2006/relationships/slideLayout" Target="../slideLayouts/slideLayout100.xml"/><Relationship Id="rId12" Type="http://schemas.openxmlformats.org/officeDocument/2006/relationships/slideLayout" Target="../slideLayouts/slideLayout109.xml"/><Relationship Id="rId17" Type="http://schemas.openxmlformats.org/officeDocument/2006/relationships/slideLayout" Target="../slideLayouts/slideLayout114.xml"/><Relationship Id="rId25" Type="http://schemas.openxmlformats.org/officeDocument/2006/relationships/slideLayout" Target="../slideLayouts/slideLayout122.xml"/><Relationship Id="rId33" Type="http://schemas.openxmlformats.org/officeDocument/2006/relationships/slideLayout" Target="../slideLayouts/slideLayout130.xml"/><Relationship Id="rId38" Type="http://schemas.openxmlformats.org/officeDocument/2006/relationships/slideLayout" Target="../slideLayouts/slideLayout135.xml"/><Relationship Id="rId46" Type="http://schemas.openxmlformats.org/officeDocument/2006/relationships/slideLayout" Target="../slideLayouts/slideLayout143.xml"/><Relationship Id="rId59" Type="http://schemas.openxmlformats.org/officeDocument/2006/relationships/slideLayout" Target="../slideLayouts/slideLayout156.xml"/><Relationship Id="rId67" Type="http://schemas.openxmlformats.org/officeDocument/2006/relationships/tags" Target="../tags/tag80.xml"/><Relationship Id="rId20" Type="http://schemas.openxmlformats.org/officeDocument/2006/relationships/slideLayout" Target="../slideLayouts/slideLayout117.xml"/><Relationship Id="rId41" Type="http://schemas.openxmlformats.org/officeDocument/2006/relationships/slideLayout" Target="../slideLayouts/slideLayout138.xml"/><Relationship Id="rId54" Type="http://schemas.openxmlformats.org/officeDocument/2006/relationships/slideLayout" Target="../slideLayouts/slideLayout151.xml"/><Relationship Id="rId62" Type="http://schemas.openxmlformats.org/officeDocument/2006/relationships/slideLayout" Target="../slideLayouts/slideLayout159.xml"/><Relationship Id="rId70" Type="http://schemas.openxmlformats.org/officeDocument/2006/relationships/oleObject" Target="../embeddings/oleObject62.bin"/><Relationship Id="rId1" Type="http://schemas.openxmlformats.org/officeDocument/2006/relationships/slideLayout" Target="../slideLayouts/slideLayout98.xml"/><Relationship Id="rId6" Type="http://schemas.openxmlformats.org/officeDocument/2006/relationships/slideLayout" Target="../slideLayouts/slideLayout103.xml"/><Relationship Id="rId15" Type="http://schemas.openxmlformats.org/officeDocument/2006/relationships/slideLayout" Target="../slideLayouts/slideLayout112.xml"/><Relationship Id="rId23" Type="http://schemas.openxmlformats.org/officeDocument/2006/relationships/slideLayout" Target="../slideLayouts/slideLayout120.xml"/><Relationship Id="rId28" Type="http://schemas.openxmlformats.org/officeDocument/2006/relationships/slideLayout" Target="../slideLayouts/slideLayout125.xml"/><Relationship Id="rId36" Type="http://schemas.openxmlformats.org/officeDocument/2006/relationships/slideLayout" Target="../slideLayouts/slideLayout133.xml"/><Relationship Id="rId49" Type="http://schemas.openxmlformats.org/officeDocument/2006/relationships/slideLayout" Target="../slideLayouts/slideLayout146.xml"/><Relationship Id="rId57" Type="http://schemas.openxmlformats.org/officeDocument/2006/relationships/slideLayout" Target="../slideLayouts/slideLayout154.xml"/><Relationship Id="rId10" Type="http://schemas.openxmlformats.org/officeDocument/2006/relationships/slideLayout" Target="../slideLayouts/slideLayout107.xml"/><Relationship Id="rId31" Type="http://schemas.openxmlformats.org/officeDocument/2006/relationships/slideLayout" Target="../slideLayouts/slideLayout128.xml"/><Relationship Id="rId44" Type="http://schemas.openxmlformats.org/officeDocument/2006/relationships/slideLayout" Target="../slideLayouts/slideLayout141.xml"/><Relationship Id="rId52" Type="http://schemas.openxmlformats.org/officeDocument/2006/relationships/slideLayout" Target="../slideLayouts/slideLayout149.xml"/><Relationship Id="rId60" Type="http://schemas.openxmlformats.org/officeDocument/2006/relationships/slideLayout" Target="../slideLayouts/slideLayout157.xml"/><Relationship Id="rId65" Type="http://schemas.openxmlformats.org/officeDocument/2006/relationships/slideLayout" Target="../slideLayouts/slideLayout162.xml"/><Relationship Id="rId4" Type="http://schemas.openxmlformats.org/officeDocument/2006/relationships/slideLayout" Target="../slideLayouts/slideLayout101.xml"/><Relationship Id="rId9" Type="http://schemas.openxmlformats.org/officeDocument/2006/relationships/slideLayout" Target="../slideLayouts/slideLayout106.xml"/><Relationship Id="rId13" Type="http://schemas.openxmlformats.org/officeDocument/2006/relationships/slideLayout" Target="../slideLayouts/slideLayout110.xml"/><Relationship Id="rId18" Type="http://schemas.openxmlformats.org/officeDocument/2006/relationships/slideLayout" Target="../slideLayouts/slideLayout115.xml"/><Relationship Id="rId39" Type="http://schemas.openxmlformats.org/officeDocument/2006/relationships/slideLayout" Target="../slideLayouts/slideLayout136.xml"/><Relationship Id="rId34" Type="http://schemas.openxmlformats.org/officeDocument/2006/relationships/slideLayout" Target="../slideLayouts/slideLayout131.xml"/><Relationship Id="rId50" Type="http://schemas.openxmlformats.org/officeDocument/2006/relationships/slideLayout" Target="../slideLayouts/slideLayout147.xml"/><Relationship Id="rId55" Type="http://schemas.openxmlformats.org/officeDocument/2006/relationships/slideLayout" Target="../slideLayouts/slideLayout152.xml"/></Relationships>
</file>

<file path=ppt/slideMasters/_rels/slideMaster4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188.xml"/><Relationship Id="rId21" Type="http://schemas.openxmlformats.org/officeDocument/2006/relationships/slideLayout" Target="../slideLayouts/slideLayout183.xml"/><Relationship Id="rId42" Type="http://schemas.openxmlformats.org/officeDocument/2006/relationships/slideLayout" Target="../slideLayouts/slideLayout204.xml"/><Relationship Id="rId47" Type="http://schemas.openxmlformats.org/officeDocument/2006/relationships/slideLayout" Target="../slideLayouts/slideLayout209.xml"/><Relationship Id="rId63" Type="http://schemas.openxmlformats.org/officeDocument/2006/relationships/slideLayout" Target="../slideLayouts/slideLayout225.xml"/><Relationship Id="rId68" Type="http://schemas.openxmlformats.org/officeDocument/2006/relationships/slideLayout" Target="../slideLayouts/slideLayout230.xml"/><Relationship Id="rId2" Type="http://schemas.openxmlformats.org/officeDocument/2006/relationships/slideLayout" Target="../slideLayouts/slideLayout164.xml"/><Relationship Id="rId16" Type="http://schemas.openxmlformats.org/officeDocument/2006/relationships/slideLayout" Target="../slideLayouts/slideLayout178.xml"/><Relationship Id="rId29" Type="http://schemas.openxmlformats.org/officeDocument/2006/relationships/slideLayout" Target="../slideLayouts/slideLayout191.xml"/><Relationship Id="rId11" Type="http://schemas.openxmlformats.org/officeDocument/2006/relationships/slideLayout" Target="../slideLayouts/slideLayout173.xml"/><Relationship Id="rId24" Type="http://schemas.openxmlformats.org/officeDocument/2006/relationships/slideLayout" Target="../slideLayouts/slideLayout186.xml"/><Relationship Id="rId32" Type="http://schemas.openxmlformats.org/officeDocument/2006/relationships/slideLayout" Target="../slideLayouts/slideLayout194.xml"/><Relationship Id="rId37" Type="http://schemas.openxmlformats.org/officeDocument/2006/relationships/slideLayout" Target="../slideLayouts/slideLayout199.xml"/><Relationship Id="rId40" Type="http://schemas.openxmlformats.org/officeDocument/2006/relationships/slideLayout" Target="../slideLayouts/slideLayout202.xml"/><Relationship Id="rId45" Type="http://schemas.openxmlformats.org/officeDocument/2006/relationships/slideLayout" Target="../slideLayouts/slideLayout207.xml"/><Relationship Id="rId53" Type="http://schemas.openxmlformats.org/officeDocument/2006/relationships/slideLayout" Target="../slideLayouts/slideLayout215.xml"/><Relationship Id="rId58" Type="http://schemas.openxmlformats.org/officeDocument/2006/relationships/slideLayout" Target="../slideLayouts/slideLayout220.xml"/><Relationship Id="rId66" Type="http://schemas.openxmlformats.org/officeDocument/2006/relationships/slideLayout" Target="../slideLayouts/slideLayout228.xml"/><Relationship Id="rId74" Type="http://schemas.openxmlformats.org/officeDocument/2006/relationships/image" Target="../media/image6.png"/><Relationship Id="rId5" Type="http://schemas.openxmlformats.org/officeDocument/2006/relationships/slideLayout" Target="../slideLayouts/slideLayout167.xml"/><Relationship Id="rId61" Type="http://schemas.openxmlformats.org/officeDocument/2006/relationships/slideLayout" Target="../slideLayouts/slideLayout223.xml"/><Relationship Id="rId19" Type="http://schemas.openxmlformats.org/officeDocument/2006/relationships/slideLayout" Target="../slideLayouts/slideLayout181.xml"/><Relationship Id="rId14" Type="http://schemas.openxmlformats.org/officeDocument/2006/relationships/slideLayout" Target="../slideLayouts/slideLayout176.xml"/><Relationship Id="rId22" Type="http://schemas.openxmlformats.org/officeDocument/2006/relationships/slideLayout" Target="../slideLayouts/slideLayout184.xml"/><Relationship Id="rId27" Type="http://schemas.openxmlformats.org/officeDocument/2006/relationships/slideLayout" Target="../slideLayouts/slideLayout189.xml"/><Relationship Id="rId30" Type="http://schemas.openxmlformats.org/officeDocument/2006/relationships/slideLayout" Target="../slideLayouts/slideLayout192.xml"/><Relationship Id="rId35" Type="http://schemas.openxmlformats.org/officeDocument/2006/relationships/slideLayout" Target="../slideLayouts/slideLayout197.xml"/><Relationship Id="rId43" Type="http://schemas.openxmlformats.org/officeDocument/2006/relationships/slideLayout" Target="../slideLayouts/slideLayout205.xml"/><Relationship Id="rId48" Type="http://schemas.openxmlformats.org/officeDocument/2006/relationships/slideLayout" Target="../slideLayouts/slideLayout210.xml"/><Relationship Id="rId56" Type="http://schemas.openxmlformats.org/officeDocument/2006/relationships/slideLayout" Target="../slideLayouts/slideLayout218.xml"/><Relationship Id="rId64" Type="http://schemas.openxmlformats.org/officeDocument/2006/relationships/slideLayout" Target="../slideLayouts/slideLayout226.xml"/><Relationship Id="rId69" Type="http://schemas.openxmlformats.org/officeDocument/2006/relationships/slideLayout" Target="../slideLayouts/slideLayout231.xml"/><Relationship Id="rId8" Type="http://schemas.openxmlformats.org/officeDocument/2006/relationships/slideLayout" Target="../slideLayouts/slideLayout170.xml"/><Relationship Id="rId51" Type="http://schemas.openxmlformats.org/officeDocument/2006/relationships/slideLayout" Target="../slideLayouts/slideLayout213.xml"/><Relationship Id="rId72" Type="http://schemas.openxmlformats.org/officeDocument/2006/relationships/oleObject" Target="../embeddings/oleObject83.bin"/><Relationship Id="rId3" Type="http://schemas.openxmlformats.org/officeDocument/2006/relationships/slideLayout" Target="../slideLayouts/slideLayout165.xml"/><Relationship Id="rId12" Type="http://schemas.openxmlformats.org/officeDocument/2006/relationships/slideLayout" Target="../slideLayouts/slideLayout174.xml"/><Relationship Id="rId17" Type="http://schemas.openxmlformats.org/officeDocument/2006/relationships/slideLayout" Target="../slideLayouts/slideLayout179.xml"/><Relationship Id="rId25" Type="http://schemas.openxmlformats.org/officeDocument/2006/relationships/slideLayout" Target="../slideLayouts/slideLayout187.xml"/><Relationship Id="rId33" Type="http://schemas.openxmlformats.org/officeDocument/2006/relationships/slideLayout" Target="../slideLayouts/slideLayout195.xml"/><Relationship Id="rId38" Type="http://schemas.openxmlformats.org/officeDocument/2006/relationships/slideLayout" Target="../slideLayouts/slideLayout200.xml"/><Relationship Id="rId46" Type="http://schemas.openxmlformats.org/officeDocument/2006/relationships/slideLayout" Target="../slideLayouts/slideLayout208.xml"/><Relationship Id="rId59" Type="http://schemas.openxmlformats.org/officeDocument/2006/relationships/slideLayout" Target="../slideLayouts/slideLayout221.xml"/><Relationship Id="rId67" Type="http://schemas.openxmlformats.org/officeDocument/2006/relationships/slideLayout" Target="../slideLayouts/slideLayout229.xml"/><Relationship Id="rId20" Type="http://schemas.openxmlformats.org/officeDocument/2006/relationships/slideLayout" Target="../slideLayouts/slideLayout182.xml"/><Relationship Id="rId41" Type="http://schemas.openxmlformats.org/officeDocument/2006/relationships/slideLayout" Target="../slideLayouts/slideLayout203.xml"/><Relationship Id="rId54" Type="http://schemas.openxmlformats.org/officeDocument/2006/relationships/slideLayout" Target="../slideLayouts/slideLayout216.xml"/><Relationship Id="rId62" Type="http://schemas.openxmlformats.org/officeDocument/2006/relationships/slideLayout" Target="../slideLayouts/slideLayout224.xml"/><Relationship Id="rId70" Type="http://schemas.openxmlformats.org/officeDocument/2006/relationships/theme" Target="../theme/theme4.xml"/><Relationship Id="rId1" Type="http://schemas.openxmlformats.org/officeDocument/2006/relationships/slideLayout" Target="../slideLayouts/slideLayout163.xml"/><Relationship Id="rId6" Type="http://schemas.openxmlformats.org/officeDocument/2006/relationships/slideLayout" Target="../slideLayouts/slideLayout168.xml"/><Relationship Id="rId15" Type="http://schemas.openxmlformats.org/officeDocument/2006/relationships/slideLayout" Target="../slideLayouts/slideLayout177.xml"/><Relationship Id="rId23" Type="http://schemas.openxmlformats.org/officeDocument/2006/relationships/slideLayout" Target="../slideLayouts/slideLayout185.xml"/><Relationship Id="rId28" Type="http://schemas.openxmlformats.org/officeDocument/2006/relationships/slideLayout" Target="../slideLayouts/slideLayout190.xml"/><Relationship Id="rId36" Type="http://schemas.openxmlformats.org/officeDocument/2006/relationships/slideLayout" Target="../slideLayouts/slideLayout198.xml"/><Relationship Id="rId49" Type="http://schemas.openxmlformats.org/officeDocument/2006/relationships/slideLayout" Target="../slideLayouts/slideLayout211.xml"/><Relationship Id="rId57" Type="http://schemas.openxmlformats.org/officeDocument/2006/relationships/slideLayout" Target="../slideLayouts/slideLayout219.xml"/><Relationship Id="rId10" Type="http://schemas.openxmlformats.org/officeDocument/2006/relationships/slideLayout" Target="../slideLayouts/slideLayout172.xml"/><Relationship Id="rId31" Type="http://schemas.openxmlformats.org/officeDocument/2006/relationships/slideLayout" Target="../slideLayouts/slideLayout193.xml"/><Relationship Id="rId44" Type="http://schemas.openxmlformats.org/officeDocument/2006/relationships/slideLayout" Target="../slideLayouts/slideLayout206.xml"/><Relationship Id="rId52" Type="http://schemas.openxmlformats.org/officeDocument/2006/relationships/slideLayout" Target="../slideLayouts/slideLayout214.xml"/><Relationship Id="rId60" Type="http://schemas.openxmlformats.org/officeDocument/2006/relationships/slideLayout" Target="../slideLayouts/slideLayout222.xml"/><Relationship Id="rId65" Type="http://schemas.openxmlformats.org/officeDocument/2006/relationships/slideLayout" Target="../slideLayouts/slideLayout227.xml"/><Relationship Id="rId73" Type="http://schemas.openxmlformats.org/officeDocument/2006/relationships/image" Target="../media/image5.emf"/><Relationship Id="rId4" Type="http://schemas.openxmlformats.org/officeDocument/2006/relationships/slideLayout" Target="../slideLayouts/slideLayout166.xml"/><Relationship Id="rId9" Type="http://schemas.openxmlformats.org/officeDocument/2006/relationships/slideLayout" Target="../slideLayouts/slideLayout171.xml"/><Relationship Id="rId13" Type="http://schemas.openxmlformats.org/officeDocument/2006/relationships/slideLayout" Target="../slideLayouts/slideLayout175.xml"/><Relationship Id="rId18" Type="http://schemas.openxmlformats.org/officeDocument/2006/relationships/slideLayout" Target="../slideLayouts/slideLayout180.xml"/><Relationship Id="rId39" Type="http://schemas.openxmlformats.org/officeDocument/2006/relationships/slideLayout" Target="../slideLayouts/slideLayout201.xml"/><Relationship Id="rId34" Type="http://schemas.openxmlformats.org/officeDocument/2006/relationships/slideLayout" Target="../slideLayouts/slideLayout196.xml"/><Relationship Id="rId50" Type="http://schemas.openxmlformats.org/officeDocument/2006/relationships/slideLayout" Target="../slideLayouts/slideLayout212.xml"/><Relationship Id="rId55" Type="http://schemas.openxmlformats.org/officeDocument/2006/relationships/slideLayout" Target="../slideLayouts/slideLayout217.xml"/><Relationship Id="rId7" Type="http://schemas.openxmlformats.org/officeDocument/2006/relationships/slideLayout" Target="../slideLayouts/slideLayout169.xml"/><Relationship Id="rId71" Type="http://schemas.openxmlformats.org/officeDocument/2006/relationships/tags" Target="../tags/tag132.xml"/></Relationships>
</file>

<file path=ppt/slideMasters/_rels/slideMaster5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257.xml"/><Relationship Id="rId21" Type="http://schemas.openxmlformats.org/officeDocument/2006/relationships/slideLayout" Target="../slideLayouts/slideLayout252.xml"/><Relationship Id="rId42" Type="http://schemas.openxmlformats.org/officeDocument/2006/relationships/slideLayout" Target="../slideLayouts/slideLayout273.xml"/><Relationship Id="rId47" Type="http://schemas.openxmlformats.org/officeDocument/2006/relationships/slideLayout" Target="../slideLayouts/slideLayout278.xml"/><Relationship Id="rId63" Type="http://schemas.openxmlformats.org/officeDocument/2006/relationships/slideLayout" Target="../slideLayouts/slideLayout294.xml"/><Relationship Id="rId68" Type="http://schemas.openxmlformats.org/officeDocument/2006/relationships/slideLayout" Target="../slideLayouts/slideLayout299.xml"/><Relationship Id="rId2" Type="http://schemas.openxmlformats.org/officeDocument/2006/relationships/slideLayout" Target="../slideLayouts/slideLayout233.xml"/><Relationship Id="rId16" Type="http://schemas.openxmlformats.org/officeDocument/2006/relationships/slideLayout" Target="../slideLayouts/slideLayout247.xml"/><Relationship Id="rId29" Type="http://schemas.openxmlformats.org/officeDocument/2006/relationships/slideLayout" Target="../slideLayouts/slideLayout260.xml"/><Relationship Id="rId11" Type="http://schemas.openxmlformats.org/officeDocument/2006/relationships/slideLayout" Target="../slideLayouts/slideLayout242.xml"/><Relationship Id="rId24" Type="http://schemas.openxmlformats.org/officeDocument/2006/relationships/slideLayout" Target="../slideLayouts/slideLayout255.xml"/><Relationship Id="rId32" Type="http://schemas.openxmlformats.org/officeDocument/2006/relationships/slideLayout" Target="../slideLayouts/slideLayout263.xml"/><Relationship Id="rId37" Type="http://schemas.openxmlformats.org/officeDocument/2006/relationships/slideLayout" Target="../slideLayouts/slideLayout268.xml"/><Relationship Id="rId40" Type="http://schemas.openxmlformats.org/officeDocument/2006/relationships/slideLayout" Target="../slideLayouts/slideLayout271.xml"/><Relationship Id="rId45" Type="http://schemas.openxmlformats.org/officeDocument/2006/relationships/slideLayout" Target="../slideLayouts/slideLayout276.xml"/><Relationship Id="rId53" Type="http://schemas.openxmlformats.org/officeDocument/2006/relationships/slideLayout" Target="../slideLayouts/slideLayout284.xml"/><Relationship Id="rId58" Type="http://schemas.openxmlformats.org/officeDocument/2006/relationships/slideLayout" Target="../slideLayouts/slideLayout289.xml"/><Relationship Id="rId66" Type="http://schemas.openxmlformats.org/officeDocument/2006/relationships/slideLayout" Target="../slideLayouts/slideLayout297.xml"/><Relationship Id="rId74" Type="http://schemas.openxmlformats.org/officeDocument/2006/relationships/image" Target="../media/image5.emf"/><Relationship Id="rId5" Type="http://schemas.openxmlformats.org/officeDocument/2006/relationships/slideLayout" Target="../slideLayouts/slideLayout236.xml"/><Relationship Id="rId61" Type="http://schemas.openxmlformats.org/officeDocument/2006/relationships/slideLayout" Target="../slideLayouts/slideLayout292.xml"/><Relationship Id="rId19" Type="http://schemas.openxmlformats.org/officeDocument/2006/relationships/slideLayout" Target="../slideLayouts/slideLayout250.xml"/><Relationship Id="rId14" Type="http://schemas.openxmlformats.org/officeDocument/2006/relationships/slideLayout" Target="../slideLayouts/slideLayout245.xml"/><Relationship Id="rId22" Type="http://schemas.openxmlformats.org/officeDocument/2006/relationships/slideLayout" Target="../slideLayouts/slideLayout253.xml"/><Relationship Id="rId27" Type="http://schemas.openxmlformats.org/officeDocument/2006/relationships/slideLayout" Target="../slideLayouts/slideLayout258.xml"/><Relationship Id="rId30" Type="http://schemas.openxmlformats.org/officeDocument/2006/relationships/slideLayout" Target="../slideLayouts/slideLayout261.xml"/><Relationship Id="rId35" Type="http://schemas.openxmlformats.org/officeDocument/2006/relationships/slideLayout" Target="../slideLayouts/slideLayout266.xml"/><Relationship Id="rId43" Type="http://schemas.openxmlformats.org/officeDocument/2006/relationships/slideLayout" Target="../slideLayouts/slideLayout274.xml"/><Relationship Id="rId48" Type="http://schemas.openxmlformats.org/officeDocument/2006/relationships/slideLayout" Target="../slideLayouts/slideLayout279.xml"/><Relationship Id="rId56" Type="http://schemas.openxmlformats.org/officeDocument/2006/relationships/slideLayout" Target="../slideLayouts/slideLayout287.xml"/><Relationship Id="rId64" Type="http://schemas.openxmlformats.org/officeDocument/2006/relationships/slideLayout" Target="../slideLayouts/slideLayout295.xml"/><Relationship Id="rId69" Type="http://schemas.openxmlformats.org/officeDocument/2006/relationships/slideLayout" Target="../slideLayouts/slideLayout300.xml"/><Relationship Id="rId8" Type="http://schemas.openxmlformats.org/officeDocument/2006/relationships/slideLayout" Target="../slideLayouts/slideLayout239.xml"/><Relationship Id="rId51" Type="http://schemas.openxmlformats.org/officeDocument/2006/relationships/slideLayout" Target="../slideLayouts/slideLayout282.xml"/><Relationship Id="rId72" Type="http://schemas.openxmlformats.org/officeDocument/2006/relationships/tags" Target="../tags/tag186.xml"/><Relationship Id="rId3" Type="http://schemas.openxmlformats.org/officeDocument/2006/relationships/slideLayout" Target="../slideLayouts/slideLayout234.xml"/><Relationship Id="rId12" Type="http://schemas.openxmlformats.org/officeDocument/2006/relationships/slideLayout" Target="../slideLayouts/slideLayout243.xml"/><Relationship Id="rId17" Type="http://schemas.openxmlformats.org/officeDocument/2006/relationships/slideLayout" Target="../slideLayouts/slideLayout248.xml"/><Relationship Id="rId25" Type="http://schemas.openxmlformats.org/officeDocument/2006/relationships/slideLayout" Target="../slideLayouts/slideLayout256.xml"/><Relationship Id="rId33" Type="http://schemas.openxmlformats.org/officeDocument/2006/relationships/slideLayout" Target="../slideLayouts/slideLayout264.xml"/><Relationship Id="rId38" Type="http://schemas.openxmlformats.org/officeDocument/2006/relationships/slideLayout" Target="../slideLayouts/slideLayout269.xml"/><Relationship Id="rId46" Type="http://schemas.openxmlformats.org/officeDocument/2006/relationships/slideLayout" Target="../slideLayouts/slideLayout277.xml"/><Relationship Id="rId59" Type="http://schemas.openxmlformats.org/officeDocument/2006/relationships/slideLayout" Target="../slideLayouts/slideLayout290.xml"/><Relationship Id="rId67" Type="http://schemas.openxmlformats.org/officeDocument/2006/relationships/slideLayout" Target="../slideLayouts/slideLayout298.xml"/><Relationship Id="rId20" Type="http://schemas.openxmlformats.org/officeDocument/2006/relationships/slideLayout" Target="../slideLayouts/slideLayout251.xml"/><Relationship Id="rId41" Type="http://schemas.openxmlformats.org/officeDocument/2006/relationships/slideLayout" Target="../slideLayouts/slideLayout272.xml"/><Relationship Id="rId54" Type="http://schemas.openxmlformats.org/officeDocument/2006/relationships/slideLayout" Target="../slideLayouts/slideLayout285.xml"/><Relationship Id="rId62" Type="http://schemas.openxmlformats.org/officeDocument/2006/relationships/slideLayout" Target="../slideLayouts/slideLayout293.xml"/><Relationship Id="rId70" Type="http://schemas.openxmlformats.org/officeDocument/2006/relationships/slideLayout" Target="../slideLayouts/slideLayout301.xml"/><Relationship Id="rId75" Type="http://schemas.openxmlformats.org/officeDocument/2006/relationships/image" Target="../media/image6.png"/><Relationship Id="rId1" Type="http://schemas.openxmlformats.org/officeDocument/2006/relationships/slideLayout" Target="../slideLayouts/slideLayout232.xml"/><Relationship Id="rId6" Type="http://schemas.openxmlformats.org/officeDocument/2006/relationships/slideLayout" Target="../slideLayouts/slideLayout237.xml"/><Relationship Id="rId15" Type="http://schemas.openxmlformats.org/officeDocument/2006/relationships/slideLayout" Target="../slideLayouts/slideLayout246.xml"/><Relationship Id="rId23" Type="http://schemas.openxmlformats.org/officeDocument/2006/relationships/slideLayout" Target="../slideLayouts/slideLayout254.xml"/><Relationship Id="rId28" Type="http://schemas.openxmlformats.org/officeDocument/2006/relationships/slideLayout" Target="../slideLayouts/slideLayout259.xml"/><Relationship Id="rId36" Type="http://schemas.openxmlformats.org/officeDocument/2006/relationships/slideLayout" Target="../slideLayouts/slideLayout267.xml"/><Relationship Id="rId49" Type="http://schemas.openxmlformats.org/officeDocument/2006/relationships/slideLayout" Target="../slideLayouts/slideLayout280.xml"/><Relationship Id="rId57" Type="http://schemas.openxmlformats.org/officeDocument/2006/relationships/slideLayout" Target="../slideLayouts/slideLayout288.xml"/><Relationship Id="rId10" Type="http://schemas.openxmlformats.org/officeDocument/2006/relationships/slideLayout" Target="../slideLayouts/slideLayout241.xml"/><Relationship Id="rId31" Type="http://schemas.openxmlformats.org/officeDocument/2006/relationships/slideLayout" Target="../slideLayouts/slideLayout262.xml"/><Relationship Id="rId44" Type="http://schemas.openxmlformats.org/officeDocument/2006/relationships/slideLayout" Target="../slideLayouts/slideLayout275.xml"/><Relationship Id="rId52" Type="http://schemas.openxmlformats.org/officeDocument/2006/relationships/slideLayout" Target="../slideLayouts/slideLayout283.xml"/><Relationship Id="rId60" Type="http://schemas.openxmlformats.org/officeDocument/2006/relationships/slideLayout" Target="../slideLayouts/slideLayout291.xml"/><Relationship Id="rId65" Type="http://schemas.openxmlformats.org/officeDocument/2006/relationships/slideLayout" Target="../slideLayouts/slideLayout296.xml"/><Relationship Id="rId73" Type="http://schemas.openxmlformats.org/officeDocument/2006/relationships/oleObject" Target="../embeddings/oleObject131.bin"/><Relationship Id="rId4" Type="http://schemas.openxmlformats.org/officeDocument/2006/relationships/slideLayout" Target="../slideLayouts/slideLayout235.xml"/><Relationship Id="rId9" Type="http://schemas.openxmlformats.org/officeDocument/2006/relationships/slideLayout" Target="../slideLayouts/slideLayout240.xml"/><Relationship Id="rId13" Type="http://schemas.openxmlformats.org/officeDocument/2006/relationships/slideLayout" Target="../slideLayouts/slideLayout244.xml"/><Relationship Id="rId18" Type="http://schemas.openxmlformats.org/officeDocument/2006/relationships/slideLayout" Target="../slideLayouts/slideLayout249.xml"/><Relationship Id="rId39" Type="http://schemas.openxmlformats.org/officeDocument/2006/relationships/slideLayout" Target="../slideLayouts/slideLayout270.xml"/><Relationship Id="rId34" Type="http://schemas.openxmlformats.org/officeDocument/2006/relationships/slideLayout" Target="../slideLayouts/slideLayout265.xml"/><Relationship Id="rId50" Type="http://schemas.openxmlformats.org/officeDocument/2006/relationships/slideLayout" Target="../slideLayouts/slideLayout281.xml"/><Relationship Id="rId55" Type="http://schemas.openxmlformats.org/officeDocument/2006/relationships/slideLayout" Target="../slideLayouts/slideLayout286.xml"/><Relationship Id="rId7" Type="http://schemas.openxmlformats.org/officeDocument/2006/relationships/slideLayout" Target="../slideLayouts/slideLayout238.xml"/><Relationship Id="rId71" Type="http://schemas.openxmlformats.org/officeDocument/2006/relationships/theme" Target="../theme/theme5.xml"/></Relationships>
</file>

<file path=ppt/slideMasters/_rels/slideMaster6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327.xml"/><Relationship Id="rId21" Type="http://schemas.openxmlformats.org/officeDocument/2006/relationships/slideLayout" Target="../slideLayouts/slideLayout322.xml"/><Relationship Id="rId42" Type="http://schemas.openxmlformats.org/officeDocument/2006/relationships/slideLayout" Target="../slideLayouts/slideLayout343.xml"/><Relationship Id="rId47" Type="http://schemas.openxmlformats.org/officeDocument/2006/relationships/slideLayout" Target="../slideLayouts/slideLayout348.xml"/><Relationship Id="rId63" Type="http://schemas.openxmlformats.org/officeDocument/2006/relationships/slideLayout" Target="../slideLayouts/slideLayout364.xml"/><Relationship Id="rId68" Type="http://schemas.openxmlformats.org/officeDocument/2006/relationships/slideLayout" Target="../slideLayouts/slideLayout369.xml"/><Relationship Id="rId16" Type="http://schemas.openxmlformats.org/officeDocument/2006/relationships/slideLayout" Target="../slideLayouts/slideLayout317.xml"/><Relationship Id="rId11" Type="http://schemas.openxmlformats.org/officeDocument/2006/relationships/slideLayout" Target="../slideLayouts/slideLayout312.xml"/><Relationship Id="rId24" Type="http://schemas.openxmlformats.org/officeDocument/2006/relationships/slideLayout" Target="../slideLayouts/slideLayout325.xml"/><Relationship Id="rId32" Type="http://schemas.openxmlformats.org/officeDocument/2006/relationships/slideLayout" Target="../slideLayouts/slideLayout333.xml"/><Relationship Id="rId37" Type="http://schemas.openxmlformats.org/officeDocument/2006/relationships/slideLayout" Target="../slideLayouts/slideLayout338.xml"/><Relationship Id="rId40" Type="http://schemas.openxmlformats.org/officeDocument/2006/relationships/slideLayout" Target="../slideLayouts/slideLayout341.xml"/><Relationship Id="rId45" Type="http://schemas.openxmlformats.org/officeDocument/2006/relationships/slideLayout" Target="../slideLayouts/slideLayout346.xml"/><Relationship Id="rId53" Type="http://schemas.openxmlformats.org/officeDocument/2006/relationships/slideLayout" Target="../slideLayouts/slideLayout354.xml"/><Relationship Id="rId58" Type="http://schemas.openxmlformats.org/officeDocument/2006/relationships/slideLayout" Target="../slideLayouts/slideLayout359.xml"/><Relationship Id="rId66" Type="http://schemas.openxmlformats.org/officeDocument/2006/relationships/slideLayout" Target="../slideLayouts/slideLayout367.xml"/><Relationship Id="rId74" Type="http://schemas.openxmlformats.org/officeDocument/2006/relationships/oleObject" Target="../embeddings/oleObject131.bin"/><Relationship Id="rId5" Type="http://schemas.openxmlformats.org/officeDocument/2006/relationships/slideLayout" Target="../slideLayouts/slideLayout306.xml"/><Relationship Id="rId61" Type="http://schemas.openxmlformats.org/officeDocument/2006/relationships/slideLayout" Target="../slideLayouts/slideLayout362.xml"/><Relationship Id="rId19" Type="http://schemas.openxmlformats.org/officeDocument/2006/relationships/slideLayout" Target="../slideLayouts/slideLayout320.xml"/><Relationship Id="rId14" Type="http://schemas.openxmlformats.org/officeDocument/2006/relationships/slideLayout" Target="../slideLayouts/slideLayout315.xml"/><Relationship Id="rId22" Type="http://schemas.openxmlformats.org/officeDocument/2006/relationships/slideLayout" Target="../slideLayouts/slideLayout323.xml"/><Relationship Id="rId27" Type="http://schemas.openxmlformats.org/officeDocument/2006/relationships/slideLayout" Target="../slideLayouts/slideLayout328.xml"/><Relationship Id="rId30" Type="http://schemas.openxmlformats.org/officeDocument/2006/relationships/slideLayout" Target="../slideLayouts/slideLayout331.xml"/><Relationship Id="rId35" Type="http://schemas.openxmlformats.org/officeDocument/2006/relationships/slideLayout" Target="../slideLayouts/slideLayout336.xml"/><Relationship Id="rId43" Type="http://schemas.openxmlformats.org/officeDocument/2006/relationships/slideLayout" Target="../slideLayouts/slideLayout344.xml"/><Relationship Id="rId48" Type="http://schemas.openxmlformats.org/officeDocument/2006/relationships/slideLayout" Target="../slideLayouts/slideLayout349.xml"/><Relationship Id="rId56" Type="http://schemas.openxmlformats.org/officeDocument/2006/relationships/slideLayout" Target="../slideLayouts/slideLayout357.xml"/><Relationship Id="rId64" Type="http://schemas.openxmlformats.org/officeDocument/2006/relationships/slideLayout" Target="../slideLayouts/slideLayout365.xml"/><Relationship Id="rId69" Type="http://schemas.openxmlformats.org/officeDocument/2006/relationships/slideLayout" Target="../slideLayouts/slideLayout370.xml"/><Relationship Id="rId77" Type="http://schemas.openxmlformats.org/officeDocument/2006/relationships/oleObject" Target="../embeddings/oleObject63.bin"/><Relationship Id="rId8" Type="http://schemas.openxmlformats.org/officeDocument/2006/relationships/slideLayout" Target="../slideLayouts/slideLayout309.xml"/><Relationship Id="rId51" Type="http://schemas.openxmlformats.org/officeDocument/2006/relationships/slideLayout" Target="../slideLayouts/slideLayout352.xml"/><Relationship Id="rId72" Type="http://schemas.openxmlformats.org/officeDocument/2006/relationships/tags" Target="../tags/tag240.xml"/><Relationship Id="rId3" Type="http://schemas.openxmlformats.org/officeDocument/2006/relationships/slideLayout" Target="../slideLayouts/slideLayout304.xml"/><Relationship Id="rId12" Type="http://schemas.openxmlformats.org/officeDocument/2006/relationships/slideLayout" Target="../slideLayouts/slideLayout313.xml"/><Relationship Id="rId17" Type="http://schemas.openxmlformats.org/officeDocument/2006/relationships/slideLayout" Target="../slideLayouts/slideLayout318.xml"/><Relationship Id="rId25" Type="http://schemas.openxmlformats.org/officeDocument/2006/relationships/slideLayout" Target="../slideLayouts/slideLayout326.xml"/><Relationship Id="rId33" Type="http://schemas.openxmlformats.org/officeDocument/2006/relationships/slideLayout" Target="../slideLayouts/slideLayout334.xml"/><Relationship Id="rId38" Type="http://schemas.openxmlformats.org/officeDocument/2006/relationships/slideLayout" Target="../slideLayouts/slideLayout339.xml"/><Relationship Id="rId46" Type="http://schemas.openxmlformats.org/officeDocument/2006/relationships/slideLayout" Target="../slideLayouts/slideLayout347.xml"/><Relationship Id="rId59" Type="http://schemas.openxmlformats.org/officeDocument/2006/relationships/slideLayout" Target="../slideLayouts/slideLayout360.xml"/><Relationship Id="rId67" Type="http://schemas.openxmlformats.org/officeDocument/2006/relationships/slideLayout" Target="../slideLayouts/slideLayout368.xml"/><Relationship Id="rId20" Type="http://schemas.openxmlformats.org/officeDocument/2006/relationships/slideLayout" Target="../slideLayouts/slideLayout321.xml"/><Relationship Id="rId41" Type="http://schemas.openxmlformats.org/officeDocument/2006/relationships/slideLayout" Target="../slideLayouts/slideLayout342.xml"/><Relationship Id="rId54" Type="http://schemas.openxmlformats.org/officeDocument/2006/relationships/slideLayout" Target="../slideLayouts/slideLayout355.xml"/><Relationship Id="rId62" Type="http://schemas.openxmlformats.org/officeDocument/2006/relationships/slideLayout" Target="../slideLayouts/slideLayout363.xml"/><Relationship Id="rId70" Type="http://schemas.openxmlformats.org/officeDocument/2006/relationships/slideLayout" Target="../slideLayouts/slideLayout371.xml"/><Relationship Id="rId75" Type="http://schemas.openxmlformats.org/officeDocument/2006/relationships/image" Target="../media/image5.emf"/><Relationship Id="rId1" Type="http://schemas.openxmlformats.org/officeDocument/2006/relationships/slideLayout" Target="../slideLayouts/slideLayout302.xml"/><Relationship Id="rId6" Type="http://schemas.openxmlformats.org/officeDocument/2006/relationships/slideLayout" Target="../slideLayouts/slideLayout307.xml"/><Relationship Id="rId15" Type="http://schemas.openxmlformats.org/officeDocument/2006/relationships/slideLayout" Target="../slideLayouts/slideLayout316.xml"/><Relationship Id="rId23" Type="http://schemas.openxmlformats.org/officeDocument/2006/relationships/slideLayout" Target="../slideLayouts/slideLayout324.xml"/><Relationship Id="rId28" Type="http://schemas.openxmlformats.org/officeDocument/2006/relationships/slideLayout" Target="../slideLayouts/slideLayout329.xml"/><Relationship Id="rId36" Type="http://schemas.openxmlformats.org/officeDocument/2006/relationships/slideLayout" Target="../slideLayouts/slideLayout337.xml"/><Relationship Id="rId49" Type="http://schemas.openxmlformats.org/officeDocument/2006/relationships/slideLayout" Target="../slideLayouts/slideLayout350.xml"/><Relationship Id="rId57" Type="http://schemas.openxmlformats.org/officeDocument/2006/relationships/slideLayout" Target="../slideLayouts/slideLayout358.xml"/><Relationship Id="rId10" Type="http://schemas.openxmlformats.org/officeDocument/2006/relationships/slideLayout" Target="../slideLayouts/slideLayout311.xml"/><Relationship Id="rId31" Type="http://schemas.openxmlformats.org/officeDocument/2006/relationships/slideLayout" Target="../slideLayouts/slideLayout332.xml"/><Relationship Id="rId44" Type="http://schemas.openxmlformats.org/officeDocument/2006/relationships/slideLayout" Target="../slideLayouts/slideLayout345.xml"/><Relationship Id="rId52" Type="http://schemas.openxmlformats.org/officeDocument/2006/relationships/slideLayout" Target="../slideLayouts/slideLayout353.xml"/><Relationship Id="rId60" Type="http://schemas.openxmlformats.org/officeDocument/2006/relationships/slideLayout" Target="../slideLayouts/slideLayout361.xml"/><Relationship Id="rId65" Type="http://schemas.openxmlformats.org/officeDocument/2006/relationships/slideLayout" Target="../slideLayouts/slideLayout366.xml"/><Relationship Id="rId73" Type="http://schemas.openxmlformats.org/officeDocument/2006/relationships/tags" Target="../tags/tag241.xml"/><Relationship Id="rId4" Type="http://schemas.openxmlformats.org/officeDocument/2006/relationships/slideLayout" Target="../slideLayouts/slideLayout305.xml"/><Relationship Id="rId9" Type="http://schemas.openxmlformats.org/officeDocument/2006/relationships/slideLayout" Target="../slideLayouts/slideLayout310.xml"/><Relationship Id="rId13" Type="http://schemas.openxmlformats.org/officeDocument/2006/relationships/slideLayout" Target="../slideLayouts/slideLayout314.xml"/><Relationship Id="rId18" Type="http://schemas.openxmlformats.org/officeDocument/2006/relationships/slideLayout" Target="../slideLayouts/slideLayout319.xml"/><Relationship Id="rId39" Type="http://schemas.openxmlformats.org/officeDocument/2006/relationships/slideLayout" Target="../slideLayouts/slideLayout340.xml"/><Relationship Id="rId34" Type="http://schemas.openxmlformats.org/officeDocument/2006/relationships/slideLayout" Target="../slideLayouts/slideLayout335.xml"/><Relationship Id="rId50" Type="http://schemas.openxmlformats.org/officeDocument/2006/relationships/slideLayout" Target="../slideLayouts/slideLayout351.xml"/><Relationship Id="rId55" Type="http://schemas.openxmlformats.org/officeDocument/2006/relationships/slideLayout" Target="../slideLayouts/slideLayout356.xml"/><Relationship Id="rId76" Type="http://schemas.openxmlformats.org/officeDocument/2006/relationships/image" Target="../media/image6.png"/><Relationship Id="rId7" Type="http://schemas.openxmlformats.org/officeDocument/2006/relationships/slideLayout" Target="../slideLayouts/slideLayout308.xml"/><Relationship Id="rId71" Type="http://schemas.openxmlformats.org/officeDocument/2006/relationships/theme" Target="../theme/theme6.xml"/><Relationship Id="rId2" Type="http://schemas.openxmlformats.org/officeDocument/2006/relationships/slideLayout" Target="../slideLayouts/slideLayout303.xml"/><Relationship Id="rId29" Type="http://schemas.openxmlformats.org/officeDocument/2006/relationships/slideLayout" Target="../slideLayouts/slideLayout33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Shape, arrow&#10;&#10;Description automatically generated">
            <a:extLst>
              <a:ext uri="{FF2B5EF4-FFF2-40B4-BE49-F238E27FC236}">
                <a16:creationId xmlns:a16="http://schemas.microsoft.com/office/drawing/2014/main" id="{98EAD15E-2A1A-4C19-AC68-D0F53DAADF45}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528" y="0"/>
            <a:ext cx="2166151" cy="1300879"/>
          </a:xfrm>
          <a:prstGeom prst="rect">
            <a:avLst/>
          </a:prstGeom>
        </p:spPr>
      </p:pic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BAD7D676-B4F8-48EB-B367-859CF45C18A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608472"/>
            <a:ext cx="10515600" cy="108221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6FF6C71-F40F-4671-AFBF-5A58A2E533C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B444DED-C5EE-4CDC-8FC8-CAFB0799D3D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latin typeface="Gotham Light" pitchFamily="50" charset="0"/>
              </a:defRPr>
            </a:lvl1pPr>
          </a:lstStyle>
          <a:p>
            <a:fld id="{845320AC-DD4B-443B-9124-A76A02BBF0F0}" type="datetimeFigureOut">
              <a:rPr lang="en-IN" smtClean="0"/>
              <a:t>28-05-2025</a:t>
            </a:fld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23BC5BF-C2AB-4841-BFB9-A557363C7B9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  <a:latin typeface="Gotham Light" pitchFamily="50" charset="0"/>
              </a:defRPr>
            </a:lvl1pPr>
          </a:lstStyle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BC1D495-A765-4F07-8E58-B6461EC1945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Gotham Light" pitchFamily="50" charset="0"/>
              </a:defRPr>
            </a:lvl1pPr>
          </a:lstStyle>
          <a:p>
            <a:fld id="{E7FF1D80-0C43-4B56-BCBD-119C695EDC96}" type="slidenum">
              <a:rPr lang="en-IN" smtClean="0"/>
              <a:t>‹#›</a:t>
            </a:fld>
            <a:endParaRPr lang="en-IN"/>
          </a:p>
        </p:txBody>
      </p:sp>
      <p:pic>
        <p:nvPicPr>
          <p:cNvPr id="7" name="Picture 6" descr="Logo&#10;&#10;Description automatically generated">
            <a:extLst>
              <a:ext uri="{FF2B5EF4-FFF2-40B4-BE49-F238E27FC236}">
                <a16:creationId xmlns:a16="http://schemas.microsoft.com/office/drawing/2014/main" id="{DA6DBABE-18F0-4D2A-BE61-E2A80C2C7EA1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3245" y="194616"/>
            <a:ext cx="1399034" cy="413856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D4361EA0-C8CD-49C2-A00A-E559A8E5E62A}"/>
              </a:ext>
            </a:extLst>
          </p:cNvPr>
          <p:cNvPicPr>
            <a:picLocks noChangeAspect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082508" y="4515229"/>
            <a:ext cx="109491" cy="2342771"/>
          </a:xfrm>
          <a:prstGeom prst="rect">
            <a:avLst/>
          </a:prstGeom>
        </p:spPr>
      </p:pic>
      <p:pic>
        <p:nvPicPr>
          <p:cNvPr id="10" name="Picture 9" descr="Shape, arrow&#10;&#10;Description automatically generated">
            <a:extLst>
              <a:ext uri="{FF2B5EF4-FFF2-40B4-BE49-F238E27FC236}">
                <a16:creationId xmlns:a16="http://schemas.microsoft.com/office/drawing/2014/main" id="{0F64AF43-65F7-483F-9549-85DBC402E79A}"/>
              </a:ext>
            </a:extLst>
          </p:cNvPr>
          <p:cNvPicPr>
            <a:picLocks noChangeAspect="1"/>
          </p:cNvPicPr>
          <p:nvPr/>
        </p:nvPicPr>
        <p:blipFill rotWithShape="1"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507" t="1911" b="77716"/>
          <a:stretch/>
        </p:blipFill>
        <p:spPr>
          <a:xfrm>
            <a:off x="2233613" y="-1"/>
            <a:ext cx="9958387" cy="309563"/>
          </a:xfrm>
          <a:prstGeom prst="rect">
            <a:avLst/>
          </a:prstGeom>
          <a:effectLst/>
        </p:spPr>
      </p:pic>
    </p:spTree>
    <p:extLst>
      <p:ext uri="{BB962C8B-B14F-4D97-AF65-F5344CB8AC3E}">
        <p14:creationId xmlns:p14="http://schemas.microsoft.com/office/powerpoint/2010/main" val="16081182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Gotham" pitchFamily="50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Tx/>
        <a:buBlip>
          <a:blip r:embed="rId20"/>
        </a:buBlip>
        <a:defRPr sz="2800" kern="1200">
          <a:solidFill>
            <a:schemeClr val="tx1"/>
          </a:solidFill>
          <a:latin typeface="Gotham Light" pitchFamily="50" charset="0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20"/>
        </a:buBlip>
        <a:defRPr sz="2400" kern="1200">
          <a:solidFill>
            <a:schemeClr val="tx1"/>
          </a:solidFill>
          <a:latin typeface="Gotham Light" pitchFamily="50" charset="0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20"/>
        </a:buBlip>
        <a:defRPr sz="2000" kern="1200">
          <a:solidFill>
            <a:schemeClr val="tx1"/>
          </a:solidFill>
          <a:latin typeface="Gotham Light" pitchFamily="50" charset="0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20"/>
        </a:buBlip>
        <a:defRPr sz="1800" kern="1200">
          <a:solidFill>
            <a:schemeClr val="tx1"/>
          </a:solidFill>
          <a:latin typeface="Gotham Light" pitchFamily="50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20"/>
        </a:buBlip>
        <a:defRPr sz="1800" kern="1200">
          <a:solidFill>
            <a:schemeClr val="tx1"/>
          </a:solidFill>
          <a:latin typeface="Gotham Light" pitchFamily="50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84"/>
            </p:custDataLst>
            <p:extLst>
              <p:ext uri="{D42A27DB-BD31-4B8C-83A1-F6EECF244321}">
                <p14:modId xmlns:p14="http://schemas.microsoft.com/office/powerpoint/2010/main" val="34032248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5" imgW="270" imgH="270" progId="TCLayout.ActiveDocument.1">
                  <p:embed/>
                </p:oleObj>
              </mc:Choice>
              <mc:Fallback>
                <p:oleObj name="think-cell Slide" r:id="rId8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8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2000250" y="622800"/>
            <a:ext cx="9563100" cy="3323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Freeform: Shape 31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/>
        </p:nvSpPr>
        <p:spPr>
          <a:xfrm>
            <a:off x="0" y="6326127"/>
            <a:ext cx="12188952" cy="531873"/>
          </a:xfrm>
          <a:custGeom>
            <a:avLst/>
            <a:gdLst>
              <a:gd name="connsiteX0" fmla="*/ 8400285 w 12188952"/>
              <a:gd name="connsiteY0" fmla="*/ 0 h 531873"/>
              <a:gd name="connsiteX1" fmla="*/ 12188950 w 12188952"/>
              <a:gd name="connsiteY1" fmla="*/ 0 h 531873"/>
              <a:gd name="connsiteX2" fmla="*/ 12188950 w 12188952"/>
              <a:gd name="connsiteY2" fmla="*/ 239773 h 531873"/>
              <a:gd name="connsiteX3" fmla="*/ 12188952 w 12188952"/>
              <a:gd name="connsiteY3" fmla="*/ 239773 h 531873"/>
              <a:gd name="connsiteX4" fmla="*/ 12188952 w 12188952"/>
              <a:gd name="connsiteY4" fmla="*/ 531873 h 531873"/>
              <a:gd name="connsiteX5" fmla="*/ 0 w 12188952"/>
              <a:gd name="connsiteY5" fmla="*/ 531873 h 531873"/>
              <a:gd name="connsiteX6" fmla="*/ 0 w 12188952"/>
              <a:gd name="connsiteY6" fmla="*/ 239773 h 531873"/>
              <a:gd name="connsiteX7" fmla="*/ 8220629 w 12188952"/>
              <a:gd name="connsiteY7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88952" h="531873">
                <a:moveTo>
                  <a:pt x="8400285" y="0"/>
                </a:moveTo>
                <a:lnTo>
                  <a:pt x="12188950" y="0"/>
                </a:lnTo>
                <a:lnTo>
                  <a:pt x="12188950" y="239773"/>
                </a:lnTo>
                <a:lnTo>
                  <a:pt x="12188952" y="239773"/>
                </a:lnTo>
                <a:lnTo>
                  <a:pt x="12188952" y="531873"/>
                </a:lnTo>
                <a:lnTo>
                  <a:pt x="0" y="531873"/>
                </a:lnTo>
                <a:lnTo>
                  <a:pt x="0" y="239773"/>
                </a:lnTo>
                <a:lnTo>
                  <a:pt x="8220629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9" name="Picture 18"/>
          <p:cNvPicPr>
            <a:picLocks noChangeAspect="1"/>
          </p:cNvPicPr>
          <p:nvPr/>
        </p:nvPicPr>
        <p:blipFill>
          <a:blip r:embed="rId8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6094213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78" r:id="rId2"/>
    <p:sldLayoutId id="2147483679" r:id="rId3"/>
    <p:sldLayoutId id="2147483680" r:id="rId4"/>
    <p:sldLayoutId id="2147483681" r:id="rId5"/>
    <p:sldLayoutId id="2147483682" r:id="rId6"/>
    <p:sldLayoutId id="2147483683" r:id="rId7"/>
    <p:sldLayoutId id="2147483684" r:id="rId8"/>
    <p:sldLayoutId id="2147483685" r:id="rId9"/>
    <p:sldLayoutId id="2147483686" r:id="rId10"/>
    <p:sldLayoutId id="2147483687" r:id="rId11"/>
    <p:sldLayoutId id="2147483688" r:id="rId12"/>
    <p:sldLayoutId id="2147483689" r:id="rId13"/>
    <p:sldLayoutId id="2147483690" r:id="rId14"/>
    <p:sldLayoutId id="2147483691" r:id="rId15"/>
    <p:sldLayoutId id="2147483692" r:id="rId16"/>
    <p:sldLayoutId id="2147483693" r:id="rId17"/>
    <p:sldLayoutId id="2147483694" r:id="rId18"/>
    <p:sldLayoutId id="2147483695" r:id="rId19"/>
    <p:sldLayoutId id="2147483696" r:id="rId20"/>
    <p:sldLayoutId id="2147483697" r:id="rId21"/>
    <p:sldLayoutId id="2147483698" r:id="rId22"/>
    <p:sldLayoutId id="2147483699" r:id="rId23"/>
    <p:sldLayoutId id="2147483700" r:id="rId24"/>
    <p:sldLayoutId id="2147483701" r:id="rId25"/>
    <p:sldLayoutId id="2147483702" r:id="rId26"/>
    <p:sldLayoutId id="2147483703" r:id="rId27"/>
    <p:sldLayoutId id="2147483704" r:id="rId28"/>
    <p:sldLayoutId id="2147483705" r:id="rId29"/>
    <p:sldLayoutId id="2147483706" r:id="rId30"/>
    <p:sldLayoutId id="2147483707" r:id="rId31"/>
    <p:sldLayoutId id="2147483708" r:id="rId32"/>
    <p:sldLayoutId id="2147483709" r:id="rId33"/>
    <p:sldLayoutId id="2147483710" r:id="rId34"/>
    <p:sldLayoutId id="2147483711" r:id="rId35"/>
    <p:sldLayoutId id="2147483712" r:id="rId36"/>
    <p:sldLayoutId id="2147483713" r:id="rId37"/>
    <p:sldLayoutId id="2147483714" r:id="rId38"/>
    <p:sldLayoutId id="2147483715" r:id="rId39"/>
    <p:sldLayoutId id="2147483716" r:id="rId40"/>
    <p:sldLayoutId id="2147483717" r:id="rId41"/>
    <p:sldLayoutId id="2147483718" r:id="rId42"/>
    <p:sldLayoutId id="2147483719" r:id="rId43"/>
    <p:sldLayoutId id="2147483720" r:id="rId44"/>
    <p:sldLayoutId id="2147483721" r:id="rId45"/>
    <p:sldLayoutId id="2147483722" r:id="rId46"/>
    <p:sldLayoutId id="2147483723" r:id="rId47"/>
    <p:sldLayoutId id="2147483724" r:id="rId48"/>
    <p:sldLayoutId id="2147483725" r:id="rId49"/>
    <p:sldLayoutId id="2147483726" r:id="rId50"/>
    <p:sldLayoutId id="2147483727" r:id="rId51"/>
    <p:sldLayoutId id="2147483728" r:id="rId52"/>
    <p:sldLayoutId id="2147483729" r:id="rId53"/>
    <p:sldLayoutId id="2147483730" r:id="rId54"/>
    <p:sldLayoutId id="2147483731" r:id="rId55"/>
    <p:sldLayoutId id="2147483732" r:id="rId56"/>
    <p:sldLayoutId id="2147483733" r:id="rId57"/>
    <p:sldLayoutId id="2147483734" r:id="rId58"/>
    <p:sldLayoutId id="2147483735" r:id="rId59"/>
    <p:sldLayoutId id="2147483736" r:id="rId60"/>
    <p:sldLayoutId id="2147483737" r:id="rId61"/>
    <p:sldLayoutId id="2147483738" r:id="rId62"/>
    <p:sldLayoutId id="2147483739" r:id="rId63"/>
    <p:sldLayoutId id="2147483740" r:id="rId64"/>
    <p:sldLayoutId id="2147483741" r:id="rId65"/>
    <p:sldLayoutId id="2147483742" r:id="rId66"/>
    <p:sldLayoutId id="2147483743" r:id="rId67"/>
    <p:sldLayoutId id="2147483744" r:id="rId68"/>
    <p:sldLayoutId id="2147483745" r:id="rId69"/>
    <p:sldLayoutId id="2147483746" r:id="rId70"/>
    <p:sldLayoutId id="2147483747" r:id="rId71"/>
    <p:sldLayoutId id="2147483748" r:id="rId72"/>
    <p:sldLayoutId id="2147483749" r:id="rId73"/>
    <p:sldLayoutId id="2147483750" r:id="rId74"/>
    <p:sldLayoutId id="2147483751" r:id="rId75"/>
    <p:sldLayoutId id="2147483752" r:id="rId76"/>
    <p:sldLayoutId id="2147483753" r:id="rId77"/>
    <p:sldLayoutId id="2147483754" r:id="rId78"/>
    <p:sldLayoutId id="2147483755" r:id="rId79"/>
    <p:sldLayoutId id="2147483756" r:id="rId80"/>
    <p:sldLayoutId id="2147483757" r:id="rId81"/>
    <p:sldLayoutId id="2147483758" r:id="rId82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kern="1200">
          <a:solidFill>
            <a:srgbClr val="FF0000"/>
          </a:solidFill>
          <a:latin typeface="+mj-lt"/>
          <a:ea typeface="+mj-ea"/>
          <a:cs typeface="+mj-cs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400" kern="120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400" kern="120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400" kern="120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800" kern="1200">
          <a:solidFill>
            <a:schemeClr val="tx2"/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800" b="1" kern="1200" smtClean="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800" kern="1200" smtClean="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tx2"/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tx2"/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11">
          <p15:clr>
            <a:srgbClr val="F26B43"/>
          </p15:clr>
        </p15:guide>
        <p15:guide id="2" pos="396">
          <p15:clr>
            <a:srgbClr val="F26B43"/>
          </p15:clr>
        </p15:guide>
        <p15:guide id="3" pos="7284">
          <p15:clr>
            <a:srgbClr val="F26B43"/>
          </p15:clr>
        </p15:guide>
        <p15:guide id="4" orient="horz" pos="3881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7"/>
            </p:custDataLst>
            <p:extLst>
              <p:ext uri="{D42A27DB-BD31-4B8C-83A1-F6EECF244321}">
                <p14:modId xmlns:p14="http://schemas.microsoft.com/office/powerpoint/2010/main" val="1528613287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0" imgW="270" imgH="270" progId="TCLayout.ActiveDocument.1">
                  <p:embed/>
                </p:oleObj>
              </mc:Choice>
              <mc:Fallback>
                <p:oleObj name="think-cell Slide" r:id="rId7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1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2EE184B4-ACE5-4A32-8329-3DC15D43363E}"/>
              </a:ext>
            </a:extLst>
          </p:cNvPr>
          <p:cNvSpPr/>
          <p:nvPr>
            <p:custDataLst>
              <p:tags r:id="rId68"/>
            </p:custDataLst>
          </p:nvPr>
        </p:nvSpPr>
        <p:spPr>
          <a:xfrm>
            <a:off x="1" y="0"/>
            <a:ext cx="158751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1800" b="0" i="0" baseline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11226017" y="6655953"/>
            <a:ext cx="38100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ct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0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1" y="705902"/>
            <a:ext cx="10933351" cy="249299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/>
          <a:p>
            <a:r>
              <a:rPr lang="en-US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1" y="1825625"/>
            <a:ext cx="10933351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4" name="Freeform: Shape 33">
            <a:extLst>
              <a:ext uri="{FF2B5EF4-FFF2-40B4-BE49-F238E27FC236}">
                <a16:creationId xmlns:a16="http://schemas.microsoft.com/office/drawing/2014/main" id="{67EF114D-3EA5-4DF7-9E6B-20D74BA1F34A}"/>
              </a:ext>
            </a:extLst>
          </p:cNvPr>
          <p:cNvSpPr/>
          <p:nvPr/>
        </p:nvSpPr>
        <p:spPr bwMode="black">
          <a:xfrm>
            <a:off x="-4499" y="6530852"/>
            <a:ext cx="11238900" cy="327148"/>
          </a:xfrm>
          <a:custGeom>
            <a:avLst/>
            <a:gdLst>
              <a:gd name="connsiteX0" fmla="*/ 0 w 9159302"/>
              <a:gd name="connsiteY0" fmla="*/ 0 h 353482"/>
              <a:gd name="connsiteX1" fmla="*/ 9159302 w 9159302"/>
              <a:gd name="connsiteY1" fmla="*/ 0 h 353482"/>
              <a:gd name="connsiteX2" fmla="*/ 9070932 w 9159302"/>
              <a:gd name="connsiteY2" fmla="*/ 353482 h 353482"/>
              <a:gd name="connsiteX3" fmla="*/ 0 w 9159302"/>
              <a:gd name="connsiteY3" fmla="*/ 353482 h 353482"/>
              <a:gd name="connsiteX4" fmla="*/ 0 w 9159302"/>
              <a:gd name="connsiteY4" fmla="*/ 0 h 3534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159302" h="353482">
                <a:moveTo>
                  <a:pt x="0" y="0"/>
                </a:moveTo>
                <a:lnTo>
                  <a:pt x="9159302" y="0"/>
                </a:lnTo>
                <a:lnTo>
                  <a:pt x="9070932" y="353482"/>
                </a:lnTo>
                <a:lnTo>
                  <a:pt x="0" y="353482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6000">
                <a:schemeClr val="accent3">
                  <a:lumMod val="60000"/>
                  <a:lumOff val="40000"/>
                </a:schemeClr>
              </a:gs>
              <a:gs pos="100000">
                <a:schemeClr val="tx2">
                  <a:alpha val="90000"/>
                </a:schemeClr>
              </a:gs>
            </a:gsLst>
            <a:lin ang="189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/>
          <a:p>
            <a:pPr lvl="0" algn="ctr">
              <a:lnSpc>
                <a:spcPct val="95000"/>
              </a:lnSpc>
            </a:pPr>
            <a:endParaRPr lang="en-US" sz="15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35" name="Freeform: Shape 34">
            <a:extLst>
              <a:ext uri="{FF2B5EF4-FFF2-40B4-BE49-F238E27FC236}">
                <a16:creationId xmlns:a16="http://schemas.microsoft.com/office/drawing/2014/main" id="{48E33551-5CF0-4F9A-A82B-A1843D528D49}"/>
              </a:ext>
            </a:extLst>
          </p:cNvPr>
          <p:cNvSpPr/>
          <p:nvPr/>
        </p:nvSpPr>
        <p:spPr bwMode="black">
          <a:xfrm>
            <a:off x="11563349" y="6530852"/>
            <a:ext cx="628651" cy="327148"/>
          </a:xfrm>
          <a:custGeom>
            <a:avLst/>
            <a:gdLst>
              <a:gd name="connsiteX0" fmla="*/ 110363 w 628650"/>
              <a:gd name="connsiteY0" fmla="*/ 0 h 327148"/>
              <a:gd name="connsiteX1" fmla="*/ 628650 w 628650"/>
              <a:gd name="connsiteY1" fmla="*/ 0 h 327148"/>
              <a:gd name="connsiteX2" fmla="*/ 628650 w 628650"/>
              <a:gd name="connsiteY2" fmla="*/ 327148 h 327148"/>
              <a:gd name="connsiteX3" fmla="*/ 0 w 628650"/>
              <a:gd name="connsiteY3" fmla="*/ 327148 h 3271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28650" h="327148">
                <a:moveTo>
                  <a:pt x="110363" y="0"/>
                </a:moveTo>
                <a:lnTo>
                  <a:pt x="628650" y="0"/>
                </a:lnTo>
                <a:lnTo>
                  <a:pt x="628650" y="327148"/>
                </a:lnTo>
                <a:lnTo>
                  <a:pt x="0" y="327148"/>
                </a:lnTo>
                <a:close/>
              </a:path>
            </a:pathLst>
          </a:custGeom>
          <a:solidFill>
            <a:srgbClr val="E71C5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/>
          <a:p>
            <a:pPr lvl="0" algn="ctr">
              <a:lnSpc>
                <a:spcPct val="95000"/>
              </a:lnSpc>
            </a:pPr>
            <a:endParaRPr lang="en-US" sz="15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7862A884-AE20-4C0D-B93C-B4098C14241B}"/>
              </a:ext>
            </a:extLst>
          </p:cNvPr>
          <p:cNvGraphicFramePr>
            <a:graphicFrameLocks noChangeAspect="1"/>
          </p:cNvGraphicFramePr>
          <p:nvPr>
            <p:custDataLst>
              <p:tags r:id="rId69"/>
            </p:custDataLst>
            <p:extLst>
              <p:ext uri="{D42A27DB-BD31-4B8C-83A1-F6EECF244321}">
                <p14:modId xmlns:p14="http://schemas.microsoft.com/office/powerpoint/2010/main" val="1194141760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2" imgW="270" imgH="270" progId="TCLayout.ActiveDocument.1">
                  <p:embed/>
                </p:oleObj>
              </mc:Choice>
              <mc:Fallback>
                <p:oleObj name="think-cell Slide" r:id="rId72" imgW="270" imgH="270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7862A884-AE20-4C0D-B93C-B4098C1424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1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Box 10">
            <a:extLst>
              <a:ext uri="{FF2B5EF4-FFF2-40B4-BE49-F238E27FC236}">
                <a16:creationId xmlns:a16="http://schemas.microsoft.com/office/drawing/2014/main" id="{753CD7C5-0C1C-41FE-ACD8-28CCD6851BEE}"/>
              </a:ext>
            </a:extLst>
          </p:cNvPr>
          <p:cNvSpPr txBox="1"/>
          <p:nvPr/>
        </p:nvSpPr>
        <p:spPr>
          <a:xfrm>
            <a:off x="11167872" y="6443508"/>
            <a:ext cx="38100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0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832082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0" r:id="rId1"/>
    <p:sldLayoutId id="2147483761" r:id="rId2"/>
    <p:sldLayoutId id="2147483762" r:id="rId3"/>
    <p:sldLayoutId id="2147483763" r:id="rId4"/>
    <p:sldLayoutId id="2147483764" r:id="rId5"/>
    <p:sldLayoutId id="2147483765" r:id="rId6"/>
    <p:sldLayoutId id="2147483766" r:id="rId7"/>
    <p:sldLayoutId id="2147483767" r:id="rId8"/>
    <p:sldLayoutId id="2147483768" r:id="rId9"/>
    <p:sldLayoutId id="2147483769" r:id="rId10"/>
    <p:sldLayoutId id="2147483770" r:id="rId11"/>
    <p:sldLayoutId id="2147483771" r:id="rId12"/>
    <p:sldLayoutId id="2147483772" r:id="rId13"/>
    <p:sldLayoutId id="2147483773" r:id="rId14"/>
    <p:sldLayoutId id="2147483774" r:id="rId15"/>
    <p:sldLayoutId id="2147483775" r:id="rId16"/>
    <p:sldLayoutId id="2147483776" r:id="rId17"/>
    <p:sldLayoutId id="2147483777" r:id="rId18"/>
    <p:sldLayoutId id="2147483778" r:id="rId19"/>
    <p:sldLayoutId id="2147483779" r:id="rId20"/>
    <p:sldLayoutId id="2147483780" r:id="rId21"/>
    <p:sldLayoutId id="2147483781" r:id="rId22"/>
    <p:sldLayoutId id="2147483782" r:id="rId23"/>
    <p:sldLayoutId id="2147483783" r:id="rId24"/>
    <p:sldLayoutId id="2147483784" r:id="rId25"/>
    <p:sldLayoutId id="2147483785" r:id="rId26"/>
    <p:sldLayoutId id="2147483786" r:id="rId27"/>
    <p:sldLayoutId id="2147483787" r:id="rId28"/>
    <p:sldLayoutId id="2147483788" r:id="rId29"/>
    <p:sldLayoutId id="2147483789" r:id="rId30"/>
    <p:sldLayoutId id="2147483790" r:id="rId31"/>
    <p:sldLayoutId id="2147483791" r:id="rId32"/>
    <p:sldLayoutId id="2147483792" r:id="rId33"/>
    <p:sldLayoutId id="2147483793" r:id="rId34"/>
    <p:sldLayoutId id="2147483794" r:id="rId35"/>
    <p:sldLayoutId id="2147483795" r:id="rId36"/>
    <p:sldLayoutId id="2147483796" r:id="rId37"/>
    <p:sldLayoutId id="2147483797" r:id="rId38"/>
    <p:sldLayoutId id="2147483798" r:id="rId39"/>
    <p:sldLayoutId id="2147483799" r:id="rId40"/>
    <p:sldLayoutId id="2147483800" r:id="rId41"/>
    <p:sldLayoutId id="2147483801" r:id="rId42"/>
    <p:sldLayoutId id="2147483802" r:id="rId43"/>
    <p:sldLayoutId id="2147483803" r:id="rId44"/>
    <p:sldLayoutId id="2147483804" r:id="rId45"/>
    <p:sldLayoutId id="2147483805" r:id="rId46"/>
    <p:sldLayoutId id="2147483806" r:id="rId47"/>
    <p:sldLayoutId id="2147483807" r:id="rId48"/>
    <p:sldLayoutId id="2147483808" r:id="rId49"/>
    <p:sldLayoutId id="2147483809" r:id="rId50"/>
    <p:sldLayoutId id="2147483810" r:id="rId51"/>
    <p:sldLayoutId id="2147483811" r:id="rId52"/>
    <p:sldLayoutId id="2147483812" r:id="rId53"/>
    <p:sldLayoutId id="2147483813" r:id="rId54"/>
    <p:sldLayoutId id="2147483814" r:id="rId55"/>
    <p:sldLayoutId id="2147483815" r:id="rId56"/>
    <p:sldLayoutId id="2147483816" r:id="rId57"/>
    <p:sldLayoutId id="2147483817" r:id="rId58"/>
    <p:sldLayoutId id="2147483818" r:id="rId59"/>
    <p:sldLayoutId id="2147483819" r:id="rId60"/>
    <p:sldLayoutId id="2147483820" r:id="rId61"/>
    <p:sldLayoutId id="2147483821" r:id="rId62"/>
    <p:sldLayoutId id="2147483822" r:id="rId63"/>
    <p:sldLayoutId id="2147483823" r:id="rId64"/>
    <p:sldLayoutId id="2147483824" r:id="rId65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1800" kern="1200">
          <a:solidFill>
            <a:schemeClr val="tx2"/>
          </a:solidFill>
          <a:latin typeface="+mj-lt"/>
          <a:ea typeface="+mj-ea"/>
          <a:cs typeface="+mj-cs"/>
          <a:sym typeface="Trebuchet MS" panose="020B0603020202020204" pitchFamily="34" charset="0"/>
        </a:defRPr>
      </a:lvl1pPr>
    </p:titleStyle>
    <p:bodyStyle>
      <a:lvl1pPr marL="0" indent="0" algn="l" defTabSz="685800" rtl="0" eaLnBrk="1" latinLnBrk="0" hangingPunct="1">
        <a:lnSpc>
          <a:spcPct val="110000"/>
        </a:lnSpc>
        <a:spcBef>
          <a:spcPts val="450"/>
        </a:spcBef>
        <a:spcAft>
          <a:spcPts val="225"/>
        </a:spcAft>
        <a:buFont typeface="Arial" panose="020B0604020202020204" pitchFamily="34" charset="0"/>
        <a:buChar char="​"/>
        <a:defRPr lang="en-US" sz="900" kern="120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13300" indent="-129600" algn="l" defTabSz="685800" rtl="0" eaLnBrk="1" latinLnBrk="0" hangingPunct="1">
        <a:lnSpc>
          <a:spcPct val="90000"/>
        </a:lnSpc>
        <a:spcBef>
          <a:spcPts val="0"/>
        </a:spcBef>
        <a:spcAft>
          <a:spcPts val="225"/>
        </a:spcAft>
        <a:buClr>
          <a:schemeClr val="tx2"/>
        </a:buClr>
        <a:buFont typeface="Arial" panose="020B0604020202020204" pitchFamily="34" charset="0"/>
        <a:buChar char="•"/>
        <a:defRPr lang="en-US" sz="900" kern="120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383400" indent="-124200" algn="l" defTabSz="685800" rtl="0" eaLnBrk="1" latinLnBrk="0" hangingPunct="1">
        <a:lnSpc>
          <a:spcPct val="90000"/>
        </a:lnSpc>
        <a:spcBef>
          <a:spcPts val="0"/>
        </a:spcBef>
        <a:spcAft>
          <a:spcPts val="225"/>
        </a:spcAft>
        <a:buClr>
          <a:schemeClr val="tx2"/>
        </a:buClr>
        <a:buFont typeface="Trebuchet MS" panose="020B0603020202020204" pitchFamily="34" charset="0"/>
        <a:buChar char="–"/>
        <a:defRPr lang="en-US" sz="900" kern="120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685800" rtl="0" eaLnBrk="1" latinLnBrk="0" hangingPunct="1">
        <a:lnSpc>
          <a:spcPct val="110000"/>
        </a:lnSpc>
        <a:spcBef>
          <a:spcPts val="225"/>
        </a:spcBef>
        <a:spcAft>
          <a:spcPts val="225"/>
        </a:spcAft>
        <a:buClr>
          <a:schemeClr val="tx2"/>
        </a:buClr>
        <a:buFont typeface="Arial" panose="020B0604020202020204" pitchFamily="34" charset="0"/>
        <a:buChar char="​"/>
        <a:defRPr lang="en-US" sz="1200" kern="1200">
          <a:solidFill>
            <a:schemeClr val="tx2"/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685800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ClrTx/>
        <a:buFont typeface="Arial" panose="020B0604020202020204" pitchFamily="34" charset="0"/>
        <a:buChar char="​"/>
        <a:defRPr lang="en-US" sz="1200" b="1" kern="1200" smtClean="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02406" indent="-114300" algn="l" defTabSz="685800" rtl="0" eaLnBrk="1" latinLnBrk="0" hangingPunct="1">
        <a:lnSpc>
          <a:spcPct val="90000"/>
        </a:lnSpc>
        <a:spcBef>
          <a:spcPts val="0"/>
        </a:spcBef>
        <a:spcAft>
          <a:spcPts val="450"/>
        </a:spcAft>
        <a:buClr>
          <a:schemeClr val="tx2"/>
        </a:buClr>
        <a:buFont typeface="Arial" panose="020B0604020202020204" pitchFamily="34" charset="0"/>
        <a:buChar char="•"/>
        <a:defRPr lang="en-US" sz="1200" kern="1200" smtClean="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685800" rtl="0" eaLnBrk="1" latinLnBrk="0" hangingPunct="1">
        <a:lnSpc>
          <a:spcPct val="90000"/>
        </a:lnSpc>
        <a:spcBef>
          <a:spcPts val="675"/>
        </a:spcBef>
        <a:spcAft>
          <a:spcPts val="675"/>
        </a:spcAft>
        <a:buFont typeface="Arial" panose="020B0604020202020204" pitchFamily="34" charset="0"/>
        <a:buChar char="​"/>
        <a:defRPr lang="en-US" sz="3300" kern="1200" baseline="0" smtClean="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685800" rtl="0" eaLnBrk="1" latinLnBrk="0" hangingPunct="1">
        <a:lnSpc>
          <a:spcPct val="90000"/>
        </a:lnSpc>
        <a:spcBef>
          <a:spcPts val="675"/>
        </a:spcBef>
        <a:spcAft>
          <a:spcPts val="0"/>
        </a:spcAft>
        <a:buFont typeface="Arial" panose="020B0604020202020204" pitchFamily="34" charset="0"/>
        <a:buChar char="​"/>
        <a:defRPr lang="en-US" sz="4050" kern="1200" baseline="0" smtClean="0">
          <a:solidFill>
            <a:schemeClr val="tx2"/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685800" rtl="0" eaLnBrk="1" latinLnBrk="0" hangingPunct="1">
        <a:lnSpc>
          <a:spcPct val="100000"/>
        </a:lnSpc>
        <a:spcBef>
          <a:spcPts val="0"/>
        </a:spcBef>
        <a:spcAft>
          <a:spcPts val="675"/>
        </a:spcAft>
        <a:buFont typeface="Arial" panose="020B0604020202020204" pitchFamily="34" charset="0"/>
        <a:buChar char="​"/>
        <a:defRPr lang="en-US" sz="1800" kern="1200" baseline="0" dirty="0">
          <a:solidFill>
            <a:schemeClr val="tx2"/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296">
          <p15:clr>
            <a:srgbClr val="F26B43"/>
          </p15:clr>
        </p15:guide>
        <p15:guide id="4" orient="horz" pos="3888">
          <p15:clr>
            <a:srgbClr val="F26B43"/>
          </p15:clr>
        </p15:guide>
        <p15:guide id="5" orient="horz" pos="1311">
          <p15:clr>
            <a:srgbClr val="F26B43"/>
          </p15:clr>
        </p15:guide>
        <p15:guide id="6" pos="297">
          <p15:clr>
            <a:srgbClr val="F26B43"/>
          </p15:clr>
        </p15:guide>
        <p15:guide id="7" pos="5463">
          <p15:clr>
            <a:srgbClr val="F26B43"/>
          </p15:clr>
        </p15:guide>
        <p15:guide id="8" orient="horz" pos="3881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71"/>
            </p:custDataLst>
            <p:extLst>
              <p:ext uri="{D42A27DB-BD31-4B8C-83A1-F6EECF244321}">
                <p14:modId xmlns:p14="http://schemas.microsoft.com/office/powerpoint/2010/main" val="423919361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2" imgW="270" imgH="270" progId="TCLayout.ActiveDocument.1">
                  <p:embed/>
                </p:oleObj>
              </mc:Choice>
              <mc:Fallback>
                <p:oleObj name="think-cell Slide" r:id="rId72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2000250" y="622800"/>
            <a:ext cx="9563100" cy="3323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Freeform: Shape 31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/>
        </p:nvSpPr>
        <p:spPr>
          <a:xfrm>
            <a:off x="0" y="6326127"/>
            <a:ext cx="12188952" cy="531873"/>
          </a:xfrm>
          <a:custGeom>
            <a:avLst/>
            <a:gdLst>
              <a:gd name="connsiteX0" fmla="*/ 8400285 w 12188952"/>
              <a:gd name="connsiteY0" fmla="*/ 0 h 531873"/>
              <a:gd name="connsiteX1" fmla="*/ 12188950 w 12188952"/>
              <a:gd name="connsiteY1" fmla="*/ 0 h 531873"/>
              <a:gd name="connsiteX2" fmla="*/ 12188950 w 12188952"/>
              <a:gd name="connsiteY2" fmla="*/ 239773 h 531873"/>
              <a:gd name="connsiteX3" fmla="*/ 12188952 w 12188952"/>
              <a:gd name="connsiteY3" fmla="*/ 239773 h 531873"/>
              <a:gd name="connsiteX4" fmla="*/ 12188952 w 12188952"/>
              <a:gd name="connsiteY4" fmla="*/ 531873 h 531873"/>
              <a:gd name="connsiteX5" fmla="*/ 0 w 12188952"/>
              <a:gd name="connsiteY5" fmla="*/ 531873 h 531873"/>
              <a:gd name="connsiteX6" fmla="*/ 0 w 12188952"/>
              <a:gd name="connsiteY6" fmla="*/ 239773 h 531873"/>
              <a:gd name="connsiteX7" fmla="*/ 8220629 w 12188952"/>
              <a:gd name="connsiteY7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88952" h="531873">
                <a:moveTo>
                  <a:pt x="8400285" y="0"/>
                </a:moveTo>
                <a:lnTo>
                  <a:pt x="12188950" y="0"/>
                </a:lnTo>
                <a:lnTo>
                  <a:pt x="12188950" y="239773"/>
                </a:lnTo>
                <a:lnTo>
                  <a:pt x="12188952" y="239773"/>
                </a:lnTo>
                <a:lnTo>
                  <a:pt x="12188952" y="531873"/>
                </a:lnTo>
                <a:lnTo>
                  <a:pt x="0" y="531873"/>
                </a:lnTo>
                <a:lnTo>
                  <a:pt x="0" y="239773"/>
                </a:lnTo>
                <a:lnTo>
                  <a:pt x="8220629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9" name="Picture 18"/>
          <p:cNvPicPr>
            <a:picLocks noChangeAspect="1"/>
          </p:cNvPicPr>
          <p:nvPr/>
        </p:nvPicPr>
        <p:blipFill>
          <a:blip r:embed="rId7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5093602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6" r:id="rId1"/>
    <p:sldLayoutId id="2147483827" r:id="rId2"/>
    <p:sldLayoutId id="2147483828" r:id="rId3"/>
    <p:sldLayoutId id="2147483829" r:id="rId4"/>
    <p:sldLayoutId id="2147483830" r:id="rId5"/>
    <p:sldLayoutId id="2147483831" r:id="rId6"/>
    <p:sldLayoutId id="2147483832" r:id="rId7"/>
    <p:sldLayoutId id="2147483833" r:id="rId8"/>
    <p:sldLayoutId id="2147483834" r:id="rId9"/>
    <p:sldLayoutId id="2147483835" r:id="rId10"/>
    <p:sldLayoutId id="2147483836" r:id="rId11"/>
    <p:sldLayoutId id="2147483837" r:id="rId12"/>
    <p:sldLayoutId id="2147483838" r:id="rId13"/>
    <p:sldLayoutId id="2147483839" r:id="rId14"/>
    <p:sldLayoutId id="2147483840" r:id="rId15"/>
    <p:sldLayoutId id="2147483841" r:id="rId16"/>
    <p:sldLayoutId id="2147483842" r:id="rId17"/>
    <p:sldLayoutId id="2147483843" r:id="rId18"/>
    <p:sldLayoutId id="2147483844" r:id="rId19"/>
    <p:sldLayoutId id="2147483845" r:id="rId20"/>
    <p:sldLayoutId id="2147483846" r:id="rId21"/>
    <p:sldLayoutId id="2147483847" r:id="rId22"/>
    <p:sldLayoutId id="2147483848" r:id="rId23"/>
    <p:sldLayoutId id="2147483849" r:id="rId24"/>
    <p:sldLayoutId id="2147483850" r:id="rId25"/>
    <p:sldLayoutId id="2147483851" r:id="rId26"/>
    <p:sldLayoutId id="2147483852" r:id="rId27"/>
    <p:sldLayoutId id="2147483853" r:id="rId28"/>
    <p:sldLayoutId id="2147483854" r:id="rId29"/>
    <p:sldLayoutId id="2147483855" r:id="rId30"/>
    <p:sldLayoutId id="2147483856" r:id="rId31"/>
    <p:sldLayoutId id="2147483857" r:id="rId32"/>
    <p:sldLayoutId id="2147483858" r:id="rId33"/>
    <p:sldLayoutId id="2147483859" r:id="rId34"/>
    <p:sldLayoutId id="2147483860" r:id="rId35"/>
    <p:sldLayoutId id="2147483861" r:id="rId36"/>
    <p:sldLayoutId id="2147483862" r:id="rId37"/>
    <p:sldLayoutId id="2147483863" r:id="rId38"/>
    <p:sldLayoutId id="2147483864" r:id="rId39"/>
    <p:sldLayoutId id="2147483865" r:id="rId40"/>
    <p:sldLayoutId id="2147483866" r:id="rId41"/>
    <p:sldLayoutId id="2147483867" r:id="rId42"/>
    <p:sldLayoutId id="2147483868" r:id="rId43"/>
    <p:sldLayoutId id="2147483869" r:id="rId44"/>
    <p:sldLayoutId id="2147483870" r:id="rId45"/>
    <p:sldLayoutId id="2147483871" r:id="rId46"/>
    <p:sldLayoutId id="2147483872" r:id="rId47"/>
    <p:sldLayoutId id="2147483873" r:id="rId48"/>
    <p:sldLayoutId id="2147483874" r:id="rId49"/>
    <p:sldLayoutId id="2147483875" r:id="rId50"/>
    <p:sldLayoutId id="2147483876" r:id="rId51"/>
    <p:sldLayoutId id="2147483877" r:id="rId52"/>
    <p:sldLayoutId id="2147483878" r:id="rId53"/>
    <p:sldLayoutId id="2147483879" r:id="rId54"/>
    <p:sldLayoutId id="2147483880" r:id="rId55"/>
    <p:sldLayoutId id="2147483881" r:id="rId56"/>
    <p:sldLayoutId id="2147483882" r:id="rId57"/>
    <p:sldLayoutId id="2147483883" r:id="rId58"/>
    <p:sldLayoutId id="2147483884" r:id="rId59"/>
    <p:sldLayoutId id="2147483885" r:id="rId60"/>
    <p:sldLayoutId id="2147483886" r:id="rId61"/>
    <p:sldLayoutId id="2147483887" r:id="rId62"/>
    <p:sldLayoutId id="2147483888" r:id="rId63"/>
    <p:sldLayoutId id="2147483889" r:id="rId64"/>
    <p:sldLayoutId id="2147483890" r:id="rId65"/>
    <p:sldLayoutId id="2147483891" r:id="rId66"/>
    <p:sldLayoutId id="2147483892" r:id="rId67"/>
    <p:sldLayoutId id="2147483893" r:id="rId68"/>
    <p:sldLayoutId id="2147483894" r:id="rId69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kern="1200">
          <a:solidFill>
            <a:srgbClr val="FF0000"/>
          </a:solidFill>
          <a:latin typeface="+mj-lt"/>
          <a:ea typeface="+mj-ea"/>
          <a:cs typeface="+mj-cs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400" kern="120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400" kern="120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400" kern="120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800" kern="1200">
          <a:solidFill>
            <a:schemeClr val="tx2"/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800" b="1" kern="1200" smtClean="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800" kern="1200" smtClean="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tx2"/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tx2"/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11">
          <p15:clr>
            <a:srgbClr val="F26B43"/>
          </p15:clr>
        </p15:guide>
        <p15:guide id="2" pos="396">
          <p15:clr>
            <a:srgbClr val="F26B43"/>
          </p15:clr>
        </p15:guide>
        <p15:guide id="3" pos="7284">
          <p15:clr>
            <a:srgbClr val="F26B43"/>
          </p15:clr>
        </p15:guide>
        <p15:guide id="4" orient="horz" pos="3881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72"/>
            </p:custDataLst>
            <p:extLst>
              <p:ext uri="{D42A27DB-BD31-4B8C-83A1-F6EECF244321}">
                <p14:modId xmlns:p14="http://schemas.microsoft.com/office/powerpoint/2010/main" val="423919361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3" imgW="270" imgH="270" progId="TCLayout.ActiveDocument.1">
                  <p:embed/>
                </p:oleObj>
              </mc:Choice>
              <mc:Fallback>
                <p:oleObj name="think-cell Slide" r:id="rId7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2000250" y="622800"/>
            <a:ext cx="9563100" cy="3323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Freeform: Shape 31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/>
        </p:nvSpPr>
        <p:spPr>
          <a:xfrm>
            <a:off x="0" y="6326127"/>
            <a:ext cx="12188952" cy="531873"/>
          </a:xfrm>
          <a:custGeom>
            <a:avLst/>
            <a:gdLst>
              <a:gd name="connsiteX0" fmla="*/ 8400285 w 12188952"/>
              <a:gd name="connsiteY0" fmla="*/ 0 h 531873"/>
              <a:gd name="connsiteX1" fmla="*/ 12188950 w 12188952"/>
              <a:gd name="connsiteY1" fmla="*/ 0 h 531873"/>
              <a:gd name="connsiteX2" fmla="*/ 12188950 w 12188952"/>
              <a:gd name="connsiteY2" fmla="*/ 239773 h 531873"/>
              <a:gd name="connsiteX3" fmla="*/ 12188952 w 12188952"/>
              <a:gd name="connsiteY3" fmla="*/ 239773 h 531873"/>
              <a:gd name="connsiteX4" fmla="*/ 12188952 w 12188952"/>
              <a:gd name="connsiteY4" fmla="*/ 531873 h 531873"/>
              <a:gd name="connsiteX5" fmla="*/ 0 w 12188952"/>
              <a:gd name="connsiteY5" fmla="*/ 531873 h 531873"/>
              <a:gd name="connsiteX6" fmla="*/ 0 w 12188952"/>
              <a:gd name="connsiteY6" fmla="*/ 239773 h 531873"/>
              <a:gd name="connsiteX7" fmla="*/ 8220629 w 12188952"/>
              <a:gd name="connsiteY7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88952" h="531873">
                <a:moveTo>
                  <a:pt x="8400285" y="0"/>
                </a:moveTo>
                <a:lnTo>
                  <a:pt x="12188950" y="0"/>
                </a:lnTo>
                <a:lnTo>
                  <a:pt x="12188950" y="239773"/>
                </a:lnTo>
                <a:lnTo>
                  <a:pt x="12188952" y="239773"/>
                </a:lnTo>
                <a:lnTo>
                  <a:pt x="12188952" y="531873"/>
                </a:lnTo>
                <a:lnTo>
                  <a:pt x="0" y="531873"/>
                </a:lnTo>
                <a:lnTo>
                  <a:pt x="0" y="239773"/>
                </a:lnTo>
                <a:lnTo>
                  <a:pt x="8220629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fld id="{AC3312C5-EFF4-47B0-B4A9-3F5E27BC8EC7}" type="datetimeFigureOut">
              <a:rPr lang="en-IN" smtClean="0"/>
              <a:t>28-05-2025</a:t>
            </a:fld>
            <a:endParaRPr lang="en-IN"/>
          </a:p>
        </p:txBody>
      </p:sp>
      <p:pic>
        <p:nvPicPr>
          <p:cNvPr id="19" name="Picture 18"/>
          <p:cNvPicPr>
            <a:picLocks noChangeAspect="1"/>
          </p:cNvPicPr>
          <p:nvPr/>
        </p:nvPicPr>
        <p:blipFill>
          <a:blip r:embed="rId7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9550167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96" r:id="rId1"/>
    <p:sldLayoutId id="2147483897" r:id="rId2"/>
    <p:sldLayoutId id="2147483898" r:id="rId3"/>
    <p:sldLayoutId id="2147483899" r:id="rId4"/>
    <p:sldLayoutId id="2147483900" r:id="rId5"/>
    <p:sldLayoutId id="2147483901" r:id="rId6"/>
    <p:sldLayoutId id="2147483902" r:id="rId7"/>
    <p:sldLayoutId id="2147483903" r:id="rId8"/>
    <p:sldLayoutId id="2147483904" r:id="rId9"/>
    <p:sldLayoutId id="2147483905" r:id="rId10"/>
    <p:sldLayoutId id="2147483906" r:id="rId11"/>
    <p:sldLayoutId id="2147483907" r:id="rId12"/>
    <p:sldLayoutId id="2147483908" r:id="rId13"/>
    <p:sldLayoutId id="2147483909" r:id="rId14"/>
    <p:sldLayoutId id="2147483910" r:id="rId15"/>
    <p:sldLayoutId id="2147483911" r:id="rId16"/>
    <p:sldLayoutId id="2147483912" r:id="rId17"/>
    <p:sldLayoutId id="2147483913" r:id="rId18"/>
    <p:sldLayoutId id="2147483914" r:id="rId19"/>
    <p:sldLayoutId id="2147483915" r:id="rId20"/>
    <p:sldLayoutId id="2147483916" r:id="rId21"/>
    <p:sldLayoutId id="2147483917" r:id="rId22"/>
    <p:sldLayoutId id="2147483918" r:id="rId23"/>
    <p:sldLayoutId id="2147483919" r:id="rId24"/>
    <p:sldLayoutId id="2147483920" r:id="rId25"/>
    <p:sldLayoutId id="2147483921" r:id="rId26"/>
    <p:sldLayoutId id="2147483922" r:id="rId27"/>
    <p:sldLayoutId id="2147483923" r:id="rId28"/>
    <p:sldLayoutId id="2147483924" r:id="rId29"/>
    <p:sldLayoutId id="2147483925" r:id="rId30"/>
    <p:sldLayoutId id="2147483926" r:id="rId31"/>
    <p:sldLayoutId id="2147483927" r:id="rId32"/>
    <p:sldLayoutId id="2147483928" r:id="rId33"/>
    <p:sldLayoutId id="2147483929" r:id="rId34"/>
    <p:sldLayoutId id="2147483930" r:id="rId35"/>
    <p:sldLayoutId id="2147483931" r:id="rId36"/>
    <p:sldLayoutId id="2147483932" r:id="rId37"/>
    <p:sldLayoutId id="2147483933" r:id="rId38"/>
    <p:sldLayoutId id="2147483934" r:id="rId39"/>
    <p:sldLayoutId id="2147483935" r:id="rId40"/>
    <p:sldLayoutId id="2147483936" r:id="rId41"/>
    <p:sldLayoutId id="2147483937" r:id="rId42"/>
    <p:sldLayoutId id="2147483938" r:id="rId43"/>
    <p:sldLayoutId id="2147483939" r:id="rId44"/>
    <p:sldLayoutId id="2147483940" r:id="rId45"/>
    <p:sldLayoutId id="2147483941" r:id="rId46"/>
    <p:sldLayoutId id="2147483942" r:id="rId47"/>
    <p:sldLayoutId id="2147483943" r:id="rId48"/>
    <p:sldLayoutId id="2147483944" r:id="rId49"/>
    <p:sldLayoutId id="2147483945" r:id="rId50"/>
    <p:sldLayoutId id="2147483946" r:id="rId51"/>
    <p:sldLayoutId id="2147483947" r:id="rId52"/>
    <p:sldLayoutId id="2147483948" r:id="rId53"/>
    <p:sldLayoutId id="2147483949" r:id="rId54"/>
    <p:sldLayoutId id="2147483950" r:id="rId55"/>
    <p:sldLayoutId id="2147483951" r:id="rId56"/>
    <p:sldLayoutId id="2147483952" r:id="rId57"/>
    <p:sldLayoutId id="2147483953" r:id="rId58"/>
    <p:sldLayoutId id="2147483954" r:id="rId59"/>
    <p:sldLayoutId id="2147483955" r:id="rId60"/>
    <p:sldLayoutId id="2147483956" r:id="rId61"/>
    <p:sldLayoutId id="2147483957" r:id="rId62"/>
    <p:sldLayoutId id="2147483958" r:id="rId63"/>
    <p:sldLayoutId id="2147483959" r:id="rId64"/>
    <p:sldLayoutId id="2147483960" r:id="rId65"/>
    <p:sldLayoutId id="2147483961" r:id="rId66"/>
    <p:sldLayoutId id="2147483962" r:id="rId67"/>
    <p:sldLayoutId id="2147483963" r:id="rId68"/>
    <p:sldLayoutId id="2147483964" r:id="rId69"/>
    <p:sldLayoutId id="2147483965" r:id="rId70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kern="1200">
          <a:solidFill>
            <a:srgbClr val="FF0000"/>
          </a:solidFill>
          <a:latin typeface="+mj-lt"/>
          <a:ea typeface="+mj-ea"/>
          <a:cs typeface="+mj-cs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400" kern="120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400" kern="120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400" kern="120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800" kern="1200">
          <a:solidFill>
            <a:schemeClr val="tx2"/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800" b="1" kern="1200" smtClean="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800" kern="1200" smtClean="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tx2"/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tx2"/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11">
          <p15:clr>
            <a:srgbClr val="F26B43"/>
          </p15:clr>
        </p15:guide>
        <p15:guide id="2" pos="396">
          <p15:clr>
            <a:srgbClr val="F26B43"/>
          </p15:clr>
        </p15:guide>
        <p15:guide id="3" pos="7284">
          <p15:clr>
            <a:srgbClr val="F26B43"/>
          </p15:clr>
        </p15:guide>
        <p15:guide id="4" orient="horz" pos="3881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72"/>
            </p:custDataLst>
            <p:extLst>
              <p:ext uri="{D42A27DB-BD31-4B8C-83A1-F6EECF244321}">
                <p14:modId xmlns:p14="http://schemas.microsoft.com/office/powerpoint/2010/main" val="4239193610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4" imgW="270" imgH="270" progId="TCLayout.ActiveDocument.1">
                  <p:embed/>
                </p:oleObj>
              </mc:Choice>
              <mc:Fallback>
                <p:oleObj name="think-cell Slide" r:id="rId7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5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2000251" y="622802"/>
            <a:ext cx="9563100" cy="2492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1" y="1825625"/>
            <a:ext cx="10933351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Freeform: Shape 31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/>
        </p:nvSpPr>
        <p:spPr>
          <a:xfrm>
            <a:off x="0" y="6326129"/>
            <a:ext cx="12188952" cy="531873"/>
          </a:xfrm>
          <a:custGeom>
            <a:avLst/>
            <a:gdLst>
              <a:gd name="connsiteX0" fmla="*/ 8400285 w 12188952"/>
              <a:gd name="connsiteY0" fmla="*/ 0 h 531873"/>
              <a:gd name="connsiteX1" fmla="*/ 12188950 w 12188952"/>
              <a:gd name="connsiteY1" fmla="*/ 0 h 531873"/>
              <a:gd name="connsiteX2" fmla="*/ 12188950 w 12188952"/>
              <a:gd name="connsiteY2" fmla="*/ 239773 h 531873"/>
              <a:gd name="connsiteX3" fmla="*/ 12188952 w 12188952"/>
              <a:gd name="connsiteY3" fmla="*/ 239773 h 531873"/>
              <a:gd name="connsiteX4" fmla="*/ 12188952 w 12188952"/>
              <a:gd name="connsiteY4" fmla="*/ 531873 h 531873"/>
              <a:gd name="connsiteX5" fmla="*/ 0 w 12188952"/>
              <a:gd name="connsiteY5" fmla="*/ 531873 h 531873"/>
              <a:gd name="connsiteX6" fmla="*/ 0 w 12188952"/>
              <a:gd name="connsiteY6" fmla="*/ 239773 h 531873"/>
              <a:gd name="connsiteX7" fmla="*/ 8220629 w 12188952"/>
              <a:gd name="connsiteY7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88952" h="531873">
                <a:moveTo>
                  <a:pt x="8400285" y="0"/>
                </a:moveTo>
                <a:lnTo>
                  <a:pt x="12188950" y="0"/>
                </a:lnTo>
                <a:lnTo>
                  <a:pt x="12188950" y="239773"/>
                </a:lnTo>
                <a:lnTo>
                  <a:pt x="12188952" y="239773"/>
                </a:lnTo>
                <a:lnTo>
                  <a:pt x="12188952" y="531873"/>
                </a:lnTo>
                <a:lnTo>
                  <a:pt x="0" y="531873"/>
                </a:lnTo>
                <a:lnTo>
                  <a:pt x="0" y="239773"/>
                </a:lnTo>
                <a:lnTo>
                  <a:pt x="8220629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900">
              <a:solidFill>
                <a:srgbClr val="FFFFFF"/>
              </a:solidFill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1" y="6553592"/>
            <a:ext cx="1482051" cy="115416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75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9" name="Picture 18"/>
          <p:cNvPicPr>
            <a:picLocks noChangeAspect="1"/>
          </p:cNvPicPr>
          <p:nvPr/>
        </p:nvPicPr>
        <p:blipFill>
          <a:blip r:embed="rId7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897" y="574339"/>
            <a:ext cx="1550283" cy="400753"/>
          </a:xfrm>
          <a:prstGeom prst="rect">
            <a:avLst/>
          </a:prstGeom>
        </p:spPr>
      </p:pic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F6FE934-3C43-3311-94F0-063899995487}"/>
              </a:ext>
            </a:extLst>
          </p:cNvPr>
          <p:cNvGraphicFramePr>
            <a:graphicFrameLocks noChangeAspect="1"/>
          </p:cNvGraphicFramePr>
          <p:nvPr>
            <p:custDataLst>
              <p:tags r:id="rId73"/>
            </p:custDataLst>
            <p:extLst>
              <p:ext uri="{D42A27DB-BD31-4B8C-83A1-F6EECF244321}">
                <p14:modId xmlns:p14="http://schemas.microsoft.com/office/powerpoint/2010/main" val="1194141760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7" imgW="270" imgH="270" progId="TCLayout.ActiveDocument.1">
                  <p:embed/>
                </p:oleObj>
              </mc:Choice>
              <mc:Fallback>
                <p:oleObj name="think-cell Slide" r:id="rId77" imgW="270" imgH="27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F6FE934-3C43-3311-94F0-06389999548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5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>
            <a:extLst>
              <a:ext uri="{FF2B5EF4-FFF2-40B4-BE49-F238E27FC236}">
                <a16:creationId xmlns:a16="http://schemas.microsoft.com/office/drawing/2014/main" id="{DA3F8886-11ED-AC47-DB05-B164E4E05F9C}"/>
              </a:ext>
            </a:extLst>
          </p:cNvPr>
          <p:cNvSpPr txBox="1"/>
          <p:nvPr/>
        </p:nvSpPr>
        <p:spPr>
          <a:xfrm>
            <a:off x="11167872" y="6443508"/>
            <a:ext cx="38100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0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8542369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67" r:id="rId1"/>
    <p:sldLayoutId id="2147483968" r:id="rId2"/>
    <p:sldLayoutId id="2147483969" r:id="rId3"/>
    <p:sldLayoutId id="2147483970" r:id="rId4"/>
    <p:sldLayoutId id="2147483971" r:id="rId5"/>
    <p:sldLayoutId id="2147483972" r:id="rId6"/>
    <p:sldLayoutId id="2147483973" r:id="rId7"/>
    <p:sldLayoutId id="2147483974" r:id="rId8"/>
    <p:sldLayoutId id="2147483975" r:id="rId9"/>
    <p:sldLayoutId id="2147483976" r:id="rId10"/>
    <p:sldLayoutId id="2147483977" r:id="rId11"/>
    <p:sldLayoutId id="2147483978" r:id="rId12"/>
    <p:sldLayoutId id="2147483979" r:id="rId13"/>
    <p:sldLayoutId id="2147483980" r:id="rId14"/>
    <p:sldLayoutId id="2147483981" r:id="rId15"/>
    <p:sldLayoutId id="2147483982" r:id="rId16"/>
    <p:sldLayoutId id="2147483983" r:id="rId17"/>
    <p:sldLayoutId id="2147483984" r:id="rId18"/>
    <p:sldLayoutId id="2147483985" r:id="rId19"/>
    <p:sldLayoutId id="2147483986" r:id="rId20"/>
    <p:sldLayoutId id="2147483987" r:id="rId21"/>
    <p:sldLayoutId id="2147483988" r:id="rId22"/>
    <p:sldLayoutId id="2147483989" r:id="rId23"/>
    <p:sldLayoutId id="2147483990" r:id="rId24"/>
    <p:sldLayoutId id="2147483991" r:id="rId25"/>
    <p:sldLayoutId id="2147483992" r:id="rId26"/>
    <p:sldLayoutId id="2147483993" r:id="rId27"/>
    <p:sldLayoutId id="2147483994" r:id="rId28"/>
    <p:sldLayoutId id="2147483995" r:id="rId29"/>
    <p:sldLayoutId id="2147483996" r:id="rId30"/>
    <p:sldLayoutId id="2147483997" r:id="rId31"/>
    <p:sldLayoutId id="2147483998" r:id="rId32"/>
    <p:sldLayoutId id="2147483999" r:id="rId33"/>
    <p:sldLayoutId id="2147484000" r:id="rId34"/>
    <p:sldLayoutId id="2147484001" r:id="rId35"/>
    <p:sldLayoutId id="2147484002" r:id="rId36"/>
    <p:sldLayoutId id="2147484003" r:id="rId37"/>
    <p:sldLayoutId id="2147484004" r:id="rId38"/>
    <p:sldLayoutId id="2147484005" r:id="rId39"/>
    <p:sldLayoutId id="2147484006" r:id="rId40"/>
    <p:sldLayoutId id="2147484007" r:id="rId41"/>
    <p:sldLayoutId id="2147484008" r:id="rId42"/>
    <p:sldLayoutId id="2147484009" r:id="rId43"/>
    <p:sldLayoutId id="2147484010" r:id="rId44"/>
    <p:sldLayoutId id="2147484011" r:id="rId45"/>
    <p:sldLayoutId id="2147484012" r:id="rId46"/>
    <p:sldLayoutId id="2147484013" r:id="rId47"/>
    <p:sldLayoutId id="2147484014" r:id="rId48"/>
    <p:sldLayoutId id="2147484015" r:id="rId49"/>
    <p:sldLayoutId id="2147484016" r:id="rId50"/>
    <p:sldLayoutId id="2147484017" r:id="rId51"/>
    <p:sldLayoutId id="2147484018" r:id="rId52"/>
    <p:sldLayoutId id="2147484019" r:id="rId53"/>
    <p:sldLayoutId id="2147484020" r:id="rId54"/>
    <p:sldLayoutId id="2147484021" r:id="rId55"/>
    <p:sldLayoutId id="2147484022" r:id="rId56"/>
    <p:sldLayoutId id="2147484023" r:id="rId57"/>
    <p:sldLayoutId id="2147484024" r:id="rId58"/>
    <p:sldLayoutId id="2147484025" r:id="rId59"/>
    <p:sldLayoutId id="2147484026" r:id="rId60"/>
    <p:sldLayoutId id="2147484027" r:id="rId61"/>
    <p:sldLayoutId id="2147484028" r:id="rId62"/>
    <p:sldLayoutId id="2147484029" r:id="rId63"/>
    <p:sldLayoutId id="2147484030" r:id="rId64"/>
    <p:sldLayoutId id="2147484031" r:id="rId65"/>
    <p:sldLayoutId id="2147484032" r:id="rId66"/>
    <p:sldLayoutId id="2147484033" r:id="rId67"/>
    <p:sldLayoutId id="2147484034" r:id="rId68"/>
    <p:sldLayoutId id="2147484035" r:id="rId69"/>
    <p:sldLayoutId id="2147484036" r:id="rId70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1800" kern="1200">
          <a:solidFill>
            <a:srgbClr val="FF0000"/>
          </a:solidFill>
          <a:latin typeface="+mj-lt"/>
          <a:ea typeface="+mj-ea"/>
          <a:cs typeface="+mj-cs"/>
          <a:sym typeface="Trebuchet MS" panose="020B0603020202020204" pitchFamily="34" charset="0"/>
        </a:defRPr>
      </a:lvl1pPr>
    </p:titleStyle>
    <p:bodyStyle>
      <a:lvl1pPr marL="0" indent="0" algn="l" defTabSz="685800" rtl="0" eaLnBrk="1" latinLnBrk="0" hangingPunct="1">
        <a:lnSpc>
          <a:spcPct val="110000"/>
        </a:lnSpc>
        <a:spcBef>
          <a:spcPts val="450"/>
        </a:spcBef>
        <a:spcAft>
          <a:spcPts val="225"/>
        </a:spcAft>
        <a:buFont typeface="Arial" panose="020B0604020202020204" pitchFamily="34" charset="0"/>
        <a:buChar char="​"/>
        <a:defRPr lang="en-US" sz="1050" kern="120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13300" indent="-129600" algn="l" defTabSz="685800" rtl="0" eaLnBrk="1" latinLnBrk="0" hangingPunct="1">
        <a:lnSpc>
          <a:spcPct val="90000"/>
        </a:lnSpc>
        <a:spcBef>
          <a:spcPts val="0"/>
        </a:spcBef>
        <a:spcAft>
          <a:spcPts val="225"/>
        </a:spcAft>
        <a:buClr>
          <a:schemeClr val="tx2"/>
        </a:buClr>
        <a:buFont typeface="Arial" panose="020B0604020202020204" pitchFamily="34" charset="0"/>
        <a:buChar char="•"/>
        <a:defRPr lang="en-US" sz="1050" kern="120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383400" indent="-124200" algn="l" defTabSz="685800" rtl="0" eaLnBrk="1" latinLnBrk="0" hangingPunct="1">
        <a:lnSpc>
          <a:spcPct val="90000"/>
        </a:lnSpc>
        <a:spcBef>
          <a:spcPts val="0"/>
        </a:spcBef>
        <a:spcAft>
          <a:spcPts val="225"/>
        </a:spcAft>
        <a:buClr>
          <a:schemeClr val="tx2"/>
        </a:buClr>
        <a:buFont typeface="Trebuchet MS" panose="020B0603020202020204" pitchFamily="34" charset="0"/>
        <a:buChar char="–"/>
        <a:defRPr lang="en-US" sz="1050" kern="120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685800" rtl="0" eaLnBrk="1" latinLnBrk="0" hangingPunct="1">
        <a:lnSpc>
          <a:spcPct val="110000"/>
        </a:lnSpc>
        <a:spcBef>
          <a:spcPts val="225"/>
        </a:spcBef>
        <a:spcAft>
          <a:spcPts val="225"/>
        </a:spcAft>
        <a:buClr>
          <a:schemeClr val="tx2"/>
        </a:buClr>
        <a:buFont typeface="Arial" panose="020B0604020202020204" pitchFamily="34" charset="0"/>
        <a:buChar char="​"/>
        <a:defRPr lang="en-US" sz="1350" kern="1200">
          <a:solidFill>
            <a:schemeClr val="tx2"/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685800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ClrTx/>
        <a:buFont typeface="Arial" panose="020B0604020202020204" pitchFamily="34" charset="0"/>
        <a:buChar char="​"/>
        <a:defRPr lang="en-US" sz="1350" b="1" kern="1200" smtClean="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02406" indent="-114300" algn="l" defTabSz="685800" rtl="0" eaLnBrk="1" latinLnBrk="0" hangingPunct="1">
        <a:lnSpc>
          <a:spcPct val="90000"/>
        </a:lnSpc>
        <a:spcBef>
          <a:spcPts val="0"/>
        </a:spcBef>
        <a:spcAft>
          <a:spcPts val="450"/>
        </a:spcAft>
        <a:buClr>
          <a:schemeClr val="tx2"/>
        </a:buClr>
        <a:buFont typeface="Arial" panose="020B0604020202020204" pitchFamily="34" charset="0"/>
        <a:buChar char="•"/>
        <a:defRPr lang="en-US" sz="1350" kern="1200" smtClean="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685800" rtl="0" eaLnBrk="1" latinLnBrk="0" hangingPunct="1">
        <a:lnSpc>
          <a:spcPct val="90000"/>
        </a:lnSpc>
        <a:spcBef>
          <a:spcPts val="675"/>
        </a:spcBef>
        <a:spcAft>
          <a:spcPts val="675"/>
        </a:spcAft>
        <a:buFont typeface="Arial" panose="020B0604020202020204" pitchFamily="34" charset="0"/>
        <a:buChar char="​"/>
        <a:defRPr lang="en-US" sz="3300" kern="1200" baseline="0" smtClean="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685800" rtl="0" eaLnBrk="1" latinLnBrk="0" hangingPunct="1">
        <a:lnSpc>
          <a:spcPct val="90000"/>
        </a:lnSpc>
        <a:spcBef>
          <a:spcPts val="675"/>
        </a:spcBef>
        <a:spcAft>
          <a:spcPts val="0"/>
        </a:spcAft>
        <a:buFont typeface="Arial" panose="020B0604020202020204" pitchFamily="34" charset="0"/>
        <a:buChar char="​"/>
        <a:defRPr lang="en-US" sz="4050" kern="1200" baseline="0" smtClean="0">
          <a:solidFill>
            <a:schemeClr val="tx2"/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685800" rtl="0" eaLnBrk="1" latinLnBrk="0" hangingPunct="1">
        <a:lnSpc>
          <a:spcPct val="100000"/>
        </a:lnSpc>
        <a:spcBef>
          <a:spcPts val="0"/>
        </a:spcBef>
        <a:spcAft>
          <a:spcPts val="675"/>
        </a:spcAft>
        <a:buFont typeface="Arial" panose="020B0604020202020204" pitchFamily="34" charset="0"/>
        <a:buChar char="​"/>
        <a:defRPr lang="en-US" sz="1800" kern="1200" baseline="0" dirty="0">
          <a:solidFill>
            <a:schemeClr val="tx2"/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pos="528">
          <p15:clr>
            <a:srgbClr val="F26B43"/>
          </p15:clr>
        </p15:guide>
        <p15:guide id="3" pos="9712">
          <p15:clr>
            <a:srgbClr val="F26B43"/>
          </p15:clr>
        </p15:guide>
        <p15:guide id="5" orient="horz" pos="1296">
          <p15:clr>
            <a:srgbClr val="F26B43"/>
          </p15:clr>
        </p15:guide>
        <p15:guide id="6" orient="horz" pos="3888">
          <p15:clr>
            <a:srgbClr val="F26B43"/>
          </p15:clr>
        </p15:guide>
        <p15:guide id="7" orient="horz" pos="1311">
          <p15:clr>
            <a:srgbClr val="F26B43"/>
          </p15:clr>
        </p15:guide>
        <p15:guide id="8" pos="396">
          <p15:clr>
            <a:srgbClr val="F26B43"/>
          </p15:clr>
        </p15:guide>
        <p15:guide id="9" pos="7284">
          <p15:clr>
            <a:srgbClr val="F26B43"/>
          </p15:clr>
        </p15:guide>
        <p15:guide id="10" orient="horz" pos="388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9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9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9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9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9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34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34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10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34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34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34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34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9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0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itle 1">
            <a:extLst>
              <a:ext uri="{FF2B5EF4-FFF2-40B4-BE49-F238E27FC236}">
                <a16:creationId xmlns:a16="http://schemas.microsoft.com/office/drawing/2014/main" id="{AAB5D155-3D98-711E-99B1-32DDE35999A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103869" y="3200400"/>
            <a:ext cx="7531224" cy="1314450"/>
          </a:xfrm>
        </p:spPr>
        <p:txBody>
          <a:bodyPr>
            <a:noAutofit/>
          </a:bodyPr>
          <a:lstStyle/>
          <a:p>
            <a:pPr algn="ctr"/>
            <a:r>
              <a:rPr lang="en-IN" sz="3200" b="1" dirty="0"/>
              <a:t>Benchmarking of Commercial Cells</a:t>
            </a:r>
          </a:p>
          <a:p>
            <a:pPr algn="ctr"/>
            <a:r>
              <a:rPr lang="en-IN" sz="3200" b="1" dirty="0"/>
              <a:t>IISc- Phase 3</a:t>
            </a:r>
          </a:p>
        </p:txBody>
      </p:sp>
    </p:spTree>
    <p:extLst>
      <p:ext uri="{BB962C8B-B14F-4D97-AF65-F5344CB8AC3E}">
        <p14:creationId xmlns:p14="http://schemas.microsoft.com/office/powerpoint/2010/main" val="335101545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00" name="Table 399">
            <a:extLst>
              <a:ext uri="{FF2B5EF4-FFF2-40B4-BE49-F238E27FC236}">
                <a16:creationId xmlns:a16="http://schemas.microsoft.com/office/drawing/2014/main" id="{D3482654-9DD3-62CB-4489-219AC049DDC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19167186"/>
              </p:ext>
            </p:extLst>
          </p:nvPr>
        </p:nvGraphicFramePr>
        <p:xfrm>
          <a:off x="2829878" y="1272667"/>
          <a:ext cx="6557457" cy="2856922"/>
        </p:xfrm>
        <a:graphic>
          <a:graphicData uri="http://schemas.openxmlformats.org/drawingml/2006/table">
            <a:tbl>
              <a:tblPr firstRow="1" bandRow="1">
                <a:tableStyleId>{073A0DAA-6AF3-43AB-8588-CEC1D06C72B9}</a:tableStyleId>
              </a:tblPr>
              <a:tblGrid>
                <a:gridCol w="1256201">
                  <a:extLst>
                    <a:ext uri="{9D8B030D-6E8A-4147-A177-3AD203B41FA5}">
                      <a16:colId xmlns:a16="http://schemas.microsoft.com/office/drawing/2014/main" val="1141778738"/>
                    </a:ext>
                  </a:extLst>
                </a:gridCol>
                <a:gridCol w="780553">
                  <a:extLst>
                    <a:ext uri="{9D8B030D-6E8A-4147-A177-3AD203B41FA5}">
                      <a16:colId xmlns:a16="http://schemas.microsoft.com/office/drawing/2014/main" val="3674942505"/>
                    </a:ext>
                  </a:extLst>
                </a:gridCol>
                <a:gridCol w="617938">
                  <a:extLst>
                    <a:ext uri="{9D8B030D-6E8A-4147-A177-3AD203B41FA5}">
                      <a16:colId xmlns:a16="http://schemas.microsoft.com/office/drawing/2014/main" val="1911053148"/>
                    </a:ext>
                  </a:extLst>
                </a:gridCol>
                <a:gridCol w="780553">
                  <a:extLst>
                    <a:ext uri="{9D8B030D-6E8A-4147-A177-3AD203B41FA5}">
                      <a16:colId xmlns:a16="http://schemas.microsoft.com/office/drawing/2014/main" val="1571275875"/>
                    </a:ext>
                  </a:extLst>
                </a:gridCol>
                <a:gridCol w="780553">
                  <a:extLst>
                    <a:ext uri="{9D8B030D-6E8A-4147-A177-3AD203B41FA5}">
                      <a16:colId xmlns:a16="http://schemas.microsoft.com/office/drawing/2014/main" val="946624402"/>
                    </a:ext>
                  </a:extLst>
                </a:gridCol>
                <a:gridCol w="780553">
                  <a:extLst>
                    <a:ext uri="{9D8B030D-6E8A-4147-A177-3AD203B41FA5}">
                      <a16:colId xmlns:a16="http://schemas.microsoft.com/office/drawing/2014/main" val="1806666655"/>
                    </a:ext>
                  </a:extLst>
                </a:gridCol>
                <a:gridCol w="780553">
                  <a:extLst>
                    <a:ext uri="{9D8B030D-6E8A-4147-A177-3AD203B41FA5}">
                      <a16:colId xmlns:a16="http://schemas.microsoft.com/office/drawing/2014/main" val="2257018401"/>
                    </a:ext>
                  </a:extLst>
                </a:gridCol>
                <a:gridCol w="780553">
                  <a:extLst>
                    <a:ext uri="{9D8B030D-6E8A-4147-A177-3AD203B41FA5}">
                      <a16:colId xmlns:a16="http://schemas.microsoft.com/office/drawing/2014/main" val="3011354501"/>
                    </a:ext>
                  </a:extLst>
                </a:gridCol>
              </a:tblGrid>
              <a:tr h="371313">
                <a:tc>
                  <a:txBody>
                    <a:bodyPr/>
                    <a:lstStyle/>
                    <a:p>
                      <a:pPr algn="ctr" fontAlgn="b"/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Length</a:t>
                      </a:r>
                      <a:endParaRPr lang="en-IN" sz="1100" b="1" i="0" u="none" strike="noStrike" dirty="0">
                        <a:solidFill>
                          <a:schemeClr val="bg1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1" i="0" u="none" strike="noStrike">
                          <a:solidFill>
                            <a:schemeClr val="bg1"/>
                          </a:solidFill>
                          <a:effectLst/>
                          <a:latin typeface="Aptos Narrow" panose="020B0004020202020204" pitchFamily="34" charset="0"/>
                        </a:rPr>
                        <a:t>Sid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L3a1/L3b1</a:t>
                      </a:r>
                      <a:endParaRPr lang="en-IN" sz="1100" b="1" i="0" u="none" strike="noStrike" dirty="0">
                        <a:solidFill>
                          <a:schemeClr val="bg1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L1a/L1b</a:t>
                      </a:r>
                      <a:endParaRPr lang="en-IN" sz="1100" b="1" i="0" u="none" strike="noStrike" dirty="0">
                        <a:solidFill>
                          <a:schemeClr val="bg1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T</a:t>
                      </a:r>
                      <a:endParaRPr lang="en-IN" sz="1100" b="1" i="0" u="none" strike="noStrike" dirty="0">
                        <a:solidFill>
                          <a:schemeClr val="bg1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L2a/L2b</a:t>
                      </a:r>
                      <a:endParaRPr lang="en-IN" sz="1100" b="1" i="0" u="none" strike="noStrike" dirty="0">
                        <a:solidFill>
                          <a:schemeClr val="bg1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L3a2/L3b2</a:t>
                      </a:r>
                      <a:endParaRPr lang="en-IN" sz="1100" b="1" i="0" u="none" strike="noStrike" dirty="0">
                        <a:solidFill>
                          <a:schemeClr val="bg1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261846236"/>
                  </a:ext>
                </a:extLst>
              </a:tr>
              <a:tr h="152756">
                <a:tc rowSpan="2"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cap="none" spc="0" dirty="0">
                          <a:solidFill>
                            <a:schemeClr val="bg1"/>
                          </a:solidFill>
                          <a:effectLst/>
                          <a:latin typeface="Aptos Display" panose="020B0004020202020204" pitchFamily="34" charset="0"/>
                        </a:rPr>
                        <a:t>B</a:t>
                      </a:r>
                      <a:r>
                        <a:rPr lang="en-IN" sz="1100" b="0" i="0" u="none" strike="noStrike" cap="none" spc="0" dirty="0">
                          <a:solidFill>
                            <a:schemeClr val="bg1"/>
                          </a:solidFill>
                          <a:effectLst/>
                          <a:latin typeface="Aptos Display" panose="020B0004020202020204" pitchFamily="34" charset="0"/>
                        </a:rPr>
                        <a:t>AK 5.5_21700</a:t>
                      </a:r>
                      <a:endParaRPr lang="en-IN" sz="11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ctr"/>
                </a:tc>
                <a:tc rowSpan="2">
                  <a:txBody>
                    <a:bodyPr/>
                    <a:lstStyle/>
                    <a:p>
                      <a:pPr algn="ctr" fontAlgn="b"/>
                      <a:endParaRPr lang="en-IN" sz="11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T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en-IN" sz="11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en-IN" sz="11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en-IN" sz="11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en-IN" sz="11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en-IN" sz="11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962920563"/>
                  </a:ext>
                </a:extLst>
              </a:tr>
              <a:tr h="152756">
                <a:tc vMerge="1">
                  <a:txBody>
                    <a:bodyPr/>
                    <a:lstStyle/>
                    <a:p>
                      <a:pPr algn="ctr" fontAlgn="b"/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ctr"/>
                </a:tc>
                <a:tc vMerge="1">
                  <a:txBody>
                    <a:bodyPr/>
                    <a:lstStyle/>
                    <a:p>
                      <a:pPr algn="ctr" fontAlgn="b"/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u="none" strike="noStrike" dirty="0">
                          <a:effectLst/>
                        </a:rPr>
                        <a:t>B</a:t>
                      </a:r>
                      <a:endParaRPr lang="en-IN" sz="11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en-IN" sz="11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36332902"/>
                  </a:ext>
                </a:extLst>
              </a:tr>
              <a:tr h="152756">
                <a:tc rowSpan="2"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cap="none" spc="0" dirty="0">
                          <a:solidFill>
                            <a:schemeClr val="bg1"/>
                          </a:solidFill>
                          <a:effectLst/>
                          <a:latin typeface="Aptos Display" panose="020B0004020202020204" pitchFamily="34" charset="0"/>
                        </a:rPr>
                        <a:t>4</a:t>
                      </a:r>
                      <a:r>
                        <a:rPr lang="en-IN" sz="1100" b="0" i="0" u="none" strike="noStrike" cap="none" spc="0" dirty="0">
                          <a:solidFill>
                            <a:schemeClr val="bg1"/>
                          </a:solidFill>
                          <a:effectLst/>
                          <a:latin typeface="Aptos Display" panose="020B0004020202020204" pitchFamily="34" charset="0"/>
                        </a:rPr>
                        <a:t>680 Gen2</a:t>
                      </a:r>
                    </a:p>
                  </a:txBody>
                  <a:tcPr marL="9525" marR="9525" marT="9525" marB="0" anchor="ctr"/>
                </a:tc>
                <a:tc rowSpan="2">
                  <a:txBody>
                    <a:bodyPr/>
                    <a:lstStyle/>
                    <a:p>
                      <a:pPr algn="ctr" fontAlgn="b"/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T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66960176"/>
                  </a:ext>
                </a:extLst>
              </a:tr>
              <a:tr h="152756">
                <a:tc vMerge="1">
                  <a:txBody>
                    <a:bodyPr/>
                    <a:lstStyle/>
                    <a:p>
                      <a:pPr algn="ctr" fontAlgn="b"/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ctr"/>
                </a:tc>
                <a:tc vMerge="1">
                  <a:txBody>
                    <a:bodyPr/>
                    <a:lstStyle/>
                    <a:p>
                      <a:pPr algn="ctr" fontAlgn="b"/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u="none" strike="noStrike" dirty="0">
                          <a:effectLst/>
                        </a:rPr>
                        <a:t>B</a:t>
                      </a:r>
                      <a:endParaRPr lang="en-IN" sz="11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en-IN" sz="11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619124846"/>
                  </a:ext>
                </a:extLst>
              </a:tr>
              <a:tr h="152756">
                <a:tc rowSpan="2"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cap="none" spc="0" dirty="0" err="1">
                          <a:solidFill>
                            <a:schemeClr val="bg1"/>
                          </a:solidFill>
                          <a:effectLst/>
                          <a:latin typeface="Aptos Display" panose="020B0004020202020204" pitchFamily="34" charset="0"/>
                        </a:rPr>
                        <a:t>Blivex</a:t>
                      </a:r>
                      <a:r>
                        <a:rPr lang="en-US" sz="1100" b="0" i="0" u="none" strike="noStrike" cap="none" spc="0" dirty="0">
                          <a:solidFill>
                            <a:schemeClr val="bg1"/>
                          </a:solidFill>
                          <a:effectLst/>
                          <a:latin typeface="Aptos Display" panose="020B0004020202020204" pitchFamily="34" charset="0"/>
                        </a:rPr>
                        <a:t> 32700</a:t>
                      </a:r>
                      <a:endParaRPr lang="en-IN" sz="1100" b="0" i="0" u="none" strike="noStrike" cap="none" spc="0" dirty="0">
                        <a:solidFill>
                          <a:schemeClr val="bg1"/>
                        </a:solidFill>
                        <a:effectLst/>
                        <a:latin typeface="Aptos Display" panose="020B0004020202020204" pitchFamily="34" charset="0"/>
                      </a:endParaRPr>
                    </a:p>
                  </a:txBody>
                  <a:tcPr marL="9525" marR="9525" marT="9525" marB="0" anchor="ctr"/>
                </a:tc>
                <a:tc rowSpan="2">
                  <a:txBody>
                    <a:bodyPr/>
                    <a:lstStyle/>
                    <a:p>
                      <a:pPr algn="ctr" fontAlgn="b"/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T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en-IN" sz="11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422791201"/>
                  </a:ext>
                </a:extLst>
              </a:tr>
              <a:tr h="152756">
                <a:tc vMerge="1">
                  <a:txBody>
                    <a:bodyPr/>
                    <a:lstStyle/>
                    <a:p>
                      <a:pPr algn="ctr" fontAlgn="b"/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ctr"/>
                </a:tc>
                <a:tc vMerge="1">
                  <a:txBody>
                    <a:bodyPr/>
                    <a:lstStyle/>
                    <a:p>
                      <a:pPr algn="ctr" fontAlgn="b"/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u="none" strike="noStrike" dirty="0">
                          <a:effectLst/>
                        </a:rPr>
                        <a:t>B</a:t>
                      </a:r>
                      <a:endParaRPr lang="en-IN" sz="11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en-IN" sz="11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57336243"/>
                  </a:ext>
                </a:extLst>
              </a:tr>
              <a:tr h="182464">
                <a:tc rowSpan="2"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cap="none" spc="0" dirty="0">
                          <a:solidFill>
                            <a:schemeClr val="bg1"/>
                          </a:solidFill>
                          <a:effectLst/>
                          <a:latin typeface="Aptos Display" panose="020B0004020202020204" pitchFamily="34" charset="0"/>
                        </a:rPr>
                        <a:t>CBAK 32140</a:t>
                      </a:r>
                      <a:endParaRPr lang="en-IN" sz="1100" b="0" i="0" u="none" strike="noStrike" cap="none" spc="0" dirty="0">
                        <a:solidFill>
                          <a:schemeClr val="bg1"/>
                        </a:solidFill>
                        <a:effectLst/>
                        <a:latin typeface="Aptos Display" panose="020B0004020202020204" pitchFamily="34" charset="0"/>
                      </a:endParaRPr>
                    </a:p>
                  </a:txBody>
                  <a:tcPr marL="9525" marR="9525" marT="9525" marB="0" anchor="ctr"/>
                </a:tc>
                <a:tc rowSpan="2">
                  <a:txBody>
                    <a:bodyPr/>
                    <a:lstStyle/>
                    <a:p>
                      <a:pPr algn="ctr" fontAlgn="b"/>
                      <a:endParaRPr lang="en-IN" sz="11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IN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  <a:ea typeface="+mn-ea"/>
                          <a:cs typeface="+mn-cs"/>
                        </a:rPr>
                        <a:t>T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en-IN" sz="11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en-IN" sz="11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en-IN" sz="11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830862982"/>
                  </a:ext>
                </a:extLst>
              </a:tr>
              <a:tr h="152756">
                <a:tc vMerge="1">
                  <a:txBody>
                    <a:bodyPr/>
                    <a:lstStyle/>
                    <a:p>
                      <a:pPr algn="ctr" fontAlgn="b"/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ctr"/>
                </a:tc>
                <a:tc vMerge="1">
                  <a:txBody>
                    <a:bodyPr/>
                    <a:lstStyle/>
                    <a:p>
                      <a:pPr algn="ctr" fontAlgn="b"/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IN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  <a:ea typeface="+mn-ea"/>
                          <a:cs typeface="+mn-cs"/>
                        </a:rPr>
                        <a:t>B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en-IN" sz="11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en-IN" sz="11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78929003"/>
                  </a:ext>
                </a:extLst>
              </a:tr>
              <a:tr h="152756">
                <a:tc rowSpan="2">
                  <a:txBody>
                    <a:bodyPr/>
                    <a:lstStyle/>
                    <a:p>
                      <a:pPr algn="ctr" fontAlgn="b"/>
                      <a:r>
                        <a:rPr lang="en-IN" sz="1100" b="0" u="none" strike="noStrike" cap="none" spc="0" dirty="0">
                          <a:solidFill>
                            <a:schemeClr val="bg1"/>
                          </a:solidFill>
                          <a:effectLst/>
                          <a:latin typeface="Aptos Display" panose="020B0004020202020204" pitchFamily="34" charset="0"/>
                        </a:rPr>
                        <a:t>EVE 5.0_21700</a:t>
                      </a:r>
                      <a:endParaRPr lang="en-IN" sz="1100" b="0" i="0" u="none" strike="noStrike" cap="none" spc="0" dirty="0">
                        <a:solidFill>
                          <a:schemeClr val="bg1"/>
                        </a:solidFill>
                        <a:effectLst/>
                        <a:latin typeface="Aptos Display" panose="020B0004020202020204" pitchFamily="34" charset="0"/>
                      </a:endParaRPr>
                    </a:p>
                  </a:txBody>
                  <a:tcPr marL="9525" marR="9525" marT="9525" marB="0" anchor="ctr"/>
                </a:tc>
                <a:tc rowSpan="2">
                  <a:txBody>
                    <a:bodyPr/>
                    <a:lstStyle/>
                    <a:p>
                      <a:pPr algn="ctr" fontAlgn="b"/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T</a:t>
                      </a:r>
                      <a:endParaRPr lang="en-IN" sz="11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en-IN" sz="11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322473601"/>
                  </a:ext>
                </a:extLst>
              </a:tr>
              <a:tr h="152756">
                <a:tc vMerge="1">
                  <a:txBody>
                    <a:bodyPr/>
                    <a:lstStyle/>
                    <a:p>
                      <a:pPr algn="ctr" fontAlgn="b"/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ctr"/>
                </a:tc>
                <a:tc vMerge="1">
                  <a:txBody>
                    <a:bodyPr/>
                    <a:lstStyle/>
                    <a:p>
                      <a:pPr algn="ctr" fontAlgn="b"/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B</a:t>
                      </a:r>
                      <a:endParaRPr lang="en-IN" sz="11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en-IN" sz="11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en-IN" sz="11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699113816"/>
                  </a:ext>
                </a:extLst>
              </a:tr>
              <a:tr h="152756">
                <a:tc rowSpan="2">
                  <a:txBody>
                    <a:bodyPr/>
                    <a:lstStyle/>
                    <a:p>
                      <a:pPr algn="ctr" fontAlgn="b"/>
                      <a:r>
                        <a:rPr lang="en-IN" sz="1100" b="0" u="none" strike="noStrike" cap="none" spc="0" dirty="0" err="1">
                          <a:solidFill>
                            <a:schemeClr val="bg1"/>
                          </a:solidFill>
                          <a:effectLst/>
                          <a:latin typeface="Aptos Display" panose="020B0004020202020204" pitchFamily="34" charset="0"/>
                        </a:rPr>
                        <a:t>Moilicell</a:t>
                      </a:r>
                      <a:r>
                        <a:rPr lang="en-IN" sz="1100" b="0" u="none" strike="noStrike" cap="none" spc="0" dirty="0">
                          <a:solidFill>
                            <a:schemeClr val="bg1"/>
                          </a:solidFill>
                          <a:effectLst/>
                          <a:latin typeface="Aptos Display" panose="020B0004020202020204" pitchFamily="34" charset="0"/>
                        </a:rPr>
                        <a:t> 4.2 21700</a:t>
                      </a:r>
                      <a:endParaRPr lang="en-IN" sz="1100" b="0" i="0" u="none" strike="noStrike" cap="none" spc="0" dirty="0">
                        <a:solidFill>
                          <a:schemeClr val="bg1"/>
                        </a:solidFill>
                        <a:effectLst/>
                        <a:latin typeface="Aptos Display" panose="020B0004020202020204" pitchFamily="34" charset="0"/>
                      </a:endParaRPr>
                    </a:p>
                  </a:txBody>
                  <a:tcPr marL="9525" marR="9525" marT="9525" marB="0" anchor="ctr"/>
                </a:tc>
                <a:tc rowSpan="2">
                  <a:txBody>
                    <a:bodyPr/>
                    <a:lstStyle/>
                    <a:p>
                      <a:pPr algn="ctr" fontAlgn="b"/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T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en-IN" sz="11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583229237"/>
                  </a:ext>
                </a:extLst>
              </a:tr>
              <a:tr h="152756">
                <a:tc vMerge="1">
                  <a:txBody>
                    <a:bodyPr/>
                    <a:lstStyle/>
                    <a:p>
                      <a:pPr algn="ctr" fontAlgn="b"/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ctr"/>
                </a:tc>
                <a:tc vMerge="1">
                  <a:txBody>
                    <a:bodyPr/>
                    <a:lstStyle/>
                    <a:p>
                      <a:pPr algn="ctr" fontAlgn="b"/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u="none" strike="noStrike" dirty="0">
                          <a:effectLst/>
                        </a:rPr>
                        <a:t>B</a:t>
                      </a:r>
                      <a:endParaRPr lang="en-IN" sz="11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en-IN" sz="11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249968119"/>
                  </a:ext>
                </a:extLst>
              </a:tr>
              <a:tr h="152756"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i="0" u="none" strike="noStrike" cap="none" spc="0" dirty="0">
                          <a:solidFill>
                            <a:schemeClr val="bg1"/>
                          </a:solidFill>
                          <a:effectLst/>
                          <a:latin typeface="Aptos Display" panose="020B0004020202020204" pitchFamily="34" charset="0"/>
                        </a:rPr>
                        <a:t>RIN 5.8_21700</a:t>
                      </a:r>
                      <a:endParaRPr lang="en-IN" sz="1100" b="0" i="0" u="none" strike="noStrike" cap="none" spc="0" dirty="0">
                        <a:solidFill>
                          <a:schemeClr val="bg1"/>
                        </a:solidFill>
                        <a:effectLst/>
                        <a:latin typeface="Aptos Display" panose="020B0004020202020204" pitchFamily="34" charset="0"/>
                      </a:endParaRPr>
                    </a:p>
                  </a:txBody>
                  <a:tcPr marL="9525" marR="9525" marT="9525" marB="0" anchor="ctr"/>
                </a:tc>
                <a:tc rowSpan="2">
                  <a:txBody>
                    <a:bodyPr/>
                    <a:lstStyle/>
                    <a:p>
                      <a:pPr algn="ctr" fontAlgn="b"/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T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en-IN" sz="11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333803840"/>
                  </a:ext>
                </a:extLst>
              </a:tr>
              <a:tr h="152756">
                <a:tc vMerge="1">
                  <a:txBody>
                    <a:bodyPr/>
                    <a:lstStyle/>
                    <a:p>
                      <a:pPr algn="ctr" fontAlgn="b"/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ctr"/>
                </a:tc>
                <a:tc vMerge="1">
                  <a:txBody>
                    <a:bodyPr/>
                    <a:lstStyle/>
                    <a:p>
                      <a:pPr algn="ctr" fontAlgn="b"/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u="none" strike="noStrike" dirty="0">
                          <a:effectLst/>
                        </a:rPr>
                        <a:t>B</a:t>
                      </a:r>
                      <a:endParaRPr lang="en-IN" sz="11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en-IN" sz="11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891170612"/>
                  </a:ext>
                </a:extLst>
              </a:tr>
            </a:tbl>
          </a:graphicData>
        </a:graphic>
      </p:graphicFrame>
      <p:sp>
        <p:nvSpPr>
          <p:cNvPr id="458" name="TextBox 457">
            <a:extLst>
              <a:ext uri="{FF2B5EF4-FFF2-40B4-BE49-F238E27FC236}">
                <a16:creationId xmlns:a16="http://schemas.microsoft.com/office/drawing/2014/main" id="{C555477A-6198-262C-B87D-D97F35BE9E4A}"/>
              </a:ext>
            </a:extLst>
          </p:cNvPr>
          <p:cNvSpPr txBox="1"/>
          <p:nvPr/>
        </p:nvSpPr>
        <p:spPr>
          <a:xfrm rot="16200000">
            <a:off x="1897606" y="2343893"/>
            <a:ext cx="97443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/>
              <a:t>Cathode</a:t>
            </a:r>
          </a:p>
        </p:txBody>
      </p:sp>
      <p:sp>
        <p:nvSpPr>
          <p:cNvPr id="6" name="Title 3">
            <a:extLst>
              <a:ext uri="{FF2B5EF4-FFF2-40B4-BE49-F238E27FC236}">
                <a16:creationId xmlns:a16="http://schemas.microsoft.com/office/drawing/2014/main" id="{6B977FB3-21BF-25F8-61ED-925864915288}"/>
              </a:ext>
            </a:extLst>
          </p:cNvPr>
          <p:cNvSpPr txBox="1">
            <a:spLocks/>
          </p:cNvSpPr>
          <p:nvPr/>
        </p:nvSpPr>
        <p:spPr>
          <a:xfrm>
            <a:off x="1937568" y="125304"/>
            <a:ext cx="8772341" cy="501015"/>
          </a:xfrm>
          <a:prstGeom prst="homePlate">
            <a:avLst>
              <a:gd name="adj" fmla="val 110000"/>
            </a:avLst>
          </a:prstGeom>
          <a:solidFill>
            <a:srgbClr val="F8CBAD"/>
          </a:solidFill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Gotham" pitchFamily="50" charset="0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</a:pPr>
            <a:r>
              <a:rPr lang="en-IN" sz="2800" b="1" dirty="0"/>
              <a:t>Cathode Electrode Design: Overall comparison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CB1A1857-9B43-E0A4-A91E-B60D3B24FBB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569489" y="4430800"/>
            <a:ext cx="7053022" cy="1912850"/>
          </a:xfrm>
          <a:prstGeom prst="rect">
            <a:avLst/>
          </a:prstGeom>
          <a:ln>
            <a:solidFill>
              <a:schemeClr val="accent2"/>
            </a:solidFill>
          </a:ln>
        </p:spPr>
      </p:pic>
    </p:spTree>
    <p:extLst>
      <p:ext uri="{BB962C8B-B14F-4D97-AF65-F5344CB8AC3E}">
        <p14:creationId xmlns:p14="http://schemas.microsoft.com/office/powerpoint/2010/main" val="414848163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02" name="Table 401">
            <a:extLst>
              <a:ext uri="{FF2B5EF4-FFF2-40B4-BE49-F238E27FC236}">
                <a16:creationId xmlns:a16="http://schemas.microsoft.com/office/drawing/2014/main" id="{517DB3D8-4578-A3C4-E8EB-EB531C2997D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43137433"/>
              </p:ext>
            </p:extLst>
          </p:nvPr>
        </p:nvGraphicFramePr>
        <p:xfrm>
          <a:off x="2639524" y="1284659"/>
          <a:ext cx="6557458" cy="2901142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1256202">
                  <a:extLst>
                    <a:ext uri="{9D8B030D-6E8A-4147-A177-3AD203B41FA5}">
                      <a16:colId xmlns:a16="http://schemas.microsoft.com/office/drawing/2014/main" val="2997465596"/>
                    </a:ext>
                  </a:extLst>
                </a:gridCol>
                <a:gridCol w="780553">
                  <a:extLst>
                    <a:ext uri="{9D8B030D-6E8A-4147-A177-3AD203B41FA5}">
                      <a16:colId xmlns:a16="http://schemas.microsoft.com/office/drawing/2014/main" val="987730639"/>
                    </a:ext>
                  </a:extLst>
                </a:gridCol>
                <a:gridCol w="608549">
                  <a:extLst>
                    <a:ext uri="{9D8B030D-6E8A-4147-A177-3AD203B41FA5}">
                      <a16:colId xmlns:a16="http://schemas.microsoft.com/office/drawing/2014/main" val="2651580601"/>
                    </a:ext>
                  </a:extLst>
                </a:gridCol>
                <a:gridCol w="789942">
                  <a:extLst>
                    <a:ext uri="{9D8B030D-6E8A-4147-A177-3AD203B41FA5}">
                      <a16:colId xmlns:a16="http://schemas.microsoft.com/office/drawing/2014/main" val="3254169733"/>
                    </a:ext>
                  </a:extLst>
                </a:gridCol>
                <a:gridCol w="780553">
                  <a:extLst>
                    <a:ext uri="{9D8B030D-6E8A-4147-A177-3AD203B41FA5}">
                      <a16:colId xmlns:a16="http://schemas.microsoft.com/office/drawing/2014/main" val="3448824811"/>
                    </a:ext>
                  </a:extLst>
                </a:gridCol>
                <a:gridCol w="780553">
                  <a:extLst>
                    <a:ext uri="{9D8B030D-6E8A-4147-A177-3AD203B41FA5}">
                      <a16:colId xmlns:a16="http://schemas.microsoft.com/office/drawing/2014/main" val="406089039"/>
                    </a:ext>
                  </a:extLst>
                </a:gridCol>
                <a:gridCol w="780553">
                  <a:extLst>
                    <a:ext uri="{9D8B030D-6E8A-4147-A177-3AD203B41FA5}">
                      <a16:colId xmlns:a16="http://schemas.microsoft.com/office/drawing/2014/main" val="1546298260"/>
                    </a:ext>
                  </a:extLst>
                </a:gridCol>
                <a:gridCol w="780553">
                  <a:extLst>
                    <a:ext uri="{9D8B030D-6E8A-4147-A177-3AD203B41FA5}">
                      <a16:colId xmlns:a16="http://schemas.microsoft.com/office/drawing/2014/main" val="645198476"/>
                    </a:ext>
                  </a:extLst>
                </a:gridCol>
              </a:tblGrid>
              <a:tr h="190500">
                <a:tc>
                  <a:txBody>
                    <a:bodyPr/>
                    <a:lstStyle/>
                    <a:p>
                      <a:pPr algn="ctr" fontAlgn="b"/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u="none" strike="noStrike">
                          <a:effectLst/>
                        </a:rPr>
                        <a:t>Length</a:t>
                      </a:r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chemeClr val="bg1"/>
                          </a:solidFill>
                          <a:effectLst/>
                          <a:latin typeface="Aptos Narrow" panose="020B0004020202020204" pitchFamily="34" charset="0"/>
                        </a:rPr>
                        <a:t>Side</a:t>
                      </a:r>
                      <a:endParaRPr lang="en-IN" sz="1100" b="0" i="0" u="none" strike="noStrike" dirty="0">
                        <a:solidFill>
                          <a:schemeClr val="bg1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u="none" strike="noStrike">
                          <a:effectLst/>
                        </a:rPr>
                        <a:t>L3a1/L3b1</a:t>
                      </a:r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u="none" strike="noStrike">
                          <a:effectLst/>
                        </a:rPr>
                        <a:t>L1a/L1b</a:t>
                      </a:r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u="none" strike="noStrike">
                          <a:effectLst/>
                        </a:rPr>
                        <a:t>T</a:t>
                      </a:r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u="none" strike="noStrike">
                          <a:effectLst/>
                        </a:rPr>
                        <a:t>L2a/L2b</a:t>
                      </a:r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u="none" strike="noStrike">
                          <a:effectLst/>
                        </a:rPr>
                        <a:t>L3a2/L3b2</a:t>
                      </a:r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195889831"/>
                  </a:ext>
                </a:extLst>
              </a:tr>
              <a:tr h="190500">
                <a:tc rowSpan="2"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B</a:t>
                      </a:r>
                      <a:r>
                        <a:rPr lang="en-I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AK 5.5_21700</a:t>
                      </a:r>
                    </a:p>
                  </a:txBody>
                  <a:tcPr marL="9525" marR="9525" marT="9525" marB="0" anchor="ctr"/>
                </a:tc>
                <a:tc rowSpan="2">
                  <a:txBody>
                    <a:bodyPr/>
                    <a:lstStyle/>
                    <a:p>
                      <a:pPr algn="ctr" fontAlgn="b"/>
                      <a:endParaRPr lang="en-IN" sz="11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T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en-IN" sz="11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58207229"/>
                  </a:ext>
                </a:extLst>
              </a:tr>
              <a:tr h="190500">
                <a:tc vMerge="1">
                  <a:txBody>
                    <a:bodyPr/>
                    <a:lstStyle/>
                    <a:p>
                      <a:pPr algn="ctr" fontAlgn="b"/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ctr"/>
                </a:tc>
                <a:tc vMerge="1">
                  <a:txBody>
                    <a:bodyPr/>
                    <a:lstStyle/>
                    <a:p>
                      <a:pPr algn="ctr" fontAlgn="b"/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u="none" strike="noStrike" dirty="0">
                          <a:effectLst/>
                        </a:rPr>
                        <a:t>B</a:t>
                      </a:r>
                      <a:endParaRPr lang="en-IN" sz="11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en-IN" sz="11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800341326"/>
                  </a:ext>
                </a:extLst>
              </a:tr>
              <a:tr h="190500">
                <a:tc rowSpan="2"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4680 Gen2</a:t>
                      </a:r>
                      <a:endParaRPr lang="en-IN" sz="11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ctr"/>
                </a:tc>
                <a:tc rowSpan="2">
                  <a:txBody>
                    <a:bodyPr/>
                    <a:lstStyle/>
                    <a:p>
                      <a:pPr algn="ctr" fontAlgn="b"/>
                      <a:endParaRPr lang="en-IN" sz="11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T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en-IN" sz="11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966886885"/>
                  </a:ext>
                </a:extLst>
              </a:tr>
              <a:tr h="234142">
                <a:tc vMerge="1">
                  <a:txBody>
                    <a:bodyPr/>
                    <a:lstStyle/>
                    <a:p>
                      <a:pPr algn="ctr" fontAlgn="b"/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ctr"/>
                </a:tc>
                <a:tc vMerge="1">
                  <a:txBody>
                    <a:bodyPr/>
                    <a:lstStyle/>
                    <a:p>
                      <a:pPr algn="ctr" fontAlgn="b"/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u="none" strike="noStrike" dirty="0">
                          <a:effectLst/>
                        </a:rPr>
                        <a:t>B</a:t>
                      </a:r>
                      <a:endParaRPr lang="en-IN" sz="11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en-IN" sz="11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550909629"/>
                  </a:ext>
                </a:extLst>
              </a:tr>
              <a:tr h="190500">
                <a:tc rowSpan="2"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B</a:t>
                      </a:r>
                      <a:r>
                        <a:rPr lang="en-IN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livex</a:t>
                      </a:r>
                      <a:r>
                        <a:rPr lang="en-I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 32700</a:t>
                      </a:r>
                    </a:p>
                  </a:txBody>
                  <a:tcPr marL="9525" marR="9525" marT="9525" marB="0" anchor="ctr"/>
                </a:tc>
                <a:tc rowSpan="2">
                  <a:txBody>
                    <a:bodyPr/>
                    <a:lstStyle/>
                    <a:p>
                      <a:pPr algn="ctr" fontAlgn="b"/>
                      <a:endParaRPr lang="en-IN" sz="11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T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en-IN" sz="11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en-IN" sz="11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005094731"/>
                  </a:ext>
                </a:extLst>
              </a:tr>
              <a:tr h="190500">
                <a:tc vMerge="1">
                  <a:txBody>
                    <a:bodyPr/>
                    <a:lstStyle/>
                    <a:p>
                      <a:pPr algn="ctr" fontAlgn="b"/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ctr"/>
                </a:tc>
                <a:tc vMerge="1">
                  <a:txBody>
                    <a:bodyPr/>
                    <a:lstStyle/>
                    <a:p>
                      <a:pPr algn="ctr" fontAlgn="b"/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u="none" strike="noStrike" dirty="0">
                          <a:effectLst/>
                        </a:rPr>
                        <a:t>B</a:t>
                      </a:r>
                      <a:endParaRPr lang="en-IN" sz="11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en-IN" sz="11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en-IN" sz="11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en-IN" sz="11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en-IN" sz="11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en-IN" sz="11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772825282"/>
                  </a:ext>
                </a:extLst>
              </a:tr>
              <a:tr h="190500">
                <a:tc rowSpan="2"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  <a:ea typeface="+mn-ea"/>
                          <a:cs typeface="+mn-cs"/>
                        </a:rPr>
                        <a:t>CBAK 32140</a:t>
                      </a:r>
                      <a:endParaRPr lang="en-IN" sz="1100" b="0" i="0" u="none" strike="noStrike" kern="1200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IN" sz="1100" b="0" i="0" u="none" strike="noStrike" kern="1200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IN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  <a:ea typeface="+mn-ea"/>
                          <a:cs typeface="+mn-cs"/>
                        </a:rPr>
                        <a:t>T</a:t>
                      </a:r>
                    </a:p>
                  </a:txBody>
                  <a:tcPr marL="9525" marR="9525" marT="9525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IN" sz="1100" b="0" i="0" u="none" strike="noStrike" kern="1200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IN" sz="1100" b="0" i="0" u="none" strike="noStrike" kern="1200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IN" sz="1100" b="0" i="0" u="none" strike="noStrike" kern="1200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IN" sz="1100" b="0" i="0" u="none" strike="noStrike" kern="1200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IN" sz="1100" b="0" i="0" u="none" strike="noStrike" kern="1200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92490800"/>
                  </a:ext>
                </a:extLst>
              </a:tr>
              <a:tr h="190500">
                <a:tc vMerge="1">
                  <a:txBody>
                    <a:bodyPr/>
                    <a:lstStyle/>
                    <a:p>
                      <a:pPr algn="ctr" fontAlgn="b"/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ctr"/>
                </a:tc>
                <a:tc vMerge="1">
                  <a:txBody>
                    <a:bodyPr/>
                    <a:lstStyle/>
                    <a:p>
                      <a:pPr algn="ctr" fontAlgn="b"/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IN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  <a:ea typeface="+mn-ea"/>
                          <a:cs typeface="+mn-cs"/>
                        </a:rPr>
                        <a:t>B</a:t>
                      </a:r>
                    </a:p>
                  </a:txBody>
                  <a:tcPr marL="9525" marR="9525" marT="9525" marB="0" anchor="ctr"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IN" sz="1100" b="0" i="0" u="none" strike="noStrike" kern="1200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IN" sz="1100" b="0" i="0" u="none" strike="noStrike" kern="1200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IN" sz="1100" b="0" i="0" u="none" strike="noStrike" kern="1200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IN" sz="1100" b="0" i="0" u="none" strike="noStrike" kern="1200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IN" sz="1100" b="0" i="0" u="none" strike="noStrike" kern="1200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75666599"/>
                  </a:ext>
                </a:extLst>
              </a:tr>
              <a:tr h="190500">
                <a:tc rowSpan="2"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EVE 5.0 _21700</a:t>
                      </a:r>
                      <a:endParaRPr lang="en-IN" sz="11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en-IN" sz="11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T</a:t>
                      </a:r>
                      <a:endParaRPr lang="en-IN" sz="11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en-IN" sz="11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en-IN" sz="11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en-IN" sz="11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797729650"/>
                  </a:ext>
                </a:extLst>
              </a:tr>
              <a:tr h="190500">
                <a:tc vMerge="1">
                  <a:txBody>
                    <a:bodyPr/>
                    <a:lstStyle/>
                    <a:p>
                      <a:pPr algn="ctr" fontAlgn="b"/>
                      <a:endParaRPr lang="en-IN" sz="11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en-IN" sz="11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B</a:t>
                      </a:r>
                      <a:endParaRPr lang="en-IN" sz="11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en-IN" sz="11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en-IN" sz="11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en-IN" sz="11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en-IN" sz="11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022279299"/>
                  </a:ext>
                </a:extLst>
              </a:tr>
              <a:tr h="190500">
                <a:tc rowSpan="2">
                  <a:txBody>
                    <a:bodyPr/>
                    <a:lstStyle/>
                    <a:p>
                      <a:pPr algn="ctr" fontAlgn="b"/>
                      <a:r>
                        <a:rPr lang="en-IN" sz="1100" u="none" strike="noStrike" dirty="0" err="1">
                          <a:effectLst/>
                        </a:rPr>
                        <a:t>Molicell</a:t>
                      </a:r>
                      <a:r>
                        <a:rPr lang="en-IN" sz="1100" u="none" strike="noStrike" dirty="0">
                          <a:effectLst/>
                        </a:rPr>
                        <a:t> 4.2_21700</a:t>
                      </a:r>
                      <a:endParaRPr lang="en-IN" sz="11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ctr"/>
                </a:tc>
                <a:tc rowSpan="2">
                  <a:txBody>
                    <a:bodyPr/>
                    <a:lstStyle/>
                    <a:p>
                      <a:pPr algn="ctr" fontAlgn="b"/>
                      <a:endParaRPr lang="en-IN" sz="11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T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en-IN" sz="11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en-IN" sz="11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en-IN" sz="11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140541116"/>
                  </a:ext>
                </a:extLst>
              </a:tr>
              <a:tr h="190500">
                <a:tc vMerge="1">
                  <a:txBody>
                    <a:bodyPr/>
                    <a:lstStyle/>
                    <a:p>
                      <a:pPr algn="ctr" fontAlgn="b"/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ctr"/>
                </a:tc>
                <a:tc vMerge="1">
                  <a:txBody>
                    <a:bodyPr/>
                    <a:lstStyle/>
                    <a:p>
                      <a:pPr algn="ctr" fontAlgn="b"/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u="none" strike="noStrike" dirty="0">
                          <a:effectLst/>
                        </a:rPr>
                        <a:t>B</a:t>
                      </a:r>
                      <a:endParaRPr lang="en-IN" sz="11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en-IN" sz="11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en-IN" sz="11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en-IN" sz="11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en-IN" sz="11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en-IN" sz="11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926260993"/>
                  </a:ext>
                </a:extLst>
              </a:tr>
              <a:tr h="190500">
                <a:tc rowSpan="2"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R</a:t>
                      </a:r>
                      <a:r>
                        <a:rPr lang="en-I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IN 5.8_21700</a:t>
                      </a:r>
                    </a:p>
                  </a:txBody>
                  <a:tcPr marL="9525" marR="9525" marT="9525" marB="0" anchor="ctr"/>
                </a:tc>
                <a:tc rowSpan="2">
                  <a:txBody>
                    <a:bodyPr/>
                    <a:lstStyle/>
                    <a:p>
                      <a:pPr algn="ctr" fontAlgn="b"/>
                      <a:endParaRPr lang="en-IN" sz="11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T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en-IN" sz="11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en-IN" sz="11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632761512"/>
                  </a:ext>
                </a:extLst>
              </a:tr>
              <a:tr h="190500">
                <a:tc vMerge="1">
                  <a:txBody>
                    <a:bodyPr/>
                    <a:lstStyle/>
                    <a:p>
                      <a:pPr algn="ctr" fontAlgn="b"/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ctr"/>
                </a:tc>
                <a:tc vMerge="1">
                  <a:txBody>
                    <a:bodyPr/>
                    <a:lstStyle/>
                    <a:p>
                      <a:pPr algn="ctr" fontAlgn="b"/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u="none" strike="noStrike" dirty="0">
                          <a:effectLst/>
                        </a:rPr>
                        <a:t>B</a:t>
                      </a:r>
                      <a:endParaRPr lang="en-IN" sz="11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en-IN" sz="11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en-IN" sz="11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4270551"/>
                  </a:ext>
                </a:extLst>
              </a:tr>
            </a:tbl>
          </a:graphicData>
        </a:graphic>
      </p:graphicFrame>
      <p:sp>
        <p:nvSpPr>
          <p:cNvPr id="459" name="TextBox 458">
            <a:extLst>
              <a:ext uri="{FF2B5EF4-FFF2-40B4-BE49-F238E27FC236}">
                <a16:creationId xmlns:a16="http://schemas.microsoft.com/office/drawing/2014/main" id="{A369A87E-23D0-FD5F-5F36-C30B777DADB8}"/>
              </a:ext>
            </a:extLst>
          </p:cNvPr>
          <p:cNvSpPr txBox="1"/>
          <p:nvPr/>
        </p:nvSpPr>
        <p:spPr>
          <a:xfrm rot="16200000">
            <a:off x="1906955" y="2526781"/>
            <a:ext cx="79861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/>
              <a:t>Anode</a:t>
            </a:r>
          </a:p>
        </p:txBody>
      </p:sp>
      <p:sp>
        <p:nvSpPr>
          <p:cNvPr id="6" name="Title 3">
            <a:extLst>
              <a:ext uri="{FF2B5EF4-FFF2-40B4-BE49-F238E27FC236}">
                <a16:creationId xmlns:a16="http://schemas.microsoft.com/office/drawing/2014/main" id="{6B977FB3-21BF-25F8-61ED-925864915288}"/>
              </a:ext>
            </a:extLst>
          </p:cNvPr>
          <p:cNvSpPr txBox="1">
            <a:spLocks/>
          </p:cNvSpPr>
          <p:nvPr/>
        </p:nvSpPr>
        <p:spPr>
          <a:xfrm>
            <a:off x="1937568" y="125304"/>
            <a:ext cx="8315141" cy="501015"/>
          </a:xfrm>
          <a:prstGeom prst="homePlate">
            <a:avLst>
              <a:gd name="adj" fmla="val 110000"/>
            </a:avLst>
          </a:prstGeom>
          <a:solidFill>
            <a:srgbClr val="F8CBAD"/>
          </a:solidFill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Gotham" pitchFamily="50" charset="0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</a:pPr>
            <a:r>
              <a:rPr lang="en-IN" sz="2800" b="1" dirty="0"/>
              <a:t>Anode Electrode Design: Overall comparison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419D243D-8244-7025-3913-41BF47C5670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64157" y="4798451"/>
            <a:ext cx="5354096" cy="1254006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D6A13C7A-2C4D-A660-4B96-7E430347190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942700" y="4796572"/>
            <a:ext cx="4816257" cy="1255885"/>
          </a:xfrm>
          <a:prstGeom prst="rect">
            <a:avLst/>
          </a:prstGeom>
        </p:spPr>
      </p:pic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5CFD22E9-5F62-522E-AD62-3A04E013EA5E}"/>
              </a:ext>
            </a:extLst>
          </p:cNvPr>
          <p:cNvCxnSpPr/>
          <p:nvPr/>
        </p:nvCxnSpPr>
        <p:spPr>
          <a:xfrm>
            <a:off x="6433457" y="4463143"/>
            <a:ext cx="0" cy="2177143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6C987FED-DE7C-131A-3B21-4288300CDE51}"/>
              </a:ext>
            </a:extLst>
          </p:cNvPr>
          <p:cNvCxnSpPr/>
          <p:nvPr/>
        </p:nvCxnSpPr>
        <p:spPr>
          <a:xfrm>
            <a:off x="6466115" y="4463142"/>
            <a:ext cx="0" cy="2177143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9041551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able 7">
            <a:extLst>
              <a:ext uri="{FF2B5EF4-FFF2-40B4-BE49-F238E27FC236}">
                <a16:creationId xmlns:a16="http://schemas.microsoft.com/office/drawing/2014/main" id="{D0B3CD32-233B-4544-8B3A-FDD9AEE3E75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64255031"/>
              </p:ext>
            </p:extLst>
          </p:nvPr>
        </p:nvGraphicFramePr>
        <p:xfrm>
          <a:off x="156000" y="1057994"/>
          <a:ext cx="10395000" cy="3736080"/>
        </p:xfrm>
        <a:graphic>
          <a:graphicData uri="http://schemas.openxmlformats.org/drawingml/2006/table">
            <a:tbl>
              <a:tblPr firstRow="1" bandRow="1">
                <a:tableStyleId>{073A0DAA-6AF3-43AB-8588-CEC1D06C72B9}</a:tableStyleId>
              </a:tblPr>
              <a:tblGrid>
                <a:gridCol w="1485000">
                  <a:extLst>
                    <a:ext uri="{9D8B030D-6E8A-4147-A177-3AD203B41FA5}">
                      <a16:colId xmlns:a16="http://schemas.microsoft.com/office/drawing/2014/main" val="40202392"/>
                    </a:ext>
                  </a:extLst>
                </a:gridCol>
                <a:gridCol w="1485000">
                  <a:extLst>
                    <a:ext uri="{9D8B030D-6E8A-4147-A177-3AD203B41FA5}">
                      <a16:colId xmlns:a16="http://schemas.microsoft.com/office/drawing/2014/main" val="1011360498"/>
                    </a:ext>
                  </a:extLst>
                </a:gridCol>
                <a:gridCol w="1485000">
                  <a:extLst>
                    <a:ext uri="{9D8B030D-6E8A-4147-A177-3AD203B41FA5}">
                      <a16:colId xmlns:a16="http://schemas.microsoft.com/office/drawing/2014/main" val="2769497312"/>
                    </a:ext>
                  </a:extLst>
                </a:gridCol>
                <a:gridCol w="1485000">
                  <a:extLst>
                    <a:ext uri="{9D8B030D-6E8A-4147-A177-3AD203B41FA5}">
                      <a16:colId xmlns:a16="http://schemas.microsoft.com/office/drawing/2014/main" val="3122057041"/>
                    </a:ext>
                  </a:extLst>
                </a:gridCol>
                <a:gridCol w="1485000">
                  <a:extLst>
                    <a:ext uri="{9D8B030D-6E8A-4147-A177-3AD203B41FA5}">
                      <a16:colId xmlns:a16="http://schemas.microsoft.com/office/drawing/2014/main" val="3106912191"/>
                    </a:ext>
                  </a:extLst>
                </a:gridCol>
                <a:gridCol w="1485000">
                  <a:extLst>
                    <a:ext uri="{9D8B030D-6E8A-4147-A177-3AD203B41FA5}">
                      <a16:colId xmlns:a16="http://schemas.microsoft.com/office/drawing/2014/main" val="3346181596"/>
                    </a:ext>
                  </a:extLst>
                </a:gridCol>
                <a:gridCol w="1485000">
                  <a:extLst>
                    <a:ext uri="{9D8B030D-6E8A-4147-A177-3AD203B41FA5}">
                      <a16:colId xmlns:a16="http://schemas.microsoft.com/office/drawing/2014/main" val="2287965158"/>
                    </a:ext>
                  </a:extLst>
                </a:gridCol>
              </a:tblGrid>
              <a:tr h="324000">
                <a:tc>
                  <a:txBody>
                    <a:bodyPr/>
                    <a:lstStyle/>
                    <a:p>
                      <a:pPr algn="ctr"/>
                      <a:r>
                        <a:rPr lang="en-IN" dirty="0"/>
                        <a:t>BAK 5.5_ 21700</a:t>
                      </a:r>
                    </a:p>
                  </a:txBody>
                  <a:tcP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b="0" i="0" u="none" strike="noStrike" cap="none" spc="0" dirty="0">
                          <a:solidFill>
                            <a:schemeClr val="bg1"/>
                          </a:solidFill>
                          <a:effectLst/>
                          <a:latin typeface="Aptos Display" panose="020B0004020202020204" pitchFamily="34" charset="0"/>
                        </a:rPr>
                        <a:t>4</a:t>
                      </a:r>
                      <a:r>
                        <a:rPr lang="en-IN" sz="1800" b="0" i="0" u="none" strike="noStrike" cap="none" spc="0" dirty="0">
                          <a:solidFill>
                            <a:schemeClr val="bg1"/>
                          </a:solidFill>
                          <a:effectLst/>
                          <a:latin typeface="Aptos Display" panose="020B0004020202020204" pitchFamily="34" charset="0"/>
                        </a:rPr>
                        <a:t>680 Gen2</a:t>
                      </a:r>
                    </a:p>
                  </a:txBody>
                  <a:tcP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b="0" i="0" u="none" strike="noStrike" cap="none" spc="0" dirty="0" err="1">
                          <a:solidFill>
                            <a:schemeClr val="bg1"/>
                          </a:solidFill>
                          <a:effectLst/>
                          <a:latin typeface="Aptos Display" panose="020B0004020202020204" pitchFamily="34" charset="0"/>
                        </a:rPr>
                        <a:t>Blivex</a:t>
                      </a:r>
                      <a:r>
                        <a:rPr lang="en-US" sz="1800" b="0" i="0" u="none" strike="noStrike" cap="none" spc="0" dirty="0">
                          <a:solidFill>
                            <a:schemeClr val="bg1"/>
                          </a:solidFill>
                          <a:effectLst/>
                          <a:latin typeface="Aptos Display" panose="020B0004020202020204" pitchFamily="34" charset="0"/>
                        </a:rPr>
                        <a:t> 32700</a:t>
                      </a:r>
                      <a:endParaRPr lang="en-IN" sz="1800" b="0" i="0" u="none" strike="noStrike" cap="none" spc="0" dirty="0">
                        <a:solidFill>
                          <a:schemeClr val="bg1"/>
                        </a:solidFill>
                        <a:effectLst/>
                        <a:latin typeface="Aptos Display" panose="020B0004020202020204" pitchFamily="34" charset="0"/>
                      </a:endParaRPr>
                    </a:p>
                  </a:txBody>
                  <a:tcP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0" i="0" u="none" strike="noStrike" cap="none" spc="0" dirty="0">
                          <a:solidFill>
                            <a:schemeClr val="bg1"/>
                          </a:solidFill>
                          <a:effectLst/>
                          <a:latin typeface="Aptos Display" panose="020B0004020202020204" pitchFamily="34" charset="0"/>
                        </a:rPr>
                        <a:t>CBAK 32140</a:t>
                      </a:r>
                      <a:endParaRPr lang="en-IN" sz="1800" b="0" i="0" u="none" strike="noStrike" cap="none" spc="0" dirty="0">
                        <a:solidFill>
                          <a:schemeClr val="bg1"/>
                        </a:solidFill>
                        <a:effectLst/>
                        <a:latin typeface="Aptos Display" panose="020B0004020202020204" pitchFamily="34" charset="0"/>
                      </a:endParaRPr>
                    </a:p>
                  </a:txBody>
                  <a:tcP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800" b="0" u="none" strike="noStrike" cap="none" spc="0" dirty="0">
                          <a:solidFill>
                            <a:schemeClr val="bg1"/>
                          </a:solidFill>
                          <a:effectLst/>
                          <a:latin typeface="Aptos Display" panose="020B0004020202020204" pitchFamily="34" charset="0"/>
                        </a:rPr>
                        <a:t>EVE 5.0_21700</a:t>
                      </a:r>
                      <a:endParaRPr lang="en-IN" sz="1800" b="0" i="0" u="none" strike="noStrike" cap="none" spc="0" dirty="0">
                        <a:solidFill>
                          <a:schemeClr val="bg1"/>
                        </a:solidFill>
                        <a:effectLst/>
                        <a:latin typeface="Aptos Display" panose="020B0004020202020204" pitchFamily="34" charset="0"/>
                      </a:endParaRPr>
                    </a:p>
                  </a:txBody>
                  <a:tcP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1800" b="0" u="none" strike="noStrike" cap="none" spc="0" dirty="0" err="1">
                          <a:solidFill>
                            <a:schemeClr val="bg1"/>
                          </a:solidFill>
                          <a:effectLst/>
                          <a:latin typeface="Aptos Display" panose="020B0004020202020204" pitchFamily="34" charset="0"/>
                        </a:rPr>
                        <a:t>Moilicell</a:t>
                      </a:r>
                      <a:r>
                        <a:rPr lang="en-IN" sz="1800" b="0" u="none" strike="noStrike" cap="none" spc="0" dirty="0">
                          <a:solidFill>
                            <a:schemeClr val="bg1"/>
                          </a:solidFill>
                          <a:effectLst/>
                          <a:latin typeface="Aptos Display" panose="020B0004020202020204" pitchFamily="34" charset="0"/>
                        </a:rPr>
                        <a:t> 4.2 21700</a:t>
                      </a:r>
                      <a:endParaRPr lang="en-IN" sz="1800" b="0" i="0" u="none" strike="noStrike" cap="none" spc="0" dirty="0">
                        <a:solidFill>
                          <a:schemeClr val="bg1"/>
                        </a:solidFill>
                        <a:effectLst/>
                        <a:latin typeface="Aptos Display" panose="020B0004020202020204" pitchFamily="34" charset="0"/>
                      </a:endParaRPr>
                    </a:p>
                  </a:txBody>
                  <a:tcP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0" i="0" u="none" strike="noStrike" cap="none" spc="0" dirty="0">
                          <a:solidFill>
                            <a:schemeClr val="bg1"/>
                          </a:solidFill>
                          <a:effectLst/>
                          <a:latin typeface="Aptos Display" panose="020B0004020202020204" pitchFamily="34" charset="0"/>
                        </a:rPr>
                        <a:t>RIN 5.8_21700</a:t>
                      </a:r>
                      <a:endParaRPr lang="en-IN" sz="1800" b="0" i="0" u="none" strike="noStrike" cap="none" spc="0" dirty="0">
                        <a:solidFill>
                          <a:schemeClr val="bg1"/>
                        </a:solidFill>
                        <a:effectLst/>
                        <a:latin typeface="Aptos Display" panose="020B0004020202020204" pitchFamily="34" charset="0"/>
                      </a:endParaRPr>
                    </a:p>
                  </a:txBody>
                  <a:tcP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28126579"/>
                  </a:ext>
                </a:extLst>
              </a:tr>
              <a:tr h="3096000">
                <a:tc>
                  <a:txBody>
                    <a:bodyPr/>
                    <a:lstStyle/>
                    <a:p>
                      <a:endParaRPr lang="en-IN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TABLESS</a:t>
                      </a:r>
                      <a:endParaRPr lang="en-IN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IN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IN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IN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IN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IN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00036847"/>
                  </a:ext>
                </a:extLst>
              </a:tr>
            </a:tbl>
          </a:graphicData>
        </a:graphic>
      </p:graphicFrame>
      <p:pic>
        <p:nvPicPr>
          <p:cNvPr id="13" name="Picture 12">
            <a:extLst>
              <a:ext uri="{FF2B5EF4-FFF2-40B4-BE49-F238E27FC236}">
                <a16:creationId xmlns:a16="http://schemas.microsoft.com/office/drawing/2014/main" id="{730DE9D6-477C-EA1E-E37E-1B9E6D32382B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6063"/>
          <a:stretch/>
        </p:blipFill>
        <p:spPr>
          <a:xfrm>
            <a:off x="3243943" y="1889598"/>
            <a:ext cx="4372511" cy="4843098"/>
          </a:xfrm>
          <a:custGeom>
            <a:avLst/>
            <a:gdLst>
              <a:gd name="connsiteX0" fmla="*/ 0 w 4372511"/>
              <a:gd name="connsiteY0" fmla="*/ 0 h 4843098"/>
              <a:gd name="connsiteX1" fmla="*/ 634014 w 4372511"/>
              <a:gd name="connsiteY1" fmla="*/ 0 h 4843098"/>
              <a:gd name="connsiteX2" fmla="*/ 1093128 w 4372511"/>
              <a:gd name="connsiteY2" fmla="*/ 0 h 4843098"/>
              <a:gd name="connsiteX3" fmla="*/ 1595967 w 4372511"/>
              <a:gd name="connsiteY3" fmla="*/ 0 h 4843098"/>
              <a:gd name="connsiteX4" fmla="*/ 2142530 w 4372511"/>
              <a:gd name="connsiteY4" fmla="*/ 0 h 4843098"/>
              <a:gd name="connsiteX5" fmla="*/ 2601644 w 4372511"/>
              <a:gd name="connsiteY5" fmla="*/ 0 h 4843098"/>
              <a:gd name="connsiteX6" fmla="*/ 3191933 w 4372511"/>
              <a:gd name="connsiteY6" fmla="*/ 0 h 4843098"/>
              <a:gd name="connsiteX7" fmla="*/ 3738497 w 4372511"/>
              <a:gd name="connsiteY7" fmla="*/ 0 h 4843098"/>
              <a:gd name="connsiteX8" fmla="*/ 4372511 w 4372511"/>
              <a:gd name="connsiteY8" fmla="*/ 0 h 4843098"/>
              <a:gd name="connsiteX9" fmla="*/ 4372511 w 4372511"/>
              <a:gd name="connsiteY9" fmla="*/ 634984 h 4843098"/>
              <a:gd name="connsiteX10" fmla="*/ 4372511 w 4372511"/>
              <a:gd name="connsiteY10" fmla="*/ 1124675 h 4843098"/>
              <a:gd name="connsiteX11" fmla="*/ 4372511 w 4372511"/>
              <a:gd name="connsiteY11" fmla="*/ 1565935 h 4843098"/>
              <a:gd name="connsiteX12" fmla="*/ 4372511 w 4372511"/>
              <a:gd name="connsiteY12" fmla="*/ 2152488 h 4843098"/>
              <a:gd name="connsiteX13" fmla="*/ 4372511 w 4372511"/>
              <a:gd name="connsiteY13" fmla="*/ 2690610 h 4843098"/>
              <a:gd name="connsiteX14" fmla="*/ 4372511 w 4372511"/>
              <a:gd name="connsiteY14" fmla="*/ 3325594 h 4843098"/>
              <a:gd name="connsiteX15" fmla="*/ 4372511 w 4372511"/>
              <a:gd name="connsiteY15" fmla="*/ 3815285 h 4843098"/>
              <a:gd name="connsiteX16" fmla="*/ 4372511 w 4372511"/>
              <a:gd name="connsiteY16" fmla="*/ 4353407 h 4843098"/>
              <a:gd name="connsiteX17" fmla="*/ 4372511 w 4372511"/>
              <a:gd name="connsiteY17" fmla="*/ 4843098 h 4843098"/>
              <a:gd name="connsiteX18" fmla="*/ 3782222 w 4372511"/>
              <a:gd name="connsiteY18" fmla="*/ 4843098 h 4843098"/>
              <a:gd name="connsiteX19" fmla="*/ 3279383 w 4372511"/>
              <a:gd name="connsiteY19" fmla="*/ 4843098 h 4843098"/>
              <a:gd name="connsiteX20" fmla="*/ 2820270 w 4372511"/>
              <a:gd name="connsiteY20" fmla="*/ 4843098 h 4843098"/>
              <a:gd name="connsiteX21" fmla="*/ 2404881 w 4372511"/>
              <a:gd name="connsiteY21" fmla="*/ 4843098 h 4843098"/>
              <a:gd name="connsiteX22" fmla="*/ 1814592 w 4372511"/>
              <a:gd name="connsiteY22" fmla="*/ 4843098 h 4843098"/>
              <a:gd name="connsiteX23" fmla="*/ 1311753 w 4372511"/>
              <a:gd name="connsiteY23" fmla="*/ 4843098 h 4843098"/>
              <a:gd name="connsiteX24" fmla="*/ 808915 w 4372511"/>
              <a:gd name="connsiteY24" fmla="*/ 4843098 h 4843098"/>
              <a:gd name="connsiteX25" fmla="*/ 0 w 4372511"/>
              <a:gd name="connsiteY25" fmla="*/ 4843098 h 4843098"/>
              <a:gd name="connsiteX26" fmla="*/ 0 w 4372511"/>
              <a:gd name="connsiteY26" fmla="*/ 4208114 h 4843098"/>
              <a:gd name="connsiteX27" fmla="*/ 0 w 4372511"/>
              <a:gd name="connsiteY27" fmla="*/ 3766854 h 4843098"/>
              <a:gd name="connsiteX28" fmla="*/ 0 w 4372511"/>
              <a:gd name="connsiteY28" fmla="*/ 3325594 h 4843098"/>
              <a:gd name="connsiteX29" fmla="*/ 0 w 4372511"/>
              <a:gd name="connsiteY29" fmla="*/ 2932765 h 4843098"/>
              <a:gd name="connsiteX30" fmla="*/ 0 w 4372511"/>
              <a:gd name="connsiteY30" fmla="*/ 2297781 h 4843098"/>
              <a:gd name="connsiteX31" fmla="*/ 0 w 4372511"/>
              <a:gd name="connsiteY31" fmla="*/ 1711228 h 4843098"/>
              <a:gd name="connsiteX32" fmla="*/ 0 w 4372511"/>
              <a:gd name="connsiteY32" fmla="*/ 1221537 h 4843098"/>
              <a:gd name="connsiteX33" fmla="*/ 0 w 4372511"/>
              <a:gd name="connsiteY33" fmla="*/ 828708 h 4843098"/>
              <a:gd name="connsiteX34" fmla="*/ 0 w 4372511"/>
              <a:gd name="connsiteY34" fmla="*/ 0 h 48430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</a:cxnLst>
            <a:rect l="l" t="t" r="r" b="b"/>
            <a:pathLst>
              <a:path w="4372511" h="4843098" fill="none" extrusionOk="0">
                <a:moveTo>
                  <a:pt x="0" y="0"/>
                </a:moveTo>
                <a:cubicBezTo>
                  <a:pt x="156846" y="-43674"/>
                  <a:pt x="479187" y="36664"/>
                  <a:pt x="634014" y="0"/>
                </a:cubicBezTo>
                <a:cubicBezTo>
                  <a:pt x="788841" y="-36664"/>
                  <a:pt x="920464" y="8929"/>
                  <a:pt x="1093128" y="0"/>
                </a:cubicBezTo>
                <a:cubicBezTo>
                  <a:pt x="1265792" y="-8929"/>
                  <a:pt x="1430241" y="23777"/>
                  <a:pt x="1595967" y="0"/>
                </a:cubicBezTo>
                <a:cubicBezTo>
                  <a:pt x="1761693" y="-23777"/>
                  <a:pt x="1936503" y="37005"/>
                  <a:pt x="2142530" y="0"/>
                </a:cubicBezTo>
                <a:cubicBezTo>
                  <a:pt x="2348557" y="-37005"/>
                  <a:pt x="2408120" y="37579"/>
                  <a:pt x="2601644" y="0"/>
                </a:cubicBezTo>
                <a:cubicBezTo>
                  <a:pt x="2795168" y="-37579"/>
                  <a:pt x="2932561" y="7069"/>
                  <a:pt x="3191933" y="0"/>
                </a:cubicBezTo>
                <a:cubicBezTo>
                  <a:pt x="3451305" y="-7069"/>
                  <a:pt x="3623541" y="40459"/>
                  <a:pt x="3738497" y="0"/>
                </a:cubicBezTo>
                <a:cubicBezTo>
                  <a:pt x="3853453" y="-40459"/>
                  <a:pt x="4213904" y="61035"/>
                  <a:pt x="4372511" y="0"/>
                </a:cubicBezTo>
                <a:cubicBezTo>
                  <a:pt x="4431070" y="170929"/>
                  <a:pt x="4358218" y="347120"/>
                  <a:pt x="4372511" y="634984"/>
                </a:cubicBezTo>
                <a:cubicBezTo>
                  <a:pt x="4386804" y="922848"/>
                  <a:pt x="4351741" y="910084"/>
                  <a:pt x="4372511" y="1124675"/>
                </a:cubicBezTo>
                <a:cubicBezTo>
                  <a:pt x="4393281" y="1339266"/>
                  <a:pt x="4325835" y="1347432"/>
                  <a:pt x="4372511" y="1565935"/>
                </a:cubicBezTo>
                <a:cubicBezTo>
                  <a:pt x="4419187" y="1784438"/>
                  <a:pt x="4331340" y="1913821"/>
                  <a:pt x="4372511" y="2152488"/>
                </a:cubicBezTo>
                <a:cubicBezTo>
                  <a:pt x="4413682" y="2391155"/>
                  <a:pt x="4313392" y="2577136"/>
                  <a:pt x="4372511" y="2690610"/>
                </a:cubicBezTo>
                <a:cubicBezTo>
                  <a:pt x="4431630" y="2804084"/>
                  <a:pt x="4323954" y="3037520"/>
                  <a:pt x="4372511" y="3325594"/>
                </a:cubicBezTo>
                <a:cubicBezTo>
                  <a:pt x="4421068" y="3613668"/>
                  <a:pt x="4365795" y="3706241"/>
                  <a:pt x="4372511" y="3815285"/>
                </a:cubicBezTo>
                <a:cubicBezTo>
                  <a:pt x="4379227" y="3924329"/>
                  <a:pt x="4336002" y="4240823"/>
                  <a:pt x="4372511" y="4353407"/>
                </a:cubicBezTo>
                <a:cubicBezTo>
                  <a:pt x="4409020" y="4465991"/>
                  <a:pt x="4316407" y="4629690"/>
                  <a:pt x="4372511" y="4843098"/>
                </a:cubicBezTo>
                <a:cubicBezTo>
                  <a:pt x="4165593" y="4858038"/>
                  <a:pt x="3997562" y="4827967"/>
                  <a:pt x="3782222" y="4843098"/>
                </a:cubicBezTo>
                <a:cubicBezTo>
                  <a:pt x="3566882" y="4858229"/>
                  <a:pt x="3525451" y="4806302"/>
                  <a:pt x="3279383" y="4843098"/>
                </a:cubicBezTo>
                <a:cubicBezTo>
                  <a:pt x="3033315" y="4879894"/>
                  <a:pt x="2925039" y="4810601"/>
                  <a:pt x="2820270" y="4843098"/>
                </a:cubicBezTo>
                <a:cubicBezTo>
                  <a:pt x="2715501" y="4875595"/>
                  <a:pt x="2521543" y="4834974"/>
                  <a:pt x="2404881" y="4843098"/>
                </a:cubicBezTo>
                <a:cubicBezTo>
                  <a:pt x="2288219" y="4851222"/>
                  <a:pt x="2050699" y="4812155"/>
                  <a:pt x="1814592" y="4843098"/>
                </a:cubicBezTo>
                <a:cubicBezTo>
                  <a:pt x="1578485" y="4874041"/>
                  <a:pt x="1462930" y="4823718"/>
                  <a:pt x="1311753" y="4843098"/>
                </a:cubicBezTo>
                <a:cubicBezTo>
                  <a:pt x="1160576" y="4862478"/>
                  <a:pt x="986204" y="4791105"/>
                  <a:pt x="808915" y="4843098"/>
                </a:cubicBezTo>
                <a:cubicBezTo>
                  <a:pt x="631626" y="4895091"/>
                  <a:pt x="310379" y="4785381"/>
                  <a:pt x="0" y="4843098"/>
                </a:cubicBezTo>
                <a:cubicBezTo>
                  <a:pt x="-64617" y="4643613"/>
                  <a:pt x="59909" y="4490215"/>
                  <a:pt x="0" y="4208114"/>
                </a:cubicBezTo>
                <a:cubicBezTo>
                  <a:pt x="-59909" y="3926013"/>
                  <a:pt x="10447" y="3864706"/>
                  <a:pt x="0" y="3766854"/>
                </a:cubicBezTo>
                <a:cubicBezTo>
                  <a:pt x="-10447" y="3669002"/>
                  <a:pt x="25137" y="3447175"/>
                  <a:pt x="0" y="3325594"/>
                </a:cubicBezTo>
                <a:cubicBezTo>
                  <a:pt x="-25137" y="3204013"/>
                  <a:pt x="45017" y="3115440"/>
                  <a:pt x="0" y="2932765"/>
                </a:cubicBezTo>
                <a:cubicBezTo>
                  <a:pt x="-45017" y="2750090"/>
                  <a:pt x="10936" y="2565280"/>
                  <a:pt x="0" y="2297781"/>
                </a:cubicBezTo>
                <a:cubicBezTo>
                  <a:pt x="-10936" y="2030282"/>
                  <a:pt x="55907" y="1894795"/>
                  <a:pt x="0" y="1711228"/>
                </a:cubicBezTo>
                <a:cubicBezTo>
                  <a:pt x="-55907" y="1527661"/>
                  <a:pt x="34927" y="1433774"/>
                  <a:pt x="0" y="1221537"/>
                </a:cubicBezTo>
                <a:cubicBezTo>
                  <a:pt x="-34927" y="1009300"/>
                  <a:pt x="41465" y="993752"/>
                  <a:pt x="0" y="828708"/>
                </a:cubicBezTo>
                <a:cubicBezTo>
                  <a:pt x="-41465" y="663664"/>
                  <a:pt x="91211" y="233264"/>
                  <a:pt x="0" y="0"/>
                </a:cubicBezTo>
                <a:close/>
              </a:path>
              <a:path w="4372511" h="4843098" stroke="0" extrusionOk="0">
                <a:moveTo>
                  <a:pt x="0" y="0"/>
                </a:moveTo>
                <a:cubicBezTo>
                  <a:pt x="100707" y="-9998"/>
                  <a:pt x="338922" y="26242"/>
                  <a:pt x="502839" y="0"/>
                </a:cubicBezTo>
                <a:cubicBezTo>
                  <a:pt x="666756" y="-26242"/>
                  <a:pt x="759733" y="15995"/>
                  <a:pt x="961952" y="0"/>
                </a:cubicBezTo>
                <a:cubicBezTo>
                  <a:pt x="1164171" y="-15995"/>
                  <a:pt x="1323779" y="29888"/>
                  <a:pt x="1421066" y="0"/>
                </a:cubicBezTo>
                <a:cubicBezTo>
                  <a:pt x="1518353" y="-29888"/>
                  <a:pt x="1677930" y="17395"/>
                  <a:pt x="1923905" y="0"/>
                </a:cubicBezTo>
                <a:cubicBezTo>
                  <a:pt x="2169880" y="-17395"/>
                  <a:pt x="2360192" y="39095"/>
                  <a:pt x="2470469" y="0"/>
                </a:cubicBezTo>
                <a:cubicBezTo>
                  <a:pt x="2580746" y="-39095"/>
                  <a:pt x="2768278" y="26876"/>
                  <a:pt x="3017033" y="0"/>
                </a:cubicBezTo>
                <a:cubicBezTo>
                  <a:pt x="3265788" y="-26876"/>
                  <a:pt x="3233424" y="20589"/>
                  <a:pt x="3432421" y="0"/>
                </a:cubicBezTo>
                <a:cubicBezTo>
                  <a:pt x="3631418" y="-20589"/>
                  <a:pt x="3673178" y="43533"/>
                  <a:pt x="3891535" y="0"/>
                </a:cubicBezTo>
                <a:cubicBezTo>
                  <a:pt x="4109892" y="-43533"/>
                  <a:pt x="4184111" y="19088"/>
                  <a:pt x="4372511" y="0"/>
                </a:cubicBezTo>
                <a:cubicBezTo>
                  <a:pt x="4405431" y="181296"/>
                  <a:pt x="4326528" y="299757"/>
                  <a:pt x="4372511" y="441260"/>
                </a:cubicBezTo>
                <a:cubicBezTo>
                  <a:pt x="4418494" y="582763"/>
                  <a:pt x="4338451" y="825190"/>
                  <a:pt x="4372511" y="1027813"/>
                </a:cubicBezTo>
                <a:cubicBezTo>
                  <a:pt x="4406571" y="1230436"/>
                  <a:pt x="4369307" y="1248755"/>
                  <a:pt x="4372511" y="1420642"/>
                </a:cubicBezTo>
                <a:cubicBezTo>
                  <a:pt x="4375715" y="1592529"/>
                  <a:pt x="4333044" y="1816238"/>
                  <a:pt x="4372511" y="2007195"/>
                </a:cubicBezTo>
                <a:cubicBezTo>
                  <a:pt x="4411978" y="2198152"/>
                  <a:pt x="4350855" y="2449186"/>
                  <a:pt x="4372511" y="2593748"/>
                </a:cubicBezTo>
                <a:cubicBezTo>
                  <a:pt x="4394167" y="2738310"/>
                  <a:pt x="4337021" y="2891949"/>
                  <a:pt x="4372511" y="3083439"/>
                </a:cubicBezTo>
                <a:cubicBezTo>
                  <a:pt x="4408001" y="3274929"/>
                  <a:pt x="4304554" y="3549186"/>
                  <a:pt x="4372511" y="3669992"/>
                </a:cubicBezTo>
                <a:cubicBezTo>
                  <a:pt x="4440468" y="3790798"/>
                  <a:pt x="4343208" y="4039825"/>
                  <a:pt x="4372511" y="4256545"/>
                </a:cubicBezTo>
                <a:cubicBezTo>
                  <a:pt x="4401814" y="4473265"/>
                  <a:pt x="4332969" y="4715765"/>
                  <a:pt x="4372511" y="4843098"/>
                </a:cubicBezTo>
                <a:cubicBezTo>
                  <a:pt x="4173717" y="4863335"/>
                  <a:pt x="4057039" y="4784291"/>
                  <a:pt x="3825947" y="4843098"/>
                </a:cubicBezTo>
                <a:cubicBezTo>
                  <a:pt x="3594855" y="4901905"/>
                  <a:pt x="3537407" y="4793013"/>
                  <a:pt x="3323108" y="4843098"/>
                </a:cubicBezTo>
                <a:cubicBezTo>
                  <a:pt x="3108809" y="4893183"/>
                  <a:pt x="2970313" y="4814864"/>
                  <a:pt x="2820270" y="4843098"/>
                </a:cubicBezTo>
                <a:cubicBezTo>
                  <a:pt x="2670227" y="4871332"/>
                  <a:pt x="2531625" y="4788115"/>
                  <a:pt x="2317431" y="4843098"/>
                </a:cubicBezTo>
                <a:cubicBezTo>
                  <a:pt x="2103237" y="4898081"/>
                  <a:pt x="2025063" y="4799514"/>
                  <a:pt x="1814592" y="4843098"/>
                </a:cubicBezTo>
                <a:cubicBezTo>
                  <a:pt x="1604121" y="4886682"/>
                  <a:pt x="1490031" y="4819320"/>
                  <a:pt x="1180578" y="4843098"/>
                </a:cubicBezTo>
                <a:cubicBezTo>
                  <a:pt x="871125" y="4866876"/>
                  <a:pt x="891729" y="4794175"/>
                  <a:pt x="765189" y="4843098"/>
                </a:cubicBezTo>
                <a:cubicBezTo>
                  <a:pt x="638649" y="4892021"/>
                  <a:pt x="159450" y="4820892"/>
                  <a:pt x="0" y="4843098"/>
                </a:cubicBezTo>
                <a:cubicBezTo>
                  <a:pt x="-53005" y="4610844"/>
                  <a:pt x="8637" y="4514702"/>
                  <a:pt x="0" y="4208114"/>
                </a:cubicBezTo>
                <a:cubicBezTo>
                  <a:pt x="-8637" y="3901526"/>
                  <a:pt x="48181" y="3970277"/>
                  <a:pt x="0" y="3766854"/>
                </a:cubicBezTo>
                <a:cubicBezTo>
                  <a:pt x="-48181" y="3563431"/>
                  <a:pt x="38092" y="3457459"/>
                  <a:pt x="0" y="3228732"/>
                </a:cubicBezTo>
                <a:cubicBezTo>
                  <a:pt x="-38092" y="3000005"/>
                  <a:pt x="36794" y="2947849"/>
                  <a:pt x="0" y="2835903"/>
                </a:cubicBezTo>
                <a:cubicBezTo>
                  <a:pt x="-36794" y="2723957"/>
                  <a:pt x="24770" y="2539571"/>
                  <a:pt x="0" y="2346212"/>
                </a:cubicBezTo>
                <a:cubicBezTo>
                  <a:pt x="-24770" y="2152853"/>
                  <a:pt x="21717" y="2029114"/>
                  <a:pt x="0" y="1808090"/>
                </a:cubicBezTo>
                <a:cubicBezTo>
                  <a:pt x="-21717" y="1587066"/>
                  <a:pt x="21920" y="1437871"/>
                  <a:pt x="0" y="1173106"/>
                </a:cubicBezTo>
                <a:cubicBezTo>
                  <a:pt x="-21920" y="908341"/>
                  <a:pt x="56884" y="922254"/>
                  <a:pt x="0" y="683415"/>
                </a:cubicBezTo>
                <a:cubicBezTo>
                  <a:pt x="-56884" y="444576"/>
                  <a:pt x="47010" y="268145"/>
                  <a:pt x="0" y="0"/>
                </a:cubicBezTo>
                <a:close/>
              </a:path>
            </a:pathLst>
          </a:custGeom>
          <a:ln>
            <a:solidFill>
              <a:schemeClr val="tx1"/>
            </a:solidFill>
            <a:extLst>
              <a:ext uri="{C807C97D-BFC1-408E-A445-0C87EB9F89A2}">
                <ask:lineSketchStyleProps xmlns:ask="http://schemas.microsoft.com/office/drawing/2018/sketchyshapes" sd="3322920453">
                  <a:prstGeom prst="rect">
                    <a:avLst/>
                  </a:prstGeom>
                  <ask:type>
                    <ask:lineSketchScribble/>
                  </ask:type>
                </ask:lineSketchStyleProps>
              </a:ext>
            </a:extLst>
          </a:ln>
        </p:spPr>
      </p:pic>
      <p:sp>
        <p:nvSpPr>
          <p:cNvPr id="2" name="Title 3">
            <a:extLst>
              <a:ext uri="{FF2B5EF4-FFF2-40B4-BE49-F238E27FC236}">
                <a16:creationId xmlns:a16="http://schemas.microsoft.com/office/drawing/2014/main" id="{D94F8BFE-A67F-F843-1B67-1664D8CE0C4D}"/>
              </a:ext>
            </a:extLst>
          </p:cNvPr>
          <p:cNvSpPr txBox="1">
            <a:spLocks/>
          </p:cNvSpPr>
          <p:nvPr/>
        </p:nvSpPr>
        <p:spPr>
          <a:xfrm>
            <a:off x="1937568" y="125304"/>
            <a:ext cx="8315141" cy="501015"/>
          </a:xfrm>
          <a:prstGeom prst="homePlate">
            <a:avLst>
              <a:gd name="adj" fmla="val 110000"/>
            </a:avLst>
          </a:prstGeom>
          <a:solidFill>
            <a:srgbClr val="F8CBAD"/>
          </a:solidFill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Gotham" pitchFamily="50" charset="0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</a:pPr>
            <a:r>
              <a:rPr lang="en-IN" sz="2800" b="1" dirty="0"/>
              <a:t>Cathode Tab Design: Overall comparison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F83BDBF0-8808-960C-32A7-A30581907130}"/>
              </a:ext>
            </a:extLst>
          </p:cNvPr>
          <p:cNvSpPr txBox="1"/>
          <p:nvPr/>
        </p:nvSpPr>
        <p:spPr>
          <a:xfrm>
            <a:off x="2710454" y="5943600"/>
            <a:ext cx="875561" cy="369332"/>
          </a:xfrm>
          <a:custGeom>
            <a:avLst/>
            <a:gdLst>
              <a:gd name="connsiteX0" fmla="*/ 0 w 875561"/>
              <a:gd name="connsiteY0" fmla="*/ 0 h 369332"/>
              <a:gd name="connsiteX1" fmla="*/ 411514 w 875561"/>
              <a:gd name="connsiteY1" fmla="*/ 0 h 369332"/>
              <a:gd name="connsiteX2" fmla="*/ 875561 w 875561"/>
              <a:gd name="connsiteY2" fmla="*/ 0 h 369332"/>
              <a:gd name="connsiteX3" fmla="*/ 875561 w 875561"/>
              <a:gd name="connsiteY3" fmla="*/ 369332 h 369332"/>
              <a:gd name="connsiteX4" fmla="*/ 429025 w 875561"/>
              <a:gd name="connsiteY4" fmla="*/ 369332 h 369332"/>
              <a:gd name="connsiteX5" fmla="*/ 0 w 875561"/>
              <a:gd name="connsiteY5" fmla="*/ 369332 h 369332"/>
              <a:gd name="connsiteX6" fmla="*/ 0 w 875561"/>
              <a:gd name="connsiteY6" fmla="*/ 0 h 3693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75561" h="369332" fill="none" extrusionOk="0">
                <a:moveTo>
                  <a:pt x="0" y="0"/>
                </a:moveTo>
                <a:cubicBezTo>
                  <a:pt x="172815" y="1644"/>
                  <a:pt x="243390" y="-5670"/>
                  <a:pt x="411514" y="0"/>
                </a:cubicBezTo>
                <a:cubicBezTo>
                  <a:pt x="579638" y="5670"/>
                  <a:pt x="738734" y="4070"/>
                  <a:pt x="875561" y="0"/>
                </a:cubicBezTo>
                <a:cubicBezTo>
                  <a:pt x="873264" y="164854"/>
                  <a:pt x="872082" y="271692"/>
                  <a:pt x="875561" y="369332"/>
                </a:cubicBezTo>
                <a:cubicBezTo>
                  <a:pt x="701258" y="355782"/>
                  <a:pt x="580088" y="347774"/>
                  <a:pt x="429025" y="369332"/>
                </a:cubicBezTo>
                <a:cubicBezTo>
                  <a:pt x="277962" y="390890"/>
                  <a:pt x="163728" y="370958"/>
                  <a:pt x="0" y="369332"/>
                </a:cubicBezTo>
                <a:cubicBezTo>
                  <a:pt x="2826" y="267487"/>
                  <a:pt x="18282" y="165003"/>
                  <a:pt x="0" y="0"/>
                </a:cubicBezTo>
                <a:close/>
              </a:path>
              <a:path w="875561" h="369332" stroke="0" extrusionOk="0">
                <a:moveTo>
                  <a:pt x="0" y="0"/>
                </a:moveTo>
                <a:cubicBezTo>
                  <a:pt x="195619" y="-16075"/>
                  <a:pt x="321758" y="3032"/>
                  <a:pt x="411514" y="0"/>
                </a:cubicBezTo>
                <a:cubicBezTo>
                  <a:pt x="501270" y="-3032"/>
                  <a:pt x="673322" y="-20939"/>
                  <a:pt x="875561" y="0"/>
                </a:cubicBezTo>
                <a:cubicBezTo>
                  <a:pt x="869618" y="109658"/>
                  <a:pt x="887621" y="226912"/>
                  <a:pt x="875561" y="369332"/>
                </a:cubicBezTo>
                <a:cubicBezTo>
                  <a:pt x="670303" y="350441"/>
                  <a:pt x="567053" y="357744"/>
                  <a:pt x="455292" y="369332"/>
                </a:cubicBezTo>
                <a:cubicBezTo>
                  <a:pt x="343531" y="380920"/>
                  <a:pt x="134497" y="346635"/>
                  <a:pt x="0" y="369332"/>
                </a:cubicBezTo>
                <a:cubicBezTo>
                  <a:pt x="17046" y="194012"/>
                  <a:pt x="-16701" y="176343"/>
                  <a:pt x="0" y="0"/>
                </a:cubicBezTo>
                <a:close/>
              </a:path>
            </a:pathLst>
          </a:custGeom>
          <a:solidFill>
            <a:schemeClr val="bg1"/>
          </a:solidFill>
          <a:ln>
            <a:solidFill>
              <a:schemeClr val="tx1"/>
            </a:solidFill>
            <a:extLst>
              <a:ext uri="{C807C97D-BFC1-408E-A445-0C87EB9F89A2}">
                <ask:lineSketchStyleProps xmlns:ask="http://schemas.microsoft.com/office/drawing/2018/sketchyshapes" sd="126692786">
                  <a:prstGeom prst="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txBody>
          <a:bodyPr wrap="none" rtlCol="0">
            <a:spAutoFit/>
          </a:bodyPr>
          <a:lstStyle/>
          <a:p>
            <a:r>
              <a:rPr lang="en-US" dirty="0"/>
              <a:t>Sampl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50096663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7164282-C8C5-5C2A-0F72-533D267473C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able 7">
            <a:extLst>
              <a:ext uri="{FF2B5EF4-FFF2-40B4-BE49-F238E27FC236}">
                <a16:creationId xmlns:a16="http://schemas.microsoft.com/office/drawing/2014/main" id="{F3ECC6C6-1904-E654-363F-AE3B7323F2D1}"/>
              </a:ext>
            </a:extLst>
          </p:cNvPr>
          <p:cNvGraphicFramePr>
            <a:graphicFrameLocks noGrp="1"/>
          </p:cNvGraphicFramePr>
          <p:nvPr/>
        </p:nvGraphicFramePr>
        <p:xfrm>
          <a:off x="156000" y="1057994"/>
          <a:ext cx="10395000" cy="3736080"/>
        </p:xfrm>
        <a:graphic>
          <a:graphicData uri="http://schemas.openxmlformats.org/drawingml/2006/table">
            <a:tbl>
              <a:tblPr firstRow="1" bandRow="1">
                <a:tableStyleId>{073A0DAA-6AF3-43AB-8588-CEC1D06C72B9}</a:tableStyleId>
              </a:tblPr>
              <a:tblGrid>
                <a:gridCol w="1485000">
                  <a:extLst>
                    <a:ext uri="{9D8B030D-6E8A-4147-A177-3AD203B41FA5}">
                      <a16:colId xmlns:a16="http://schemas.microsoft.com/office/drawing/2014/main" val="40202392"/>
                    </a:ext>
                  </a:extLst>
                </a:gridCol>
                <a:gridCol w="1485000">
                  <a:extLst>
                    <a:ext uri="{9D8B030D-6E8A-4147-A177-3AD203B41FA5}">
                      <a16:colId xmlns:a16="http://schemas.microsoft.com/office/drawing/2014/main" val="1011360498"/>
                    </a:ext>
                  </a:extLst>
                </a:gridCol>
                <a:gridCol w="1485000">
                  <a:extLst>
                    <a:ext uri="{9D8B030D-6E8A-4147-A177-3AD203B41FA5}">
                      <a16:colId xmlns:a16="http://schemas.microsoft.com/office/drawing/2014/main" val="2769497312"/>
                    </a:ext>
                  </a:extLst>
                </a:gridCol>
                <a:gridCol w="1485000">
                  <a:extLst>
                    <a:ext uri="{9D8B030D-6E8A-4147-A177-3AD203B41FA5}">
                      <a16:colId xmlns:a16="http://schemas.microsoft.com/office/drawing/2014/main" val="3122057041"/>
                    </a:ext>
                  </a:extLst>
                </a:gridCol>
                <a:gridCol w="1485000">
                  <a:extLst>
                    <a:ext uri="{9D8B030D-6E8A-4147-A177-3AD203B41FA5}">
                      <a16:colId xmlns:a16="http://schemas.microsoft.com/office/drawing/2014/main" val="3106912191"/>
                    </a:ext>
                  </a:extLst>
                </a:gridCol>
                <a:gridCol w="1485000">
                  <a:extLst>
                    <a:ext uri="{9D8B030D-6E8A-4147-A177-3AD203B41FA5}">
                      <a16:colId xmlns:a16="http://schemas.microsoft.com/office/drawing/2014/main" val="3346181596"/>
                    </a:ext>
                  </a:extLst>
                </a:gridCol>
                <a:gridCol w="1485000">
                  <a:extLst>
                    <a:ext uri="{9D8B030D-6E8A-4147-A177-3AD203B41FA5}">
                      <a16:colId xmlns:a16="http://schemas.microsoft.com/office/drawing/2014/main" val="2287965158"/>
                    </a:ext>
                  </a:extLst>
                </a:gridCol>
              </a:tblGrid>
              <a:tr h="324000">
                <a:tc>
                  <a:txBody>
                    <a:bodyPr/>
                    <a:lstStyle/>
                    <a:p>
                      <a:pPr algn="ctr"/>
                      <a:r>
                        <a:rPr lang="en-IN" dirty="0"/>
                        <a:t>BAK 5.5_ 21700</a:t>
                      </a:r>
                    </a:p>
                  </a:txBody>
                  <a:tcP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b="0" i="0" u="none" strike="noStrike" cap="none" spc="0" dirty="0">
                          <a:solidFill>
                            <a:schemeClr val="bg1"/>
                          </a:solidFill>
                          <a:effectLst/>
                          <a:latin typeface="Aptos Display" panose="020B0004020202020204" pitchFamily="34" charset="0"/>
                        </a:rPr>
                        <a:t>4</a:t>
                      </a:r>
                      <a:r>
                        <a:rPr lang="en-IN" sz="1800" b="0" i="0" u="none" strike="noStrike" cap="none" spc="0" dirty="0">
                          <a:solidFill>
                            <a:schemeClr val="bg1"/>
                          </a:solidFill>
                          <a:effectLst/>
                          <a:latin typeface="Aptos Display" panose="020B0004020202020204" pitchFamily="34" charset="0"/>
                        </a:rPr>
                        <a:t>680 Gen2</a:t>
                      </a:r>
                    </a:p>
                  </a:txBody>
                  <a:tcP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b="0" i="0" u="none" strike="noStrike" cap="none" spc="0" dirty="0" err="1">
                          <a:solidFill>
                            <a:schemeClr val="bg1"/>
                          </a:solidFill>
                          <a:effectLst/>
                          <a:latin typeface="Aptos Display" panose="020B0004020202020204" pitchFamily="34" charset="0"/>
                        </a:rPr>
                        <a:t>Blivex</a:t>
                      </a:r>
                      <a:r>
                        <a:rPr lang="en-US" sz="1800" b="0" i="0" u="none" strike="noStrike" cap="none" spc="0" dirty="0">
                          <a:solidFill>
                            <a:schemeClr val="bg1"/>
                          </a:solidFill>
                          <a:effectLst/>
                          <a:latin typeface="Aptos Display" panose="020B0004020202020204" pitchFamily="34" charset="0"/>
                        </a:rPr>
                        <a:t> 32700</a:t>
                      </a:r>
                      <a:endParaRPr lang="en-IN" sz="1800" b="0" i="0" u="none" strike="noStrike" cap="none" spc="0" dirty="0">
                        <a:solidFill>
                          <a:schemeClr val="bg1"/>
                        </a:solidFill>
                        <a:effectLst/>
                        <a:latin typeface="Aptos Display" panose="020B0004020202020204" pitchFamily="34" charset="0"/>
                      </a:endParaRPr>
                    </a:p>
                  </a:txBody>
                  <a:tcP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0" i="0" u="none" strike="noStrike" cap="none" spc="0" dirty="0">
                          <a:solidFill>
                            <a:schemeClr val="bg1"/>
                          </a:solidFill>
                          <a:effectLst/>
                          <a:latin typeface="Aptos Display" panose="020B0004020202020204" pitchFamily="34" charset="0"/>
                        </a:rPr>
                        <a:t>CBAK 32140</a:t>
                      </a:r>
                      <a:endParaRPr lang="en-IN" sz="1800" b="0" i="0" u="none" strike="noStrike" cap="none" spc="0" dirty="0">
                        <a:solidFill>
                          <a:schemeClr val="bg1"/>
                        </a:solidFill>
                        <a:effectLst/>
                        <a:latin typeface="Aptos Display" panose="020B0004020202020204" pitchFamily="34" charset="0"/>
                      </a:endParaRPr>
                    </a:p>
                  </a:txBody>
                  <a:tcP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800" b="0" u="none" strike="noStrike" cap="none" spc="0" dirty="0">
                          <a:solidFill>
                            <a:schemeClr val="bg1"/>
                          </a:solidFill>
                          <a:effectLst/>
                          <a:latin typeface="Aptos Display" panose="020B0004020202020204" pitchFamily="34" charset="0"/>
                        </a:rPr>
                        <a:t>EVE 5.0_21700</a:t>
                      </a:r>
                      <a:endParaRPr lang="en-IN" sz="1800" b="0" i="0" u="none" strike="noStrike" cap="none" spc="0" dirty="0">
                        <a:solidFill>
                          <a:schemeClr val="bg1"/>
                        </a:solidFill>
                        <a:effectLst/>
                        <a:latin typeface="Aptos Display" panose="020B0004020202020204" pitchFamily="34" charset="0"/>
                      </a:endParaRPr>
                    </a:p>
                  </a:txBody>
                  <a:tcP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1800" b="0" u="none" strike="noStrike" cap="none" spc="0" dirty="0" err="1">
                          <a:solidFill>
                            <a:schemeClr val="bg1"/>
                          </a:solidFill>
                          <a:effectLst/>
                          <a:latin typeface="Aptos Display" panose="020B0004020202020204" pitchFamily="34" charset="0"/>
                        </a:rPr>
                        <a:t>Moilicell</a:t>
                      </a:r>
                      <a:r>
                        <a:rPr lang="en-IN" sz="1800" b="0" u="none" strike="noStrike" cap="none" spc="0" dirty="0">
                          <a:solidFill>
                            <a:schemeClr val="bg1"/>
                          </a:solidFill>
                          <a:effectLst/>
                          <a:latin typeface="Aptos Display" panose="020B0004020202020204" pitchFamily="34" charset="0"/>
                        </a:rPr>
                        <a:t> 4.2 21700</a:t>
                      </a:r>
                      <a:endParaRPr lang="en-IN" sz="1800" b="0" i="0" u="none" strike="noStrike" cap="none" spc="0" dirty="0">
                        <a:solidFill>
                          <a:schemeClr val="bg1"/>
                        </a:solidFill>
                        <a:effectLst/>
                        <a:latin typeface="Aptos Display" panose="020B0004020202020204" pitchFamily="34" charset="0"/>
                      </a:endParaRPr>
                    </a:p>
                  </a:txBody>
                  <a:tcP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0" i="0" u="none" strike="noStrike" cap="none" spc="0" dirty="0">
                          <a:solidFill>
                            <a:schemeClr val="bg1"/>
                          </a:solidFill>
                          <a:effectLst/>
                          <a:latin typeface="Aptos Display" panose="020B0004020202020204" pitchFamily="34" charset="0"/>
                        </a:rPr>
                        <a:t>RIN 5.8_21700</a:t>
                      </a:r>
                      <a:endParaRPr lang="en-IN" sz="1800" b="0" i="0" u="none" strike="noStrike" cap="none" spc="0" dirty="0">
                        <a:solidFill>
                          <a:schemeClr val="bg1"/>
                        </a:solidFill>
                        <a:effectLst/>
                        <a:latin typeface="Aptos Display" panose="020B0004020202020204" pitchFamily="34" charset="0"/>
                      </a:endParaRPr>
                    </a:p>
                  </a:txBody>
                  <a:tcP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28126579"/>
                  </a:ext>
                </a:extLst>
              </a:tr>
              <a:tr h="3096000">
                <a:tc>
                  <a:txBody>
                    <a:bodyPr/>
                    <a:lstStyle/>
                    <a:p>
                      <a:endParaRPr lang="en-IN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TABLESS</a:t>
                      </a:r>
                      <a:endParaRPr lang="en-IN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IN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IN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IN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IN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IN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00036847"/>
                  </a:ext>
                </a:extLst>
              </a:tr>
            </a:tbl>
          </a:graphicData>
        </a:graphic>
      </p:graphicFrame>
      <p:sp>
        <p:nvSpPr>
          <p:cNvPr id="2" name="Title 3">
            <a:extLst>
              <a:ext uri="{FF2B5EF4-FFF2-40B4-BE49-F238E27FC236}">
                <a16:creationId xmlns:a16="http://schemas.microsoft.com/office/drawing/2014/main" id="{5321122D-867D-8C91-E60B-67E67A0E5E06}"/>
              </a:ext>
            </a:extLst>
          </p:cNvPr>
          <p:cNvSpPr txBox="1">
            <a:spLocks/>
          </p:cNvSpPr>
          <p:nvPr/>
        </p:nvSpPr>
        <p:spPr>
          <a:xfrm>
            <a:off x="1937568" y="125304"/>
            <a:ext cx="8315141" cy="501015"/>
          </a:xfrm>
          <a:prstGeom prst="homePlate">
            <a:avLst>
              <a:gd name="adj" fmla="val 110000"/>
            </a:avLst>
          </a:prstGeom>
          <a:solidFill>
            <a:srgbClr val="F8CBAD"/>
          </a:solidFill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Gotham" pitchFamily="50" charset="0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</a:pPr>
            <a:r>
              <a:rPr lang="en-IN" sz="2800" b="1" dirty="0"/>
              <a:t>Anode Tab Design: Overall comparison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7221276A-6BC2-A99F-AD7A-98F03206124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767783" y="1891091"/>
            <a:ext cx="3819560" cy="4651223"/>
          </a:xfrm>
          <a:custGeom>
            <a:avLst/>
            <a:gdLst>
              <a:gd name="connsiteX0" fmla="*/ 0 w 3819560"/>
              <a:gd name="connsiteY0" fmla="*/ 0 h 4651223"/>
              <a:gd name="connsiteX1" fmla="*/ 431065 w 3819560"/>
              <a:gd name="connsiteY1" fmla="*/ 0 h 4651223"/>
              <a:gd name="connsiteX2" fmla="*/ 862129 w 3819560"/>
              <a:gd name="connsiteY2" fmla="*/ 0 h 4651223"/>
              <a:gd name="connsiteX3" fmla="*/ 1407781 w 3819560"/>
              <a:gd name="connsiteY3" fmla="*/ 0 h 4651223"/>
              <a:gd name="connsiteX4" fmla="*/ 1915237 w 3819560"/>
              <a:gd name="connsiteY4" fmla="*/ 0 h 4651223"/>
              <a:gd name="connsiteX5" fmla="*/ 2346301 w 3819560"/>
              <a:gd name="connsiteY5" fmla="*/ 0 h 4651223"/>
              <a:gd name="connsiteX6" fmla="*/ 2853757 w 3819560"/>
              <a:gd name="connsiteY6" fmla="*/ 0 h 4651223"/>
              <a:gd name="connsiteX7" fmla="*/ 3323017 w 3819560"/>
              <a:gd name="connsiteY7" fmla="*/ 0 h 4651223"/>
              <a:gd name="connsiteX8" fmla="*/ 3819560 w 3819560"/>
              <a:gd name="connsiteY8" fmla="*/ 0 h 4651223"/>
              <a:gd name="connsiteX9" fmla="*/ 3819560 w 3819560"/>
              <a:gd name="connsiteY9" fmla="*/ 674427 h 4651223"/>
              <a:gd name="connsiteX10" fmla="*/ 3819560 w 3819560"/>
              <a:gd name="connsiteY10" fmla="*/ 1348855 h 4651223"/>
              <a:gd name="connsiteX11" fmla="*/ 3819560 w 3819560"/>
              <a:gd name="connsiteY11" fmla="*/ 1883745 h 4651223"/>
              <a:gd name="connsiteX12" fmla="*/ 3819560 w 3819560"/>
              <a:gd name="connsiteY12" fmla="*/ 2465148 h 4651223"/>
              <a:gd name="connsiteX13" fmla="*/ 3819560 w 3819560"/>
              <a:gd name="connsiteY13" fmla="*/ 3046551 h 4651223"/>
              <a:gd name="connsiteX14" fmla="*/ 3819560 w 3819560"/>
              <a:gd name="connsiteY14" fmla="*/ 3581442 h 4651223"/>
              <a:gd name="connsiteX15" fmla="*/ 3819560 w 3819560"/>
              <a:gd name="connsiteY15" fmla="*/ 4069820 h 4651223"/>
              <a:gd name="connsiteX16" fmla="*/ 3819560 w 3819560"/>
              <a:gd name="connsiteY16" fmla="*/ 4651223 h 4651223"/>
              <a:gd name="connsiteX17" fmla="*/ 3350300 w 3819560"/>
              <a:gd name="connsiteY17" fmla="*/ 4651223 h 4651223"/>
              <a:gd name="connsiteX18" fmla="*/ 2766453 w 3819560"/>
              <a:gd name="connsiteY18" fmla="*/ 4651223 h 4651223"/>
              <a:gd name="connsiteX19" fmla="*/ 2220801 w 3819560"/>
              <a:gd name="connsiteY19" fmla="*/ 4651223 h 4651223"/>
              <a:gd name="connsiteX20" fmla="*/ 1636954 w 3819560"/>
              <a:gd name="connsiteY20" fmla="*/ 4651223 h 4651223"/>
              <a:gd name="connsiteX21" fmla="*/ 1129498 w 3819560"/>
              <a:gd name="connsiteY21" fmla="*/ 4651223 h 4651223"/>
              <a:gd name="connsiteX22" fmla="*/ 545651 w 3819560"/>
              <a:gd name="connsiteY22" fmla="*/ 4651223 h 4651223"/>
              <a:gd name="connsiteX23" fmla="*/ 0 w 3819560"/>
              <a:gd name="connsiteY23" fmla="*/ 4651223 h 4651223"/>
              <a:gd name="connsiteX24" fmla="*/ 0 w 3819560"/>
              <a:gd name="connsiteY24" fmla="*/ 3976796 h 4651223"/>
              <a:gd name="connsiteX25" fmla="*/ 0 w 3819560"/>
              <a:gd name="connsiteY25" fmla="*/ 3534929 h 4651223"/>
              <a:gd name="connsiteX26" fmla="*/ 0 w 3819560"/>
              <a:gd name="connsiteY26" fmla="*/ 2907014 h 4651223"/>
              <a:gd name="connsiteX27" fmla="*/ 0 w 3819560"/>
              <a:gd name="connsiteY27" fmla="*/ 2372124 h 4651223"/>
              <a:gd name="connsiteX28" fmla="*/ 0 w 3819560"/>
              <a:gd name="connsiteY28" fmla="*/ 1790721 h 4651223"/>
              <a:gd name="connsiteX29" fmla="*/ 0 w 3819560"/>
              <a:gd name="connsiteY29" fmla="*/ 1348855 h 4651223"/>
              <a:gd name="connsiteX30" fmla="*/ 0 w 3819560"/>
              <a:gd name="connsiteY30" fmla="*/ 860476 h 4651223"/>
              <a:gd name="connsiteX31" fmla="*/ 0 w 3819560"/>
              <a:gd name="connsiteY31" fmla="*/ 0 h 46512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</a:cxnLst>
            <a:rect l="l" t="t" r="r" b="b"/>
            <a:pathLst>
              <a:path w="3819560" h="4651223" fill="none" extrusionOk="0">
                <a:moveTo>
                  <a:pt x="0" y="0"/>
                </a:moveTo>
                <a:cubicBezTo>
                  <a:pt x="119196" y="-12718"/>
                  <a:pt x="326975" y="49534"/>
                  <a:pt x="431065" y="0"/>
                </a:cubicBezTo>
                <a:cubicBezTo>
                  <a:pt x="535156" y="-49534"/>
                  <a:pt x="687629" y="25961"/>
                  <a:pt x="862129" y="0"/>
                </a:cubicBezTo>
                <a:cubicBezTo>
                  <a:pt x="1036629" y="-25961"/>
                  <a:pt x="1286341" y="14953"/>
                  <a:pt x="1407781" y="0"/>
                </a:cubicBezTo>
                <a:cubicBezTo>
                  <a:pt x="1529221" y="-14953"/>
                  <a:pt x="1738652" y="43558"/>
                  <a:pt x="1915237" y="0"/>
                </a:cubicBezTo>
                <a:cubicBezTo>
                  <a:pt x="2091822" y="-43558"/>
                  <a:pt x="2133102" y="27910"/>
                  <a:pt x="2346301" y="0"/>
                </a:cubicBezTo>
                <a:cubicBezTo>
                  <a:pt x="2559500" y="-27910"/>
                  <a:pt x="2678377" y="33712"/>
                  <a:pt x="2853757" y="0"/>
                </a:cubicBezTo>
                <a:cubicBezTo>
                  <a:pt x="3029137" y="-33712"/>
                  <a:pt x="3218092" y="27320"/>
                  <a:pt x="3323017" y="0"/>
                </a:cubicBezTo>
                <a:cubicBezTo>
                  <a:pt x="3427942" y="-27320"/>
                  <a:pt x="3604724" y="48871"/>
                  <a:pt x="3819560" y="0"/>
                </a:cubicBezTo>
                <a:cubicBezTo>
                  <a:pt x="3840346" y="290911"/>
                  <a:pt x="3799450" y="506258"/>
                  <a:pt x="3819560" y="674427"/>
                </a:cubicBezTo>
                <a:cubicBezTo>
                  <a:pt x="3839670" y="842596"/>
                  <a:pt x="3788417" y="1037817"/>
                  <a:pt x="3819560" y="1348855"/>
                </a:cubicBezTo>
                <a:cubicBezTo>
                  <a:pt x="3850703" y="1659893"/>
                  <a:pt x="3815836" y="1667218"/>
                  <a:pt x="3819560" y="1883745"/>
                </a:cubicBezTo>
                <a:cubicBezTo>
                  <a:pt x="3823284" y="2100272"/>
                  <a:pt x="3782442" y="2335215"/>
                  <a:pt x="3819560" y="2465148"/>
                </a:cubicBezTo>
                <a:cubicBezTo>
                  <a:pt x="3856678" y="2595081"/>
                  <a:pt x="3815306" y="2894584"/>
                  <a:pt x="3819560" y="3046551"/>
                </a:cubicBezTo>
                <a:cubicBezTo>
                  <a:pt x="3823814" y="3198518"/>
                  <a:pt x="3814924" y="3453552"/>
                  <a:pt x="3819560" y="3581442"/>
                </a:cubicBezTo>
                <a:cubicBezTo>
                  <a:pt x="3824196" y="3709332"/>
                  <a:pt x="3776801" y="3904999"/>
                  <a:pt x="3819560" y="4069820"/>
                </a:cubicBezTo>
                <a:cubicBezTo>
                  <a:pt x="3862319" y="4234641"/>
                  <a:pt x="3802352" y="4411204"/>
                  <a:pt x="3819560" y="4651223"/>
                </a:cubicBezTo>
                <a:cubicBezTo>
                  <a:pt x="3707122" y="4690214"/>
                  <a:pt x="3533554" y="4649750"/>
                  <a:pt x="3350300" y="4651223"/>
                </a:cubicBezTo>
                <a:cubicBezTo>
                  <a:pt x="3167046" y="4652696"/>
                  <a:pt x="2971179" y="4591572"/>
                  <a:pt x="2766453" y="4651223"/>
                </a:cubicBezTo>
                <a:cubicBezTo>
                  <a:pt x="2561727" y="4710874"/>
                  <a:pt x="2368323" y="4596202"/>
                  <a:pt x="2220801" y="4651223"/>
                </a:cubicBezTo>
                <a:cubicBezTo>
                  <a:pt x="2073279" y="4706244"/>
                  <a:pt x="1764181" y="4634422"/>
                  <a:pt x="1636954" y="4651223"/>
                </a:cubicBezTo>
                <a:cubicBezTo>
                  <a:pt x="1509727" y="4668024"/>
                  <a:pt x="1244068" y="4639630"/>
                  <a:pt x="1129498" y="4651223"/>
                </a:cubicBezTo>
                <a:cubicBezTo>
                  <a:pt x="1014928" y="4662816"/>
                  <a:pt x="689749" y="4610590"/>
                  <a:pt x="545651" y="4651223"/>
                </a:cubicBezTo>
                <a:cubicBezTo>
                  <a:pt x="401553" y="4691856"/>
                  <a:pt x="271304" y="4601753"/>
                  <a:pt x="0" y="4651223"/>
                </a:cubicBezTo>
                <a:cubicBezTo>
                  <a:pt x="-36762" y="4444173"/>
                  <a:pt x="21350" y="4173005"/>
                  <a:pt x="0" y="3976796"/>
                </a:cubicBezTo>
                <a:cubicBezTo>
                  <a:pt x="-21350" y="3780587"/>
                  <a:pt x="49500" y="3658257"/>
                  <a:pt x="0" y="3534929"/>
                </a:cubicBezTo>
                <a:cubicBezTo>
                  <a:pt x="-49500" y="3411601"/>
                  <a:pt x="3775" y="3087534"/>
                  <a:pt x="0" y="2907014"/>
                </a:cubicBezTo>
                <a:cubicBezTo>
                  <a:pt x="-3775" y="2726495"/>
                  <a:pt x="2724" y="2518963"/>
                  <a:pt x="0" y="2372124"/>
                </a:cubicBezTo>
                <a:cubicBezTo>
                  <a:pt x="-2724" y="2225285"/>
                  <a:pt x="45719" y="1978970"/>
                  <a:pt x="0" y="1790721"/>
                </a:cubicBezTo>
                <a:cubicBezTo>
                  <a:pt x="-45719" y="1602472"/>
                  <a:pt x="5920" y="1551073"/>
                  <a:pt x="0" y="1348855"/>
                </a:cubicBezTo>
                <a:cubicBezTo>
                  <a:pt x="-5920" y="1146637"/>
                  <a:pt x="28450" y="1091385"/>
                  <a:pt x="0" y="860476"/>
                </a:cubicBezTo>
                <a:cubicBezTo>
                  <a:pt x="-28450" y="629567"/>
                  <a:pt x="50865" y="200669"/>
                  <a:pt x="0" y="0"/>
                </a:cubicBezTo>
                <a:close/>
              </a:path>
              <a:path w="3819560" h="4651223" stroke="0" extrusionOk="0">
                <a:moveTo>
                  <a:pt x="0" y="0"/>
                </a:moveTo>
                <a:cubicBezTo>
                  <a:pt x="244154" y="-25647"/>
                  <a:pt x="346493" y="37728"/>
                  <a:pt x="583847" y="0"/>
                </a:cubicBezTo>
                <a:cubicBezTo>
                  <a:pt x="821201" y="-37728"/>
                  <a:pt x="895390" y="16045"/>
                  <a:pt x="1091303" y="0"/>
                </a:cubicBezTo>
                <a:cubicBezTo>
                  <a:pt x="1287216" y="-16045"/>
                  <a:pt x="1342575" y="34930"/>
                  <a:pt x="1522367" y="0"/>
                </a:cubicBezTo>
                <a:cubicBezTo>
                  <a:pt x="1702159" y="-34930"/>
                  <a:pt x="1817036" y="45983"/>
                  <a:pt x="2068019" y="0"/>
                </a:cubicBezTo>
                <a:cubicBezTo>
                  <a:pt x="2319002" y="-45983"/>
                  <a:pt x="2328511" y="11745"/>
                  <a:pt x="2537279" y="0"/>
                </a:cubicBezTo>
                <a:cubicBezTo>
                  <a:pt x="2746047" y="-11745"/>
                  <a:pt x="2864541" y="53674"/>
                  <a:pt x="3121126" y="0"/>
                </a:cubicBezTo>
                <a:cubicBezTo>
                  <a:pt x="3377711" y="-53674"/>
                  <a:pt x="3510386" y="31206"/>
                  <a:pt x="3819560" y="0"/>
                </a:cubicBezTo>
                <a:cubicBezTo>
                  <a:pt x="3861655" y="126423"/>
                  <a:pt x="3765445" y="274667"/>
                  <a:pt x="3819560" y="488378"/>
                </a:cubicBezTo>
                <a:cubicBezTo>
                  <a:pt x="3873675" y="702089"/>
                  <a:pt x="3819416" y="829070"/>
                  <a:pt x="3819560" y="1023269"/>
                </a:cubicBezTo>
                <a:cubicBezTo>
                  <a:pt x="3819704" y="1217468"/>
                  <a:pt x="3809667" y="1413604"/>
                  <a:pt x="3819560" y="1697696"/>
                </a:cubicBezTo>
                <a:cubicBezTo>
                  <a:pt x="3829453" y="1981788"/>
                  <a:pt x="3791690" y="2062745"/>
                  <a:pt x="3819560" y="2372124"/>
                </a:cubicBezTo>
                <a:cubicBezTo>
                  <a:pt x="3847430" y="2681503"/>
                  <a:pt x="3803646" y="2690023"/>
                  <a:pt x="3819560" y="2813990"/>
                </a:cubicBezTo>
                <a:cubicBezTo>
                  <a:pt x="3835474" y="2937957"/>
                  <a:pt x="3817487" y="3062758"/>
                  <a:pt x="3819560" y="3255856"/>
                </a:cubicBezTo>
                <a:cubicBezTo>
                  <a:pt x="3821633" y="3448954"/>
                  <a:pt x="3813472" y="3581103"/>
                  <a:pt x="3819560" y="3697722"/>
                </a:cubicBezTo>
                <a:cubicBezTo>
                  <a:pt x="3825648" y="3814341"/>
                  <a:pt x="3773782" y="4193106"/>
                  <a:pt x="3819560" y="4651223"/>
                </a:cubicBezTo>
                <a:cubicBezTo>
                  <a:pt x="3653776" y="4706963"/>
                  <a:pt x="3479784" y="4582968"/>
                  <a:pt x="3197517" y="4651223"/>
                </a:cubicBezTo>
                <a:cubicBezTo>
                  <a:pt x="2915250" y="4719478"/>
                  <a:pt x="2813668" y="4597796"/>
                  <a:pt x="2613670" y="4651223"/>
                </a:cubicBezTo>
                <a:cubicBezTo>
                  <a:pt x="2413672" y="4704650"/>
                  <a:pt x="2370144" y="4606204"/>
                  <a:pt x="2182606" y="4651223"/>
                </a:cubicBezTo>
                <a:cubicBezTo>
                  <a:pt x="1995068" y="4696242"/>
                  <a:pt x="1927459" y="4595909"/>
                  <a:pt x="1713345" y="4651223"/>
                </a:cubicBezTo>
                <a:cubicBezTo>
                  <a:pt x="1499231" y="4706537"/>
                  <a:pt x="1427999" y="4636940"/>
                  <a:pt x="1205890" y="4651223"/>
                </a:cubicBezTo>
                <a:cubicBezTo>
                  <a:pt x="983782" y="4665506"/>
                  <a:pt x="841555" y="4633809"/>
                  <a:pt x="736629" y="4651223"/>
                </a:cubicBezTo>
                <a:cubicBezTo>
                  <a:pt x="631703" y="4668637"/>
                  <a:pt x="281699" y="4589547"/>
                  <a:pt x="0" y="4651223"/>
                </a:cubicBezTo>
                <a:cubicBezTo>
                  <a:pt x="-9584" y="4443099"/>
                  <a:pt x="28513" y="4226804"/>
                  <a:pt x="0" y="4116332"/>
                </a:cubicBezTo>
                <a:cubicBezTo>
                  <a:pt x="-28513" y="4005860"/>
                  <a:pt x="72886" y="3637759"/>
                  <a:pt x="0" y="3441905"/>
                </a:cubicBezTo>
                <a:cubicBezTo>
                  <a:pt x="-72886" y="3246051"/>
                  <a:pt x="14156" y="3113205"/>
                  <a:pt x="0" y="3000039"/>
                </a:cubicBezTo>
                <a:cubicBezTo>
                  <a:pt x="-14156" y="2886873"/>
                  <a:pt x="59623" y="2581268"/>
                  <a:pt x="0" y="2372124"/>
                </a:cubicBezTo>
                <a:cubicBezTo>
                  <a:pt x="-59623" y="2162981"/>
                  <a:pt x="52642" y="1897169"/>
                  <a:pt x="0" y="1697696"/>
                </a:cubicBezTo>
                <a:cubicBezTo>
                  <a:pt x="-52642" y="1498223"/>
                  <a:pt x="58230" y="1287430"/>
                  <a:pt x="0" y="1116294"/>
                </a:cubicBezTo>
                <a:cubicBezTo>
                  <a:pt x="-58230" y="945158"/>
                  <a:pt x="14432" y="856947"/>
                  <a:pt x="0" y="674427"/>
                </a:cubicBezTo>
                <a:cubicBezTo>
                  <a:pt x="-14432" y="491907"/>
                  <a:pt x="30128" y="220998"/>
                  <a:pt x="0" y="0"/>
                </a:cubicBezTo>
                <a:close/>
              </a:path>
            </a:pathLst>
          </a:custGeom>
          <a:ln>
            <a:solidFill>
              <a:schemeClr val="tx1"/>
            </a:solidFill>
            <a:extLst>
              <a:ext uri="{C807C97D-BFC1-408E-A445-0C87EB9F89A2}">
                <ask:lineSketchStyleProps xmlns:ask="http://schemas.microsoft.com/office/drawing/2018/sketchyshapes" sd="848910217">
                  <a:prstGeom prst="rect">
                    <a:avLst/>
                  </a:prstGeom>
                  <ask:type>
                    <ask:lineSketchScribble/>
                  </ask:type>
                </ask:lineSketchStyleProps>
              </a:ext>
            </a:extLst>
          </a:ln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4DD18472-72D9-4FE1-96CB-F087A0EC0933}"/>
              </a:ext>
            </a:extLst>
          </p:cNvPr>
          <p:cNvSpPr txBox="1"/>
          <p:nvPr/>
        </p:nvSpPr>
        <p:spPr>
          <a:xfrm>
            <a:off x="3026139" y="5298862"/>
            <a:ext cx="875561" cy="369332"/>
          </a:xfrm>
          <a:custGeom>
            <a:avLst/>
            <a:gdLst>
              <a:gd name="connsiteX0" fmla="*/ 0 w 875561"/>
              <a:gd name="connsiteY0" fmla="*/ 0 h 369332"/>
              <a:gd name="connsiteX1" fmla="*/ 411514 w 875561"/>
              <a:gd name="connsiteY1" fmla="*/ 0 h 369332"/>
              <a:gd name="connsiteX2" fmla="*/ 875561 w 875561"/>
              <a:gd name="connsiteY2" fmla="*/ 0 h 369332"/>
              <a:gd name="connsiteX3" fmla="*/ 875561 w 875561"/>
              <a:gd name="connsiteY3" fmla="*/ 369332 h 369332"/>
              <a:gd name="connsiteX4" fmla="*/ 429025 w 875561"/>
              <a:gd name="connsiteY4" fmla="*/ 369332 h 369332"/>
              <a:gd name="connsiteX5" fmla="*/ 0 w 875561"/>
              <a:gd name="connsiteY5" fmla="*/ 369332 h 369332"/>
              <a:gd name="connsiteX6" fmla="*/ 0 w 875561"/>
              <a:gd name="connsiteY6" fmla="*/ 0 h 3693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75561" h="369332" fill="none" extrusionOk="0">
                <a:moveTo>
                  <a:pt x="0" y="0"/>
                </a:moveTo>
                <a:cubicBezTo>
                  <a:pt x="172815" y="1644"/>
                  <a:pt x="243390" y="-5670"/>
                  <a:pt x="411514" y="0"/>
                </a:cubicBezTo>
                <a:cubicBezTo>
                  <a:pt x="579638" y="5670"/>
                  <a:pt x="738734" y="4070"/>
                  <a:pt x="875561" y="0"/>
                </a:cubicBezTo>
                <a:cubicBezTo>
                  <a:pt x="873264" y="164854"/>
                  <a:pt x="872082" y="271692"/>
                  <a:pt x="875561" y="369332"/>
                </a:cubicBezTo>
                <a:cubicBezTo>
                  <a:pt x="701258" y="355782"/>
                  <a:pt x="580088" y="347774"/>
                  <a:pt x="429025" y="369332"/>
                </a:cubicBezTo>
                <a:cubicBezTo>
                  <a:pt x="277962" y="390890"/>
                  <a:pt x="163728" y="370958"/>
                  <a:pt x="0" y="369332"/>
                </a:cubicBezTo>
                <a:cubicBezTo>
                  <a:pt x="2826" y="267487"/>
                  <a:pt x="18282" y="165003"/>
                  <a:pt x="0" y="0"/>
                </a:cubicBezTo>
                <a:close/>
              </a:path>
              <a:path w="875561" h="369332" stroke="0" extrusionOk="0">
                <a:moveTo>
                  <a:pt x="0" y="0"/>
                </a:moveTo>
                <a:cubicBezTo>
                  <a:pt x="195619" y="-16075"/>
                  <a:pt x="321758" y="3032"/>
                  <a:pt x="411514" y="0"/>
                </a:cubicBezTo>
                <a:cubicBezTo>
                  <a:pt x="501270" y="-3032"/>
                  <a:pt x="673322" y="-20939"/>
                  <a:pt x="875561" y="0"/>
                </a:cubicBezTo>
                <a:cubicBezTo>
                  <a:pt x="869618" y="109658"/>
                  <a:pt x="887621" y="226912"/>
                  <a:pt x="875561" y="369332"/>
                </a:cubicBezTo>
                <a:cubicBezTo>
                  <a:pt x="670303" y="350441"/>
                  <a:pt x="567053" y="357744"/>
                  <a:pt x="455292" y="369332"/>
                </a:cubicBezTo>
                <a:cubicBezTo>
                  <a:pt x="343531" y="380920"/>
                  <a:pt x="134497" y="346635"/>
                  <a:pt x="0" y="369332"/>
                </a:cubicBezTo>
                <a:cubicBezTo>
                  <a:pt x="17046" y="194012"/>
                  <a:pt x="-16701" y="176343"/>
                  <a:pt x="0" y="0"/>
                </a:cubicBezTo>
                <a:close/>
              </a:path>
            </a:pathLst>
          </a:custGeom>
          <a:solidFill>
            <a:schemeClr val="bg1"/>
          </a:solidFill>
          <a:ln>
            <a:solidFill>
              <a:schemeClr val="tx1"/>
            </a:solidFill>
            <a:extLst>
              <a:ext uri="{C807C97D-BFC1-408E-A445-0C87EB9F89A2}">
                <ask:lineSketchStyleProps xmlns:ask="http://schemas.microsoft.com/office/drawing/2018/sketchyshapes" sd="126692786">
                  <a:prstGeom prst="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txBody>
          <a:bodyPr wrap="none" rtlCol="0">
            <a:spAutoFit/>
          </a:bodyPr>
          <a:lstStyle/>
          <a:p>
            <a:r>
              <a:rPr lang="en-US" dirty="0"/>
              <a:t>Sampl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51244342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D36752CD-225B-05DA-9C37-C53AFE5337F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13712382"/>
              </p:ext>
            </p:extLst>
          </p:nvPr>
        </p:nvGraphicFramePr>
        <p:xfrm>
          <a:off x="311999" y="1196106"/>
          <a:ext cx="11880001" cy="5367486"/>
        </p:xfrm>
        <a:graphic>
          <a:graphicData uri="http://schemas.openxmlformats.org/drawingml/2006/table">
            <a:tbl>
              <a:tblPr firstRow="1" bandRow="1">
                <a:tableStyleId>{073A0DAA-6AF3-43AB-8588-CEC1D06C72B9}</a:tableStyleId>
              </a:tblPr>
              <a:tblGrid>
                <a:gridCol w="1697143">
                  <a:extLst>
                    <a:ext uri="{9D8B030D-6E8A-4147-A177-3AD203B41FA5}">
                      <a16:colId xmlns:a16="http://schemas.microsoft.com/office/drawing/2014/main" val="3250791882"/>
                    </a:ext>
                  </a:extLst>
                </a:gridCol>
                <a:gridCol w="1697143">
                  <a:extLst>
                    <a:ext uri="{9D8B030D-6E8A-4147-A177-3AD203B41FA5}">
                      <a16:colId xmlns:a16="http://schemas.microsoft.com/office/drawing/2014/main" val="40202392"/>
                    </a:ext>
                  </a:extLst>
                </a:gridCol>
                <a:gridCol w="1697143">
                  <a:extLst>
                    <a:ext uri="{9D8B030D-6E8A-4147-A177-3AD203B41FA5}">
                      <a16:colId xmlns:a16="http://schemas.microsoft.com/office/drawing/2014/main" val="1011360498"/>
                    </a:ext>
                  </a:extLst>
                </a:gridCol>
                <a:gridCol w="1697143">
                  <a:extLst>
                    <a:ext uri="{9D8B030D-6E8A-4147-A177-3AD203B41FA5}">
                      <a16:colId xmlns:a16="http://schemas.microsoft.com/office/drawing/2014/main" val="2769497312"/>
                    </a:ext>
                  </a:extLst>
                </a:gridCol>
                <a:gridCol w="1697143">
                  <a:extLst>
                    <a:ext uri="{9D8B030D-6E8A-4147-A177-3AD203B41FA5}">
                      <a16:colId xmlns:a16="http://schemas.microsoft.com/office/drawing/2014/main" val="3106912191"/>
                    </a:ext>
                  </a:extLst>
                </a:gridCol>
                <a:gridCol w="1697143">
                  <a:extLst>
                    <a:ext uri="{9D8B030D-6E8A-4147-A177-3AD203B41FA5}">
                      <a16:colId xmlns:a16="http://schemas.microsoft.com/office/drawing/2014/main" val="1232834685"/>
                    </a:ext>
                  </a:extLst>
                </a:gridCol>
                <a:gridCol w="1697143">
                  <a:extLst>
                    <a:ext uri="{9D8B030D-6E8A-4147-A177-3AD203B41FA5}">
                      <a16:colId xmlns:a16="http://schemas.microsoft.com/office/drawing/2014/main" val="2077047612"/>
                    </a:ext>
                  </a:extLst>
                </a:gridCol>
              </a:tblGrid>
              <a:tr h="527219">
                <a:tc>
                  <a:txBody>
                    <a:bodyPr/>
                    <a:lstStyle/>
                    <a:p>
                      <a:pPr algn="ctr"/>
                      <a:r>
                        <a:rPr lang="en-IN" dirty="0"/>
                        <a:t>BAK 5.5_ 21700</a:t>
                      </a:r>
                    </a:p>
                  </a:txBody>
                  <a:tcP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b="0" i="0" u="none" strike="noStrike" cap="none" spc="0" dirty="0">
                          <a:solidFill>
                            <a:schemeClr val="bg1"/>
                          </a:solidFill>
                          <a:effectLst/>
                          <a:latin typeface="Aptos Display" panose="020B0004020202020204" pitchFamily="34" charset="0"/>
                        </a:rPr>
                        <a:t>4</a:t>
                      </a:r>
                      <a:r>
                        <a:rPr lang="en-IN" sz="1800" b="0" i="0" u="none" strike="noStrike" cap="none" spc="0" dirty="0">
                          <a:solidFill>
                            <a:schemeClr val="bg1"/>
                          </a:solidFill>
                          <a:effectLst/>
                          <a:latin typeface="Aptos Display" panose="020B0004020202020204" pitchFamily="34" charset="0"/>
                        </a:rPr>
                        <a:t>680 Gen2</a:t>
                      </a:r>
                    </a:p>
                  </a:txBody>
                  <a:tcP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b="0" i="0" u="none" strike="noStrike" cap="none" spc="0" dirty="0" err="1">
                          <a:solidFill>
                            <a:schemeClr val="bg1"/>
                          </a:solidFill>
                          <a:effectLst/>
                          <a:latin typeface="Aptos Display" panose="020B0004020202020204" pitchFamily="34" charset="0"/>
                        </a:rPr>
                        <a:t>Blivex</a:t>
                      </a:r>
                      <a:r>
                        <a:rPr lang="en-US" sz="1800" b="0" i="0" u="none" strike="noStrike" cap="none" spc="0" dirty="0">
                          <a:solidFill>
                            <a:schemeClr val="bg1"/>
                          </a:solidFill>
                          <a:effectLst/>
                          <a:latin typeface="Aptos Display" panose="020B0004020202020204" pitchFamily="34" charset="0"/>
                        </a:rPr>
                        <a:t> 32700</a:t>
                      </a:r>
                      <a:endParaRPr lang="en-IN" sz="1800" b="0" i="0" u="none" strike="noStrike" cap="none" spc="0" dirty="0">
                        <a:solidFill>
                          <a:schemeClr val="bg1"/>
                        </a:solidFill>
                        <a:effectLst/>
                        <a:latin typeface="Aptos Display" panose="020B0004020202020204" pitchFamily="34" charset="0"/>
                      </a:endParaRPr>
                    </a:p>
                  </a:txBody>
                  <a:tcP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0" i="0" u="none" strike="noStrike" cap="none" spc="0" dirty="0">
                          <a:solidFill>
                            <a:schemeClr val="bg1"/>
                          </a:solidFill>
                          <a:effectLst/>
                          <a:latin typeface="Aptos Display" panose="020B0004020202020204" pitchFamily="34" charset="0"/>
                        </a:rPr>
                        <a:t>CBAK 32140</a:t>
                      </a:r>
                      <a:endParaRPr lang="en-IN" sz="1800" b="0" i="0" u="none" strike="noStrike" cap="none" spc="0" dirty="0">
                        <a:solidFill>
                          <a:schemeClr val="bg1"/>
                        </a:solidFill>
                        <a:effectLst/>
                        <a:latin typeface="Aptos Display" panose="020B0004020202020204" pitchFamily="34" charset="0"/>
                      </a:endParaRPr>
                    </a:p>
                  </a:txBody>
                  <a:tcP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800" b="0" u="none" strike="noStrike" cap="none" spc="0" dirty="0">
                          <a:solidFill>
                            <a:schemeClr val="bg1"/>
                          </a:solidFill>
                          <a:effectLst/>
                          <a:latin typeface="Aptos Display" panose="020B0004020202020204" pitchFamily="34" charset="0"/>
                        </a:rPr>
                        <a:t>EVE 5.0_21700</a:t>
                      </a:r>
                      <a:endParaRPr lang="en-IN" sz="1800" b="0" i="0" u="none" strike="noStrike" cap="none" spc="0" dirty="0">
                        <a:solidFill>
                          <a:schemeClr val="bg1"/>
                        </a:solidFill>
                        <a:effectLst/>
                        <a:latin typeface="Aptos Display" panose="020B0004020202020204" pitchFamily="34" charset="0"/>
                      </a:endParaRPr>
                    </a:p>
                  </a:txBody>
                  <a:tcP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1800" b="0" u="none" strike="noStrike" cap="none" spc="0" dirty="0" err="1">
                          <a:solidFill>
                            <a:schemeClr val="bg1"/>
                          </a:solidFill>
                          <a:effectLst/>
                          <a:latin typeface="Aptos Display" panose="020B0004020202020204" pitchFamily="34" charset="0"/>
                        </a:rPr>
                        <a:t>Moilicell</a:t>
                      </a:r>
                      <a:r>
                        <a:rPr lang="en-IN" sz="1800" b="0" u="none" strike="noStrike" cap="none" spc="0" dirty="0">
                          <a:solidFill>
                            <a:schemeClr val="bg1"/>
                          </a:solidFill>
                          <a:effectLst/>
                          <a:latin typeface="Aptos Display" panose="020B0004020202020204" pitchFamily="34" charset="0"/>
                        </a:rPr>
                        <a:t> 4.2 21700</a:t>
                      </a:r>
                      <a:endParaRPr lang="en-IN" sz="1800" b="0" i="0" u="none" strike="noStrike" cap="none" spc="0" dirty="0">
                        <a:solidFill>
                          <a:schemeClr val="bg1"/>
                        </a:solidFill>
                        <a:effectLst/>
                        <a:latin typeface="Aptos Display" panose="020B0004020202020204" pitchFamily="34" charset="0"/>
                      </a:endParaRPr>
                    </a:p>
                  </a:txBody>
                  <a:tcP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0" i="0" u="none" strike="noStrike" cap="none" spc="0" dirty="0">
                          <a:solidFill>
                            <a:schemeClr val="bg1"/>
                          </a:solidFill>
                          <a:effectLst/>
                          <a:latin typeface="Aptos Display" panose="020B0004020202020204" pitchFamily="34" charset="0"/>
                        </a:rPr>
                        <a:t>RIN 5.8_21700</a:t>
                      </a:r>
                      <a:endParaRPr lang="en-IN" sz="1800" b="0" i="0" u="none" strike="noStrike" cap="none" spc="0" dirty="0">
                        <a:solidFill>
                          <a:schemeClr val="bg1"/>
                        </a:solidFill>
                        <a:effectLst/>
                        <a:latin typeface="Aptos Display" panose="020B0004020202020204" pitchFamily="34" charset="0"/>
                      </a:endParaRPr>
                    </a:p>
                  </a:txBody>
                  <a:tcP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28126579"/>
                  </a:ext>
                </a:extLst>
              </a:tr>
              <a:tr h="2363703">
                <a:tc>
                  <a:txBody>
                    <a:bodyPr/>
                    <a:lstStyle/>
                    <a:p>
                      <a:endParaRPr lang="en-IN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IN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IN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IN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IN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IN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IN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00036847"/>
                  </a:ext>
                </a:extLst>
              </a:tr>
              <a:tr h="2363703">
                <a:tc>
                  <a:txBody>
                    <a:bodyPr/>
                    <a:lstStyle/>
                    <a:p>
                      <a:endParaRPr lang="en-IN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IN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IN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IN" dirty="0"/>
                    </a:p>
                    <a:p>
                      <a:endParaRPr lang="en-IN" dirty="0"/>
                    </a:p>
                    <a:p>
                      <a:endParaRPr lang="en-IN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IN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IN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IN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00684526"/>
                  </a:ext>
                </a:extLst>
              </a:tr>
            </a:tbl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id="{87AC5B25-C9E8-409D-A303-85F7E78FED0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971582" y="1990723"/>
            <a:ext cx="3167177" cy="4109529"/>
          </a:xfrm>
          <a:custGeom>
            <a:avLst/>
            <a:gdLst>
              <a:gd name="connsiteX0" fmla="*/ 0 w 3167177"/>
              <a:gd name="connsiteY0" fmla="*/ 0 h 4109529"/>
              <a:gd name="connsiteX1" fmla="*/ 527863 w 3167177"/>
              <a:gd name="connsiteY1" fmla="*/ 0 h 4109529"/>
              <a:gd name="connsiteX2" fmla="*/ 1087397 w 3167177"/>
              <a:gd name="connsiteY2" fmla="*/ 0 h 4109529"/>
              <a:gd name="connsiteX3" fmla="*/ 1615260 w 3167177"/>
              <a:gd name="connsiteY3" fmla="*/ 0 h 4109529"/>
              <a:gd name="connsiteX4" fmla="*/ 2048108 w 3167177"/>
              <a:gd name="connsiteY4" fmla="*/ 0 h 4109529"/>
              <a:gd name="connsiteX5" fmla="*/ 2639314 w 3167177"/>
              <a:gd name="connsiteY5" fmla="*/ 0 h 4109529"/>
              <a:gd name="connsiteX6" fmla="*/ 3167177 w 3167177"/>
              <a:gd name="connsiteY6" fmla="*/ 0 h 4109529"/>
              <a:gd name="connsiteX7" fmla="*/ 3167177 w 3167177"/>
              <a:gd name="connsiteY7" fmla="*/ 545980 h 4109529"/>
              <a:gd name="connsiteX8" fmla="*/ 3167177 w 3167177"/>
              <a:gd name="connsiteY8" fmla="*/ 1050865 h 4109529"/>
              <a:gd name="connsiteX9" fmla="*/ 3167177 w 3167177"/>
              <a:gd name="connsiteY9" fmla="*/ 1720131 h 4109529"/>
              <a:gd name="connsiteX10" fmla="*/ 3167177 w 3167177"/>
              <a:gd name="connsiteY10" fmla="*/ 2266112 h 4109529"/>
              <a:gd name="connsiteX11" fmla="*/ 3167177 w 3167177"/>
              <a:gd name="connsiteY11" fmla="*/ 2894283 h 4109529"/>
              <a:gd name="connsiteX12" fmla="*/ 3167177 w 3167177"/>
              <a:gd name="connsiteY12" fmla="*/ 3522453 h 4109529"/>
              <a:gd name="connsiteX13" fmla="*/ 3167177 w 3167177"/>
              <a:gd name="connsiteY13" fmla="*/ 4109529 h 4109529"/>
              <a:gd name="connsiteX14" fmla="*/ 2702658 w 3167177"/>
              <a:gd name="connsiteY14" fmla="*/ 4109529 h 4109529"/>
              <a:gd name="connsiteX15" fmla="*/ 2174795 w 3167177"/>
              <a:gd name="connsiteY15" fmla="*/ 4109529 h 4109529"/>
              <a:gd name="connsiteX16" fmla="*/ 1646932 w 3167177"/>
              <a:gd name="connsiteY16" fmla="*/ 4109529 h 4109529"/>
              <a:gd name="connsiteX17" fmla="*/ 1150741 w 3167177"/>
              <a:gd name="connsiteY17" fmla="*/ 4109529 h 4109529"/>
              <a:gd name="connsiteX18" fmla="*/ 559535 w 3167177"/>
              <a:gd name="connsiteY18" fmla="*/ 4109529 h 4109529"/>
              <a:gd name="connsiteX19" fmla="*/ 0 w 3167177"/>
              <a:gd name="connsiteY19" fmla="*/ 4109529 h 4109529"/>
              <a:gd name="connsiteX20" fmla="*/ 0 w 3167177"/>
              <a:gd name="connsiteY20" fmla="*/ 3481358 h 4109529"/>
              <a:gd name="connsiteX21" fmla="*/ 0 w 3167177"/>
              <a:gd name="connsiteY21" fmla="*/ 2853187 h 4109529"/>
              <a:gd name="connsiteX22" fmla="*/ 0 w 3167177"/>
              <a:gd name="connsiteY22" fmla="*/ 2389398 h 4109529"/>
              <a:gd name="connsiteX23" fmla="*/ 0 w 3167177"/>
              <a:gd name="connsiteY23" fmla="*/ 1802322 h 4109529"/>
              <a:gd name="connsiteX24" fmla="*/ 0 w 3167177"/>
              <a:gd name="connsiteY24" fmla="*/ 1174151 h 4109529"/>
              <a:gd name="connsiteX25" fmla="*/ 0 w 3167177"/>
              <a:gd name="connsiteY25" fmla="*/ 628171 h 4109529"/>
              <a:gd name="connsiteX26" fmla="*/ 0 w 3167177"/>
              <a:gd name="connsiteY26" fmla="*/ 0 h 41095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</a:cxnLst>
            <a:rect l="l" t="t" r="r" b="b"/>
            <a:pathLst>
              <a:path w="3167177" h="4109529" fill="none" extrusionOk="0">
                <a:moveTo>
                  <a:pt x="0" y="0"/>
                </a:moveTo>
                <a:cubicBezTo>
                  <a:pt x="157153" y="-48388"/>
                  <a:pt x="339619" y="51488"/>
                  <a:pt x="527863" y="0"/>
                </a:cubicBezTo>
                <a:cubicBezTo>
                  <a:pt x="716107" y="-51488"/>
                  <a:pt x="924409" y="29631"/>
                  <a:pt x="1087397" y="0"/>
                </a:cubicBezTo>
                <a:cubicBezTo>
                  <a:pt x="1250385" y="-29631"/>
                  <a:pt x="1370669" y="40005"/>
                  <a:pt x="1615260" y="0"/>
                </a:cubicBezTo>
                <a:cubicBezTo>
                  <a:pt x="1859851" y="-40005"/>
                  <a:pt x="1884922" y="37832"/>
                  <a:pt x="2048108" y="0"/>
                </a:cubicBezTo>
                <a:cubicBezTo>
                  <a:pt x="2211294" y="-37832"/>
                  <a:pt x="2443213" y="47918"/>
                  <a:pt x="2639314" y="0"/>
                </a:cubicBezTo>
                <a:cubicBezTo>
                  <a:pt x="2835415" y="-47918"/>
                  <a:pt x="2923017" y="37737"/>
                  <a:pt x="3167177" y="0"/>
                </a:cubicBezTo>
                <a:cubicBezTo>
                  <a:pt x="3178291" y="190405"/>
                  <a:pt x="3132240" y="414524"/>
                  <a:pt x="3167177" y="545980"/>
                </a:cubicBezTo>
                <a:cubicBezTo>
                  <a:pt x="3202114" y="677436"/>
                  <a:pt x="3121947" y="863680"/>
                  <a:pt x="3167177" y="1050865"/>
                </a:cubicBezTo>
                <a:cubicBezTo>
                  <a:pt x="3212407" y="1238050"/>
                  <a:pt x="3100452" y="1440182"/>
                  <a:pt x="3167177" y="1720131"/>
                </a:cubicBezTo>
                <a:cubicBezTo>
                  <a:pt x="3233902" y="2000080"/>
                  <a:pt x="3161557" y="2139321"/>
                  <a:pt x="3167177" y="2266112"/>
                </a:cubicBezTo>
                <a:cubicBezTo>
                  <a:pt x="3172797" y="2392903"/>
                  <a:pt x="3147852" y="2598686"/>
                  <a:pt x="3167177" y="2894283"/>
                </a:cubicBezTo>
                <a:cubicBezTo>
                  <a:pt x="3186502" y="3189880"/>
                  <a:pt x="3152303" y="3248839"/>
                  <a:pt x="3167177" y="3522453"/>
                </a:cubicBezTo>
                <a:cubicBezTo>
                  <a:pt x="3182051" y="3796067"/>
                  <a:pt x="3151083" y="3933688"/>
                  <a:pt x="3167177" y="4109529"/>
                </a:cubicBezTo>
                <a:cubicBezTo>
                  <a:pt x="2950835" y="4114285"/>
                  <a:pt x="2896164" y="4098114"/>
                  <a:pt x="2702658" y="4109529"/>
                </a:cubicBezTo>
                <a:cubicBezTo>
                  <a:pt x="2509152" y="4120944"/>
                  <a:pt x="2388330" y="4061174"/>
                  <a:pt x="2174795" y="4109529"/>
                </a:cubicBezTo>
                <a:cubicBezTo>
                  <a:pt x="1961260" y="4157884"/>
                  <a:pt x="1841950" y="4102192"/>
                  <a:pt x="1646932" y="4109529"/>
                </a:cubicBezTo>
                <a:cubicBezTo>
                  <a:pt x="1451914" y="4116866"/>
                  <a:pt x="1371566" y="4054662"/>
                  <a:pt x="1150741" y="4109529"/>
                </a:cubicBezTo>
                <a:cubicBezTo>
                  <a:pt x="929916" y="4164396"/>
                  <a:pt x="736414" y="4038669"/>
                  <a:pt x="559535" y="4109529"/>
                </a:cubicBezTo>
                <a:cubicBezTo>
                  <a:pt x="382656" y="4180389"/>
                  <a:pt x="226795" y="4104065"/>
                  <a:pt x="0" y="4109529"/>
                </a:cubicBezTo>
                <a:cubicBezTo>
                  <a:pt x="-1162" y="3807862"/>
                  <a:pt x="32714" y="3652360"/>
                  <a:pt x="0" y="3481358"/>
                </a:cubicBezTo>
                <a:cubicBezTo>
                  <a:pt x="-32714" y="3310356"/>
                  <a:pt x="63345" y="3149657"/>
                  <a:pt x="0" y="2853187"/>
                </a:cubicBezTo>
                <a:cubicBezTo>
                  <a:pt x="-63345" y="2556717"/>
                  <a:pt x="33596" y="2541866"/>
                  <a:pt x="0" y="2389398"/>
                </a:cubicBezTo>
                <a:cubicBezTo>
                  <a:pt x="-33596" y="2236930"/>
                  <a:pt x="49451" y="1999660"/>
                  <a:pt x="0" y="1802322"/>
                </a:cubicBezTo>
                <a:cubicBezTo>
                  <a:pt x="-49451" y="1604984"/>
                  <a:pt x="15491" y="1380355"/>
                  <a:pt x="0" y="1174151"/>
                </a:cubicBezTo>
                <a:cubicBezTo>
                  <a:pt x="-15491" y="967947"/>
                  <a:pt x="45530" y="890103"/>
                  <a:pt x="0" y="628171"/>
                </a:cubicBezTo>
                <a:cubicBezTo>
                  <a:pt x="-45530" y="366239"/>
                  <a:pt x="39551" y="157350"/>
                  <a:pt x="0" y="0"/>
                </a:cubicBezTo>
                <a:close/>
              </a:path>
              <a:path w="3167177" h="4109529" stroke="0" extrusionOk="0">
                <a:moveTo>
                  <a:pt x="0" y="0"/>
                </a:moveTo>
                <a:cubicBezTo>
                  <a:pt x="213951" y="-6617"/>
                  <a:pt x="283719" y="35268"/>
                  <a:pt x="496191" y="0"/>
                </a:cubicBezTo>
                <a:cubicBezTo>
                  <a:pt x="708663" y="-35268"/>
                  <a:pt x="855055" y="62870"/>
                  <a:pt x="1024054" y="0"/>
                </a:cubicBezTo>
                <a:cubicBezTo>
                  <a:pt x="1193053" y="-62870"/>
                  <a:pt x="1339721" y="50130"/>
                  <a:pt x="1456901" y="0"/>
                </a:cubicBezTo>
                <a:cubicBezTo>
                  <a:pt x="1574081" y="-50130"/>
                  <a:pt x="1758393" y="40248"/>
                  <a:pt x="1984764" y="0"/>
                </a:cubicBezTo>
                <a:cubicBezTo>
                  <a:pt x="2211135" y="-40248"/>
                  <a:pt x="2380731" y="37781"/>
                  <a:pt x="2480955" y="0"/>
                </a:cubicBezTo>
                <a:cubicBezTo>
                  <a:pt x="2581179" y="-37781"/>
                  <a:pt x="2914002" y="40211"/>
                  <a:pt x="3167177" y="0"/>
                </a:cubicBezTo>
                <a:cubicBezTo>
                  <a:pt x="3171957" y="246630"/>
                  <a:pt x="3134676" y="468409"/>
                  <a:pt x="3167177" y="587076"/>
                </a:cubicBezTo>
                <a:cubicBezTo>
                  <a:pt x="3199678" y="705743"/>
                  <a:pt x="3166881" y="983056"/>
                  <a:pt x="3167177" y="1256342"/>
                </a:cubicBezTo>
                <a:cubicBezTo>
                  <a:pt x="3167473" y="1529628"/>
                  <a:pt x="3158338" y="1549870"/>
                  <a:pt x="3167177" y="1761227"/>
                </a:cubicBezTo>
                <a:cubicBezTo>
                  <a:pt x="3176016" y="1972585"/>
                  <a:pt x="3160389" y="2132916"/>
                  <a:pt x="3167177" y="2348302"/>
                </a:cubicBezTo>
                <a:cubicBezTo>
                  <a:pt x="3173965" y="2563689"/>
                  <a:pt x="3106315" y="2786646"/>
                  <a:pt x="3167177" y="2976473"/>
                </a:cubicBezTo>
                <a:cubicBezTo>
                  <a:pt x="3228039" y="3166300"/>
                  <a:pt x="3147844" y="3382711"/>
                  <a:pt x="3167177" y="3522453"/>
                </a:cubicBezTo>
                <a:cubicBezTo>
                  <a:pt x="3186510" y="3662195"/>
                  <a:pt x="3109492" y="3822523"/>
                  <a:pt x="3167177" y="4109529"/>
                </a:cubicBezTo>
                <a:cubicBezTo>
                  <a:pt x="2956821" y="4162056"/>
                  <a:pt x="2761734" y="4073575"/>
                  <a:pt x="2607642" y="4109529"/>
                </a:cubicBezTo>
                <a:cubicBezTo>
                  <a:pt x="2453550" y="4145483"/>
                  <a:pt x="2221429" y="4095474"/>
                  <a:pt x="2111451" y="4109529"/>
                </a:cubicBezTo>
                <a:cubicBezTo>
                  <a:pt x="2001473" y="4123584"/>
                  <a:pt x="1723199" y="4077175"/>
                  <a:pt x="1551917" y="4109529"/>
                </a:cubicBezTo>
                <a:cubicBezTo>
                  <a:pt x="1380635" y="4141883"/>
                  <a:pt x="1157092" y="4090637"/>
                  <a:pt x="1024054" y="4109529"/>
                </a:cubicBezTo>
                <a:cubicBezTo>
                  <a:pt x="891016" y="4128421"/>
                  <a:pt x="589886" y="4054285"/>
                  <a:pt x="464519" y="4109529"/>
                </a:cubicBezTo>
                <a:cubicBezTo>
                  <a:pt x="339153" y="4164773"/>
                  <a:pt x="145823" y="4074079"/>
                  <a:pt x="0" y="4109529"/>
                </a:cubicBezTo>
                <a:cubicBezTo>
                  <a:pt x="-15403" y="3877041"/>
                  <a:pt x="60553" y="3725481"/>
                  <a:pt x="0" y="3522453"/>
                </a:cubicBezTo>
                <a:cubicBezTo>
                  <a:pt x="-60553" y="3319425"/>
                  <a:pt x="27888" y="3273621"/>
                  <a:pt x="0" y="3058664"/>
                </a:cubicBezTo>
                <a:cubicBezTo>
                  <a:pt x="-27888" y="2843707"/>
                  <a:pt x="77838" y="2560531"/>
                  <a:pt x="0" y="2389398"/>
                </a:cubicBezTo>
                <a:cubicBezTo>
                  <a:pt x="-77838" y="2218265"/>
                  <a:pt x="14119" y="2018869"/>
                  <a:pt x="0" y="1843417"/>
                </a:cubicBezTo>
                <a:cubicBezTo>
                  <a:pt x="-14119" y="1667965"/>
                  <a:pt x="67822" y="1358629"/>
                  <a:pt x="0" y="1215246"/>
                </a:cubicBezTo>
                <a:cubicBezTo>
                  <a:pt x="-67822" y="1071863"/>
                  <a:pt x="41984" y="823794"/>
                  <a:pt x="0" y="545980"/>
                </a:cubicBezTo>
                <a:cubicBezTo>
                  <a:pt x="-41984" y="268166"/>
                  <a:pt x="29340" y="176456"/>
                  <a:pt x="0" y="0"/>
                </a:cubicBezTo>
                <a:close/>
              </a:path>
            </a:pathLst>
          </a:custGeom>
          <a:ln>
            <a:solidFill>
              <a:schemeClr val="tx1"/>
            </a:solidFill>
            <a:extLst>
              <a:ext uri="{C807C97D-BFC1-408E-A445-0C87EB9F89A2}">
                <ask:lineSketchStyleProps xmlns:ask="http://schemas.microsoft.com/office/drawing/2018/sketchyshapes" sd="1279028317">
                  <a:prstGeom prst="rect">
                    <a:avLst/>
                  </a:prstGeom>
                  <ask:type>
                    <ask:lineSketchScribble/>
                  </ask:type>
                </ask:lineSketchStyleProps>
              </a:ext>
            </a:extLst>
          </a:ln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2C3CFF74-A858-4614-E51A-6523400167A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324377" y="1984910"/>
            <a:ext cx="3523843" cy="4009490"/>
          </a:xfrm>
          <a:custGeom>
            <a:avLst/>
            <a:gdLst>
              <a:gd name="connsiteX0" fmla="*/ 0 w 3523843"/>
              <a:gd name="connsiteY0" fmla="*/ 0 h 4009490"/>
              <a:gd name="connsiteX1" fmla="*/ 552069 w 3523843"/>
              <a:gd name="connsiteY1" fmla="*/ 0 h 4009490"/>
              <a:gd name="connsiteX2" fmla="*/ 1104137 w 3523843"/>
              <a:gd name="connsiteY2" fmla="*/ 0 h 4009490"/>
              <a:gd name="connsiteX3" fmla="*/ 1726683 w 3523843"/>
              <a:gd name="connsiteY3" fmla="*/ 0 h 4009490"/>
              <a:gd name="connsiteX4" fmla="*/ 2243513 w 3523843"/>
              <a:gd name="connsiteY4" fmla="*/ 0 h 4009490"/>
              <a:gd name="connsiteX5" fmla="*/ 2795582 w 3523843"/>
              <a:gd name="connsiteY5" fmla="*/ 0 h 4009490"/>
              <a:gd name="connsiteX6" fmla="*/ 3523843 w 3523843"/>
              <a:gd name="connsiteY6" fmla="*/ 0 h 4009490"/>
              <a:gd name="connsiteX7" fmla="*/ 3523843 w 3523843"/>
              <a:gd name="connsiteY7" fmla="*/ 612879 h 4009490"/>
              <a:gd name="connsiteX8" fmla="*/ 3523843 w 3523843"/>
              <a:gd name="connsiteY8" fmla="*/ 1185663 h 4009490"/>
              <a:gd name="connsiteX9" fmla="*/ 3523843 w 3523843"/>
              <a:gd name="connsiteY9" fmla="*/ 1798543 h 4009490"/>
              <a:gd name="connsiteX10" fmla="*/ 3523843 w 3523843"/>
              <a:gd name="connsiteY10" fmla="*/ 2291137 h 4009490"/>
              <a:gd name="connsiteX11" fmla="*/ 3523843 w 3523843"/>
              <a:gd name="connsiteY11" fmla="*/ 2743637 h 4009490"/>
              <a:gd name="connsiteX12" fmla="*/ 3523843 w 3523843"/>
              <a:gd name="connsiteY12" fmla="*/ 3276326 h 4009490"/>
              <a:gd name="connsiteX13" fmla="*/ 3523843 w 3523843"/>
              <a:gd name="connsiteY13" fmla="*/ 4009490 h 4009490"/>
              <a:gd name="connsiteX14" fmla="*/ 3007013 w 3523843"/>
              <a:gd name="connsiteY14" fmla="*/ 4009490 h 4009490"/>
              <a:gd name="connsiteX15" fmla="*/ 2454944 w 3523843"/>
              <a:gd name="connsiteY15" fmla="*/ 4009490 h 4009490"/>
              <a:gd name="connsiteX16" fmla="*/ 1832398 w 3523843"/>
              <a:gd name="connsiteY16" fmla="*/ 4009490 h 4009490"/>
              <a:gd name="connsiteX17" fmla="*/ 1245091 w 3523843"/>
              <a:gd name="connsiteY17" fmla="*/ 4009490 h 4009490"/>
              <a:gd name="connsiteX18" fmla="*/ 657784 w 3523843"/>
              <a:gd name="connsiteY18" fmla="*/ 4009490 h 4009490"/>
              <a:gd name="connsiteX19" fmla="*/ 0 w 3523843"/>
              <a:gd name="connsiteY19" fmla="*/ 4009490 h 4009490"/>
              <a:gd name="connsiteX20" fmla="*/ 0 w 3523843"/>
              <a:gd name="connsiteY20" fmla="*/ 3436706 h 4009490"/>
              <a:gd name="connsiteX21" fmla="*/ 0 w 3523843"/>
              <a:gd name="connsiteY21" fmla="*/ 2823827 h 4009490"/>
              <a:gd name="connsiteX22" fmla="*/ 0 w 3523843"/>
              <a:gd name="connsiteY22" fmla="*/ 2170852 h 4009490"/>
              <a:gd name="connsiteX23" fmla="*/ 0 w 3523843"/>
              <a:gd name="connsiteY23" fmla="*/ 1557973 h 4009490"/>
              <a:gd name="connsiteX24" fmla="*/ 0 w 3523843"/>
              <a:gd name="connsiteY24" fmla="*/ 985189 h 4009490"/>
              <a:gd name="connsiteX25" fmla="*/ 0 w 3523843"/>
              <a:gd name="connsiteY25" fmla="*/ 492594 h 4009490"/>
              <a:gd name="connsiteX26" fmla="*/ 0 w 3523843"/>
              <a:gd name="connsiteY26" fmla="*/ 0 h 40094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</a:cxnLst>
            <a:rect l="l" t="t" r="r" b="b"/>
            <a:pathLst>
              <a:path w="3523843" h="4009490" fill="none" extrusionOk="0">
                <a:moveTo>
                  <a:pt x="0" y="0"/>
                </a:moveTo>
                <a:cubicBezTo>
                  <a:pt x="134856" y="-51750"/>
                  <a:pt x="364569" y="6155"/>
                  <a:pt x="552069" y="0"/>
                </a:cubicBezTo>
                <a:cubicBezTo>
                  <a:pt x="739569" y="-6155"/>
                  <a:pt x="855613" y="53566"/>
                  <a:pt x="1104137" y="0"/>
                </a:cubicBezTo>
                <a:cubicBezTo>
                  <a:pt x="1352661" y="-53566"/>
                  <a:pt x="1513245" y="44410"/>
                  <a:pt x="1726683" y="0"/>
                </a:cubicBezTo>
                <a:cubicBezTo>
                  <a:pt x="1940121" y="-44410"/>
                  <a:pt x="2127168" y="58403"/>
                  <a:pt x="2243513" y="0"/>
                </a:cubicBezTo>
                <a:cubicBezTo>
                  <a:pt x="2359858" y="-58403"/>
                  <a:pt x="2614194" y="41158"/>
                  <a:pt x="2795582" y="0"/>
                </a:cubicBezTo>
                <a:cubicBezTo>
                  <a:pt x="2976970" y="-41158"/>
                  <a:pt x="3364693" y="46387"/>
                  <a:pt x="3523843" y="0"/>
                </a:cubicBezTo>
                <a:cubicBezTo>
                  <a:pt x="3577036" y="297452"/>
                  <a:pt x="3478410" y="458347"/>
                  <a:pt x="3523843" y="612879"/>
                </a:cubicBezTo>
                <a:cubicBezTo>
                  <a:pt x="3569276" y="767411"/>
                  <a:pt x="3513818" y="981076"/>
                  <a:pt x="3523843" y="1185663"/>
                </a:cubicBezTo>
                <a:cubicBezTo>
                  <a:pt x="3533868" y="1390250"/>
                  <a:pt x="3474443" y="1646808"/>
                  <a:pt x="3523843" y="1798543"/>
                </a:cubicBezTo>
                <a:cubicBezTo>
                  <a:pt x="3573243" y="1950278"/>
                  <a:pt x="3471260" y="2090317"/>
                  <a:pt x="3523843" y="2291137"/>
                </a:cubicBezTo>
                <a:cubicBezTo>
                  <a:pt x="3576426" y="2491957"/>
                  <a:pt x="3519494" y="2639236"/>
                  <a:pt x="3523843" y="2743637"/>
                </a:cubicBezTo>
                <a:cubicBezTo>
                  <a:pt x="3528192" y="2848038"/>
                  <a:pt x="3486337" y="3109877"/>
                  <a:pt x="3523843" y="3276326"/>
                </a:cubicBezTo>
                <a:cubicBezTo>
                  <a:pt x="3561349" y="3442775"/>
                  <a:pt x="3460907" y="3808859"/>
                  <a:pt x="3523843" y="4009490"/>
                </a:cubicBezTo>
                <a:cubicBezTo>
                  <a:pt x="3381439" y="4065002"/>
                  <a:pt x="3195554" y="3964356"/>
                  <a:pt x="3007013" y="4009490"/>
                </a:cubicBezTo>
                <a:cubicBezTo>
                  <a:pt x="2818472" y="4054624"/>
                  <a:pt x="2652189" y="3951719"/>
                  <a:pt x="2454944" y="4009490"/>
                </a:cubicBezTo>
                <a:cubicBezTo>
                  <a:pt x="2257699" y="4067261"/>
                  <a:pt x="1968352" y="3977813"/>
                  <a:pt x="1832398" y="4009490"/>
                </a:cubicBezTo>
                <a:cubicBezTo>
                  <a:pt x="1696444" y="4041167"/>
                  <a:pt x="1374047" y="3947620"/>
                  <a:pt x="1245091" y="4009490"/>
                </a:cubicBezTo>
                <a:cubicBezTo>
                  <a:pt x="1116135" y="4071360"/>
                  <a:pt x="905172" y="3994033"/>
                  <a:pt x="657784" y="4009490"/>
                </a:cubicBezTo>
                <a:cubicBezTo>
                  <a:pt x="410396" y="4024947"/>
                  <a:pt x="243232" y="3981714"/>
                  <a:pt x="0" y="4009490"/>
                </a:cubicBezTo>
                <a:cubicBezTo>
                  <a:pt x="-17888" y="3749564"/>
                  <a:pt x="33385" y="3709071"/>
                  <a:pt x="0" y="3436706"/>
                </a:cubicBezTo>
                <a:cubicBezTo>
                  <a:pt x="-33385" y="3164341"/>
                  <a:pt x="47858" y="2980806"/>
                  <a:pt x="0" y="2823827"/>
                </a:cubicBezTo>
                <a:cubicBezTo>
                  <a:pt x="-47858" y="2666848"/>
                  <a:pt x="25419" y="2485082"/>
                  <a:pt x="0" y="2170852"/>
                </a:cubicBezTo>
                <a:cubicBezTo>
                  <a:pt x="-25419" y="1856622"/>
                  <a:pt x="31386" y="1685708"/>
                  <a:pt x="0" y="1557973"/>
                </a:cubicBezTo>
                <a:cubicBezTo>
                  <a:pt x="-31386" y="1430238"/>
                  <a:pt x="17631" y="1261698"/>
                  <a:pt x="0" y="985189"/>
                </a:cubicBezTo>
                <a:cubicBezTo>
                  <a:pt x="-17631" y="708680"/>
                  <a:pt x="43006" y="672422"/>
                  <a:pt x="0" y="492594"/>
                </a:cubicBezTo>
                <a:cubicBezTo>
                  <a:pt x="-43006" y="312767"/>
                  <a:pt x="38895" y="117808"/>
                  <a:pt x="0" y="0"/>
                </a:cubicBezTo>
                <a:close/>
              </a:path>
              <a:path w="3523843" h="4009490" stroke="0" extrusionOk="0">
                <a:moveTo>
                  <a:pt x="0" y="0"/>
                </a:moveTo>
                <a:cubicBezTo>
                  <a:pt x="208592" y="-11015"/>
                  <a:pt x="353557" y="14629"/>
                  <a:pt x="516830" y="0"/>
                </a:cubicBezTo>
                <a:cubicBezTo>
                  <a:pt x="680103" y="-14629"/>
                  <a:pt x="929683" y="56135"/>
                  <a:pt x="1104137" y="0"/>
                </a:cubicBezTo>
                <a:cubicBezTo>
                  <a:pt x="1278591" y="-56135"/>
                  <a:pt x="1419505" y="69922"/>
                  <a:pt x="1691445" y="0"/>
                </a:cubicBezTo>
                <a:cubicBezTo>
                  <a:pt x="1963385" y="-69922"/>
                  <a:pt x="1970354" y="33158"/>
                  <a:pt x="2173037" y="0"/>
                </a:cubicBezTo>
                <a:cubicBezTo>
                  <a:pt x="2375720" y="-33158"/>
                  <a:pt x="2514562" y="35268"/>
                  <a:pt x="2689867" y="0"/>
                </a:cubicBezTo>
                <a:cubicBezTo>
                  <a:pt x="2865172" y="-35268"/>
                  <a:pt x="3171774" y="58212"/>
                  <a:pt x="3523843" y="0"/>
                </a:cubicBezTo>
                <a:cubicBezTo>
                  <a:pt x="3561626" y="113966"/>
                  <a:pt x="3514537" y="320151"/>
                  <a:pt x="3523843" y="492594"/>
                </a:cubicBezTo>
                <a:cubicBezTo>
                  <a:pt x="3533149" y="665037"/>
                  <a:pt x="3483886" y="758855"/>
                  <a:pt x="3523843" y="985189"/>
                </a:cubicBezTo>
                <a:cubicBezTo>
                  <a:pt x="3563800" y="1211523"/>
                  <a:pt x="3522290" y="1368694"/>
                  <a:pt x="3523843" y="1557973"/>
                </a:cubicBezTo>
                <a:cubicBezTo>
                  <a:pt x="3525396" y="1747252"/>
                  <a:pt x="3502520" y="1917213"/>
                  <a:pt x="3523843" y="2010473"/>
                </a:cubicBezTo>
                <a:cubicBezTo>
                  <a:pt x="3545166" y="2103733"/>
                  <a:pt x="3486597" y="2300155"/>
                  <a:pt x="3523843" y="2543162"/>
                </a:cubicBezTo>
                <a:cubicBezTo>
                  <a:pt x="3561089" y="2786169"/>
                  <a:pt x="3511731" y="2889515"/>
                  <a:pt x="3523843" y="2995662"/>
                </a:cubicBezTo>
                <a:cubicBezTo>
                  <a:pt x="3535955" y="3101809"/>
                  <a:pt x="3469721" y="3363669"/>
                  <a:pt x="3523843" y="3488256"/>
                </a:cubicBezTo>
                <a:cubicBezTo>
                  <a:pt x="3577965" y="3612843"/>
                  <a:pt x="3500880" y="3880314"/>
                  <a:pt x="3523843" y="4009490"/>
                </a:cubicBezTo>
                <a:cubicBezTo>
                  <a:pt x="3342285" y="4027675"/>
                  <a:pt x="3110249" y="3989403"/>
                  <a:pt x="2901297" y="4009490"/>
                </a:cubicBezTo>
                <a:cubicBezTo>
                  <a:pt x="2692345" y="4029577"/>
                  <a:pt x="2588393" y="3958260"/>
                  <a:pt x="2384467" y="4009490"/>
                </a:cubicBezTo>
                <a:cubicBezTo>
                  <a:pt x="2180541" y="4060720"/>
                  <a:pt x="2056003" y="3992138"/>
                  <a:pt x="1761922" y="4009490"/>
                </a:cubicBezTo>
                <a:cubicBezTo>
                  <a:pt x="1467841" y="4026842"/>
                  <a:pt x="1306995" y="3993279"/>
                  <a:pt x="1174614" y="4009490"/>
                </a:cubicBezTo>
                <a:cubicBezTo>
                  <a:pt x="1042233" y="4025701"/>
                  <a:pt x="837853" y="3968635"/>
                  <a:pt x="622546" y="4009490"/>
                </a:cubicBezTo>
                <a:cubicBezTo>
                  <a:pt x="407239" y="4050345"/>
                  <a:pt x="253507" y="3954827"/>
                  <a:pt x="0" y="4009490"/>
                </a:cubicBezTo>
                <a:cubicBezTo>
                  <a:pt x="-46083" y="3830380"/>
                  <a:pt x="33862" y="3642751"/>
                  <a:pt x="0" y="3516896"/>
                </a:cubicBezTo>
                <a:cubicBezTo>
                  <a:pt x="-33862" y="3391041"/>
                  <a:pt x="23577" y="3167151"/>
                  <a:pt x="0" y="2944111"/>
                </a:cubicBezTo>
                <a:cubicBezTo>
                  <a:pt x="-23577" y="2721072"/>
                  <a:pt x="9815" y="2574004"/>
                  <a:pt x="0" y="2371327"/>
                </a:cubicBezTo>
                <a:cubicBezTo>
                  <a:pt x="-9815" y="2168650"/>
                  <a:pt x="28053" y="2040212"/>
                  <a:pt x="0" y="1878732"/>
                </a:cubicBezTo>
                <a:cubicBezTo>
                  <a:pt x="-28053" y="1717253"/>
                  <a:pt x="11651" y="1601054"/>
                  <a:pt x="0" y="1426233"/>
                </a:cubicBezTo>
                <a:cubicBezTo>
                  <a:pt x="-11651" y="1251412"/>
                  <a:pt x="7319" y="1090388"/>
                  <a:pt x="0" y="933638"/>
                </a:cubicBezTo>
                <a:cubicBezTo>
                  <a:pt x="-7319" y="776888"/>
                  <a:pt x="104554" y="305720"/>
                  <a:pt x="0" y="0"/>
                </a:cubicBezTo>
                <a:close/>
              </a:path>
            </a:pathLst>
          </a:custGeom>
          <a:ln>
            <a:solidFill>
              <a:schemeClr val="tx1"/>
            </a:solidFill>
            <a:extLst>
              <a:ext uri="{C807C97D-BFC1-408E-A445-0C87EB9F89A2}">
                <ask:lineSketchStyleProps xmlns:ask="http://schemas.microsoft.com/office/drawing/2018/sketchyshapes" sd="623779170">
                  <a:prstGeom prst="rect">
                    <a:avLst/>
                  </a:prstGeom>
                  <ask:type>
                    <ask:lineSketchScribble/>
                  </ask:type>
                </ask:lineSketchStyleProps>
              </a:ext>
            </a:extLst>
          </a:ln>
        </p:spPr>
      </p:pic>
      <p:sp>
        <p:nvSpPr>
          <p:cNvPr id="2" name="Title 3">
            <a:extLst>
              <a:ext uri="{FF2B5EF4-FFF2-40B4-BE49-F238E27FC236}">
                <a16:creationId xmlns:a16="http://schemas.microsoft.com/office/drawing/2014/main" id="{4003E300-5EEB-98A3-6DE8-6A45D5DAE253}"/>
              </a:ext>
            </a:extLst>
          </p:cNvPr>
          <p:cNvSpPr txBox="1">
            <a:spLocks/>
          </p:cNvSpPr>
          <p:nvPr/>
        </p:nvSpPr>
        <p:spPr>
          <a:xfrm>
            <a:off x="1937568" y="125304"/>
            <a:ext cx="8315141" cy="501015"/>
          </a:xfrm>
          <a:prstGeom prst="homePlate">
            <a:avLst>
              <a:gd name="adj" fmla="val 110000"/>
            </a:avLst>
          </a:prstGeom>
          <a:solidFill>
            <a:srgbClr val="F8CBAD"/>
          </a:solidFill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Gotham" pitchFamily="50" charset="0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</a:pPr>
            <a:r>
              <a:rPr lang="en-IN" sz="2800" b="1" dirty="0"/>
              <a:t>Anode Tab Design: Overall comparison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6C7768B5-9297-30D0-2B77-D76EB9D1E186}"/>
              </a:ext>
            </a:extLst>
          </p:cNvPr>
          <p:cNvSpPr txBox="1"/>
          <p:nvPr/>
        </p:nvSpPr>
        <p:spPr>
          <a:xfrm>
            <a:off x="1587202" y="2031164"/>
            <a:ext cx="1666680" cy="646331"/>
          </a:xfrm>
          <a:custGeom>
            <a:avLst/>
            <a:gdLst>
              <a:gd name="connsiteX0" fmla="*/ 0 w 1666680"/>
              <a:gd name="connsiteY0" fmla="*/ 0 h 646331"/>
              <a:gd name="connsiteX1" fmla="*/ 522226 w 1666680"/>
              <a:gd name="connsiteY1" fmla="*/ 0 h 646331"/>
              <a:gd name="connsiteX2" fmla="*/ 1044453 w 1666680"/>
              <a:gd name="connsiteY2" fmla="*/ 0 h 646331"/>
              <a:gd name="connsiteX3" fmla="*/ 1666680 w 1666680"/>
              <a:gd name="connsiteY3" fmla="*/ 0 h 646331"/>
              <a:gd name="connsiteX4" fmla="*/ 1666680 w 1666680"/>
              <a:gd name="connsiteY4" fmla="*/ 336092 h 646331"/>
              <a:gd name="connsiteX5" fmla="*/ 1666680 w 1666680"/>
              <a:gd name="connsiteY5" fmla="*/ 646331 h 646331"/>
              <a:gd name="connsiteX6" fmla="*/ 1077786 w 1666680"/>
              <a:gd name="connsiteY6" fmla="*/ 646331 h 646331"/>
              <a:gd name="connsiteX7" fmla="*/ 572227 w 1666680"/>
              <a:gd name="connsiteY7" fmla="*/ 646331 h 646331"/>
              <a:gd name="connsiteX8" fmla="*/ 0 w 1666680"/>
              <a:gd name="connsiteY8" fmla="*/ 646331 h 646331"/>
              <a:gd name="connsiteX9" fmla="*/ 0 w 1666680"/>
              <a:gd name="connsiteY9" fmla="*/ 310239 h 646331"/>
              <a:gd name="connsiteX10" fmla="*/ 0 w 1666680"/>
              <a:gd name="connsiteY10" fmla="*/ 0 h 6463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666680" h="646331" fill="none" extrusionOk="0">
                <a:moveTo>
                  <a:pt x="0" y="0"/>
                </a:moveTo>
                <a:cubicBezTo>
                  <a:pt x="162532" y="-43007"/>
                  <a:pt x="279443" y="38583"/>
                  <a:pt x="522226" y="0"/>
                </a:cubicBezTo>
                <a:cubicBezTo>
                  <a:pt x="765009" y="-38583"/>
                  <a:pt x="806947" y="45302"/>
                  <a:pt x="1044453" y="0"/>
                </a:cubicBezTo>
                <a:cubicBezTo>
                  <a:pt x="1281959" y="-45302"/>
                  <a:pt x="1496234" y="6289"/>
                  <a:pt x="1666680" y="0"/>
                </a:cubicBezTo>
                <a:cubicBezTo>
                  <a:pt x="1670851" y="114314"/>
                  <a:pt x="1654155" y="260985"/>
                  <a:pt x="1666680" y="336092"/>
                </a:cubicBezTo>
                <a:cubicBezTo>
                  <a:pt x="1679205" y="411199"/>
                  <a:pt x="1637545" y="548677"/>
                  <a:pt x="1666680" y="646331"/>
                </a:cubicBezTo>
                <a:cubicBezTo>
                  <a:pt x="1402598" y="712197"/>
                  <a:pt x="1349675" y="597279"/>
                  <a:pt x="1077786" y="646331"/>
                </a:cubicBezTo>
                <a:cubicBezTo>
                  <a:pt x="805897" y="695383"/>
                  <a:pt x="738652" y="632322"/>
                  <a:pt x="572227" y="646331"/>
                </a:cubicBezTo>
                <a:cubicBezTo>
                  <a:pt x="405802" y="660340"/>
                  <a:pt x="190700" y="635354"/>
                  <a:pt x="0" y="646331"/>
                </a:cubicBezTo>
                <a:cubicBezTo>
                  <a:pt x="-1521" y="506085"/>
                  <a:pt x="6094" y="457677"/>
                  <a:pt x="0" y="310239"/>
                </a:cubicBezTo>
                <a:cubicBezTo>
                  <a:pt x="-6094" y="162801"/>
                  <a:pt x="19029" y="123625"/>
                  <a:pt x="0" y="0"/>
                </a:cubicBezTo>
                <a:close/>
              </a:path>
              <a:path w="1666680" h="646331" stroke="0" extrusionOk="0">
                <a:moveTo>
                  <a:pt x="0" y="0"/>
                </a:moveTo>
                <a:cubicBezTo>
                  <a:pt x="221029" y="-26858"/>
                  <a:pt x="359150" y="65182"/>
                  <a:pt x="555560" y="0"/>
                </a:cubicBezTo>
                <a:cubicBezTo>
                  <a:pt x="751970" y="-65182"/>
                  <a:pt x="904362" y="5723"/>
                  <a:pt x="1094453" y="0"/>
                </a:cubicBezTo>
                <a:cubicBezTo>
                  <a:pt x="1284544" y="-5723"/>
                  <a:pt x="1524039" y="56952"/>
                  <a:pt x="1666680" y="0"/>
                </a:cubicBezTo>
                <a:cubicBezTo>
                  <a:pt x="1680822" y="139544"/>
                  <a:pt x="1636467" y="220715"/>
                  <a:pt x="1666680" y="303776"/>
                </a:cubicBezTo>
                <a:cubicBezTo>
                  <a:pt x="1696893" y="386837"/>
                  <a:pt x="1638763" y="481784"/>
                  <a:pt x="1666680" y="646331"/>
                </a:cubicBezTo>
                <a:cubicBezTo>
                  <a:pt x="1532582" y="664700"/>
                  <a:pt x="1345301" y="615034"/>
                  <a:pt x="1144454" y="646331"/>
                </a:cubicBezTo>
                <a:cubicBezTo>
                  <a:pt x="943607" y="677628"/>
                  <a:pt x="840880" y="624740"/>
                  <a:pt x="588894" y="646331"/>
                </a:cubicBezTo>
                <a:cubicBezTo>
                  <a:pt x="336908" y="667922"/>
                  <a:pt x="147005" y="626792"/>
                  <a:pt x="0" y="646331"/>
                </a:cubicBezTo>
                <a:cubicBezTo>
                  <a:pt x="-11022" y="573581"/>
                  <a:pt x="30202" y="467533"/>
                  <a:pt x="0" y="316702"/>
                </a:cubicBezTo>
                <a:cubicBezTo>
                  <a:pt x="-30202" y="165871"/>
                  <a:pt x="11776" y="98599"/>
                  <a:pt x="0" y="0"/>
                </a:cubicBezTo>
                <a:close/>
              </a:path>
            </a:pathLst>
          </a:custGeom>
          <a:solidFill>
            <a:schemeClr val="bg1"/>
          </a:solidFill>
          <a:ln>
            <a:solidFill>
              <a:schemeClr val="tx1"/>
            </a:solidFill>
            <a:extLst>
              <a:ext uri="{C807C97D-BFC1-408E-A445-0C87EB9F89A2}">
                <ask:lineSketchStyleProps xmlns:ask="http://schemas.microsoft.com/office/drawing/2018/sketchyshapes" sd="2733830327">
                  <a:prstGeom prst="rect">
                    <a:avLst/>
                  </a:prstGeom>
                  <ask:type>
                    <ask:lineSketchScribble/>
                  </ask:type>
                </ask:lineSketchStyleProps>
              </a:ext>
            </a:extLst>
          </a:ln>
        </p:spPr>
        <p:txBody>
          <a:bodyPr wrap="square" rtlCol="0">
            <a:spAutoFit/>
          </a:bodyPr>
          <a:lstStyle/>
          <a:p>
            <a:r>
              <a:rPr lang="en-US" dirty="0"/>
              <a:t>Sample </a:t>
            </a:r>
          </a:p>
          <a:p>
            <a:r>
              <a:rPr lang="en-US" dirty="0"/>
              <a:t>(Mandrel Side)</a:t>
            </a:r>
            <a:endParaRPr lang="en-IN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525D42C6-0963-A084-042F-59E4409CCF8C}"/>
              </a:ext>
            </a:extLst>
          </p:cNvPr>
          <p:cNvSpPr txBox="1"/>
          <p:nvPr/>
        </p:nvSpPr>
        <p:spPr>
          <a:xfrm>
            <a:off x="10478678" y="2031164"/>
            <a:ext cx="1162282" cy="646331"/>
          </a:xfrm>
          <a:custGeom>
            <a:avLst/>
            <a:gdLst>
              <a:gd name="connsiteX0" fmla="*/ 0 w 1162282"/>
              <a:gd name="connsiteY0" fmla="*/ 0 h 646331"/>
              <a:gd name="connsiteX1" fmla="*/ 557895 w 1162282"/>
              <a:gd name="connsiteY1" fmla="*/ 0 h 646331"/>
              <a:gd name="connsiteX2" fmla="*/ 1162282 w 1162282"/>
              <a:gd name="connsiteY2" fmla="*/ 0 h 646331"/>
              <a:gd name="connsiteX3" fmla="*/ 1162282 w 1162282"/>
              <a:gd name="connsiteY3" fmla="*/ 310239 h 646331"/>
              <a:gd name="connsiteX4" fmla="*/ 1162282 w 1162282"/>
              <a:gd name="connsiteY4" fmla="*/ 646331 h 646331"/>
              <a:gd name="connsiteX5" fmla="*/ 581141 w 1162282"/>
              <a:gd name="connsiteY5" fmla="*/ 646331 h 646331"/>
              <a:gd name="connsiteX6" fmla="*/ 0 w 1162282"/>
              <a:gd name="connsiteY6" fmla="*/ 646331 h 646331"/>
              <a:gd name="connsiteX7" fmla="*/ 0 w 1162282"/>
              <a:gd name="connsiteY7" fmla="*/ 316702 h 646331"/>
              <a:gd name="connsiteX8" fmla="*/ 0 w 1162282"/>
              <a:gd name="connsiteY8" fmla="*/ 0 h 6463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62282" h="646331" fill="none" extrusionOk="0">
                <a:moveTo>
                  <a:pt x="0" y="0"/>
                </a:moveTo>
                <a:cubicBezTo>
                  <a:pt x="156493" y="-11922"/>
                  <a:pt x="444940" y="13085"/>
                  <a:pt x="557895" y="0"/>
                </a:cubicBezTo>
                <a:cubicBezTo>
                  <a:pt x="670851" y="-13085"/>
                  <a:pt x="1004798" y="40464"/>
                  <a:pt x="1162282" y="0"/>
                </a:cubicBezTo>
                <a:cubicBezTo>
                  <a:pt x="1174618" y="86924"/>
                  <a:pt x="1144831" y="193264"/>
                  <a:pt x="1162282" y="310239"/>
                </a:cubicBezTo>
                <a:cubicBezTo>
                  <a:pt x="1179733" y="427214"/>
                  <a:pt x="1155384" y="573177"/>
                  <a:pt x="1162282" y="646331"/>
                </a:cubicBezTo>
                <a:cubicBezTo>
                  <a:pt x="939259" y="652941"/>
                  <a:pt x="844794" y="632158"/>
                  <a:pt x="581141" y="646331"/>
                </a:cubicBezTo>
                <a:cubicBezTo>
                  <a:pt x="317488" y="660504"/>
                  <a:pt x="130958" y="598059"/>
                  <a:pt x="0" y="646331"/>
                </a:cubicBezTo>
                <a:cubicBezTo>
                  <a:pt x="-5230" y="505288"/>
                  <a:pt x="12017" y="452888"/>
                  <a:pt x="0" y="316702"/>
                </a:cubicBezTo>
                <a:cubicBezTo>
                  <a:pt x="-12017" y="180516"/>
                  <a:pt x="12430" y="81570"/>
                  <a:pt x="0" y="0"/>
                </a:cubicBezTo>
                <a:close/>
              </a:path>
              <a:path w="1162282" h="646331" stroke="0" extrusionOk="0">
                <a:moveTo>
                  <a:pt x="0" y="0"/>
                </a:moveTo>
                <a:cubicBezTo>
                  <a:pt x="267374" y="-32376"/>
                  <a:pt x="398305" y="25776"/>
                  <a:pt x="546273" y="0"/>
                </a:cubicBezTo>
                <a:cubicBezTo>
                  <a:pt x="694241" y="-25776"/>
                  <a:pt x="956644" y="63230"/>
                  <a:pt x="1162282" y="0"/>
                </a:cubicBezTo>
                <a:cubicBezTo>
                  <a:pt x="1184383" y="154913"/>
                  <a:pt x="1158801" y="237997"/>
                  <a:pt x="1162282" y="316702"/>
                </a:cubicBezTo>
                <a:cubicBezTo>
                  <a:pt x="1165763" y="395407"/>
                  <a:pt x="1157844" y="518971"/>
                  <a:pt x="1162282" y="646331"/>
                </a:cubicBezTo>
                <a:cubicBezTo>
                  <a:pt x="1003532" y="660744"/>
                  <a:pt x="793232" y="620170"/>
                  <a:pt x="592764" y="646331"/>
                </a:cubicBezTo>
                <a:cubicBezTo>
                  <a:pt x="392296" y="672492"/>
                  <a:pt x="122035" y="578326"/>
                  <a:pt x="0" y="646331"/>
                </a:cubicBezTo>
                <a:cubicBezTo>
                  <a:pt x="-29499" y="561170"/>
                  <a:pt x="21015" y="414550"/>
                  <a:pt x="0" y="323166"/>
                </a:cubicBezTo>
                <a:cubicBezTo>
                  <a:pt x="-21015" y="231782"/>
                  <a:pt x="35400" y="105290"/>
                  <a:pt x="0" y="0"/>
                </a:cubicBezTo>
                <a:close/>
              </a:path>
            </a:pathLst>
          </a:custGeom>
          <a:solidFill>
            <a:schemeClr val="bg1"/>
          </a:solidFill>
          <a:ln>
            <a:solidFill>
              <a:schemeClr val="tx1"/>
            </a:solidFill>
            <a:extLst>
              <a:ext uri="{C807C97D-BFC1-408E-A445-0C87EB9F89A2}">
                <ask:lineSketchStyleProps xmlns:ask="http://schemas.microsoft.com/office/drawing/2018/sketchyshapes" sd="3565403427">
                  <a:prstGeom prst="rect">
                    <a:avLst/>
                  </a:prstGeom>
                  <ask:type>
                    <ask:lineSketchScribble/>
                  </ask:type>
                </ask:lineSketchStyleProps>
              </a:ext>
            </a:extLst>
          </a:ln>
        </p:spPr>
        <p:txBody>
          <a:bodyPr wrap="square" rtlCol="0">
            <a:spAutoFit/>
          </a:bodyPr>
          <a:lstStyle/>
          <a:p>
            <a:r>
              <a:rPr lang="en-US" dirty="0"/>
              <a:t>Sample </a:t>
            </a:r>
          </a:p>
          <a:p>
            <a:r>
              <a:rPr lang="en-US" dirty="0"/>
              <a:t>(End Side)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346335237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D5AEA647-6828-F20A-FE12-DBF7E6C44A7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73581702"/>
              </p:ext>
            </p:extLst>
          </p:nvPr>
        </p:nvGraphicFramePr>
        <p:xfrm>
          <a:off x="313916" y="1202482"/>
          <a:ext cx="11562444" cy="5009862"/>
        </p:xfrm>
        <a:graphic>
          <a:graphicData uri="http://schemas.openxmlformats.org/drawingml/2006/table">
            <a:tbl>
              <a:tblPr/>
              <a:tblGrid>
                <a:gridCol w="2224622">
                  <a:extLst>
                    <a:ext uri="{9D8B030D-6E8A-4147-A177-3AD203B41FA5}">
                      <a16:colId xmlns:a16="http://schemas.microsoft.com/office/drawing/2014/main" val="147369346"/>
                    </a:ext>
                  </a:extLst>
                </a:gridCol>
                <a:gridCol w="1385036">
                  <a:extLst>
                    <a:ext uri="{9D8B030D-6E8A-4147-A177-3AD203B41FA5}">
                      <a16:colId xmlns:a16="http://schemas.microsoft.com/office/drawing/2014/main" val="2117802531"/>
                    </a:ext>
                  </a:extLst>
                </a:gridCol>
                <a:gridCol w="1485563">
                  <a:extLst>
                    <a:ext uri="{9D8B030D-6E8A-4147-A177-3AD203B41FA5}">
                      <a16:colId xmlns:a16="http://schemas.microsoft.com/office/drawing/2014/main" val="132688502"/>
                    </a:ext>
                  </a:extLst>
                </a:gridCol>
                <a:gridCol w="1329188">
                  <a:extLst>
                    <a:ext uri="{9D8B030D-6E8A-4147-A177-3AD203B41FA5}">
                      <a16:colId xmlns:a16="http://schemas.microsoft.com/office/drawing/2014/main" val="2596745167"/>
                    </a:ext>
                  </a:extLst>
                </a:gridCol>
                <a:gridCol w="1251000">
                  <a:extLst>
                    <a:ext uri="{9D8B030D-6E8A-4147-A177-3AD203B41FA5}">
                      <a16:colId xmlns:a16="http://schemas.microsoft.com/office/drawing/2014/main" val="867410747"/>
                    </a:ext>
                  </a:extLst>
                </a:gridCol>
                <a:gridCol w="1568105">
                  <a:extLst>
                    <a:ext uri="{9D8B030D-6E8A-4147-A177-3AD203B41FA5}">
                      <a16:colId xmlns:a16="http://schemas.microsoft.com/office/drawing/2014/main" val="3501595121"/>
                    </a:ext>
                  </a:extLst>
                </a:gridCol>
                <a:gridCol w="1159465">
                  <a:extLst>
                    <a:ext uri="{9D8B030D-6E8A-4147-A177-3AD203B41FA5}">
                      <a16:colId xmlns:a16="http://schemas.microsoft.com/office/drawing/2014/main" val="1644856517"/>
                    </a:ext>
                  </a:extLst>
                </a:gridCol>
                <a:gridCol w="1159465">
                  <a:extLst>
                    <a:ext uri="{9D8B030D-6E8A-4147-A177-3AD203B41FA5}">
                      <a16:colId xmlns:a16="http://schemas.microsoft.com/office/drawing/2014/main" val="818462186"/>
                    </a:ext>
                  </a:extLst>
                </a:gridCol>
              </a:tblGrid>
              <a:tr h="357574"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1" i="0" u="none" strike="noStrike">
                          <a:solidFill>
                            <a:srgbClr val="FF0000"/>
                          </a:solidFill>
                          <a:effectLst/>
                          <a:latin typeface="Trebuchet MS" panose="020B0603020202020204" pitchFamily="34" charset="0"/>
                        </a:rPr>
                        <a:t>Overall Cell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dirty="0">
                          <a:solidFill>
                            <a:schemeClr val="tx1"/>
                          </a:solidFill>
                        </a:rPr>
                        <a:t>BAK 5.5_ 21700</a:t>
                      </a:r>
                    </a:p>
                  </a:txBody>
                  <a:tcPr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b="0" i="0" u="none" strike="noStrike" cap="none" spc="0" dirty="0">
                          <a:solidFill>
                            <a:schemeClr val="tx1"/>
                          </a:solidFill>
                          <a:effectLst/>
                          <a:latin typeface="Aptos Display" panose="020B0004020202020204" pitchFamily="34" charset="0"/>
                        </a:rPr>
                        <a:t>4</a:t>
                      </a:r>
                      <a:r>
                        <a:rPr lang="en-IN" sz="1800" b="0" i="0" u="none" strike="noStrike" cap="none" spc="0" dirty="0">
                          <a:solidFill>
                            <a:schemeClr val="tx1"/>
                          </a:solidFill>
                          <a:effectLst/>
                          <a:latin typeface="Aptos Display" panose="020B0004020202020204" pitchFamily="34" charset="0"/>
                        </a:rPr>
                        <a:t>680 Gen2</a:t>
                      </a:r>
                    </a:p>
                  </a:txBody>
                  <a:tcPr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b="0" i="0" u="none" strike="noStrike" cap="none" spc="0" dirty="0" err="1">
                          <a:solidFill>
                            <a:schemeClr val="tx1"/>
                          </a:solidFill>
                          <a:effectLst/>
                          <a:latin typeface="Aptos Display" panose="020B0004020202020204" pitchFamily="34" charset="0"/>
                        </a:rPr>
                        <a:t>Blivex</a:t>
                      </a:r>
                      <a:r>
                        <a:rPr lang="en-US" sz="1800" b="0" i="0" u="none" strike="noStrike" cap="none" spc="0" dirty="0">
                          <a:solidFill>
                            <a:schemeClr val="tx1"/>
                          </a:solidFill>
                          <a:effectLst/>
                          <a:latin typeface="Aptos Display" panose="020B0004020202020204" pitchFamily="34" charset="0"/>
                        </a:rPr>
                        <a:t> 32700</a:t>
                      </a:r>
                      <a:endParaRPr lang="en-IN" sz="1800" b="0" i="0" u="none" strike="noStrike" cap="none" spc="0" dirty="0">
                        <a:solidFill>
                          <a:schemeClr val="tx1"/>
                        </a:solidFill>
                        <a:effectLst/>
                        <a:latin typeface="Aptos Display" panose="020B000402020202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0" i="0" u="none" strike="noStrike" cap="none" spc="0" dirty="0">
                          <a:solidFill>
                            <a:schemeClr val="tx1"/>
                          </a:solidFill>
                          <a:effectLst/>
                          <a:latin typeface="Aptos Display" panose="020B0004020202020204" pitchFamily="34" charset="0"/>
                        </a:rPr>
                        <a:t>CBAK 32140</a:t>
                      </a:r>
                      <a:endParaRPr lang="en-IN" sz="1800" b="0" i="0" u="none" strike="noStrike" cap="none" spc="0" dirty="0">
                        <a:solidFill>
                          <a:schemeClr val="tx1"/>
                        </a:solidFill>
                        <a:effectLst/>
                        <a:latin typeface="Aptos Display" panose="020B000402020202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800" b="0" u="none" strike="noStrike" cap="none" spc="0" dirty="0">
                          <a:solidFill>
                            <a:schemeClr val="tx1"/>
                          </a:solidFill>
                          <a:effectLst/>
                          <a:latin typeface="Aptos Display" panose="020B0004020202020204" pitchFamily="34" charset="0"/>
                        </a:rPr>
                        <a:t>EVE 5.0_21700</a:t>
                      </a:r>
                      <a:endParaRPr lang="en-IN" sz="1800" b="0" i="0" u="none" strike="noStrike" cap="none" spc="0" dirty="0">
                        <a:solidFill>
                          <a:schemeClr val="tx1"/>
                        </a:solidFill>
                        <a:effectLst/>
                        <a:latin typeface="Aptos Display" panose="020B000402020202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1800" b="0" u="none" strike="noStrike" cap="none" spc="0" dirty="0" err="1">
                          <a:solidFill>
                            <a:schemeClr val="tx1"/>
                          </a:solidFill>
                          <a:effectLst/>
                          <a:latin typeface="Aptos Display" panose="020B0004020202020204" pitchFamily="34" charset="0"/>
                        </a:rPr>
                        <a:t>Moilicell</a:t>
                      </a:r>
                      <a:r>
                        <a:rPr lang="en-IN" sz="1800" b="0" u="none" strike="noStrike" cap="none" spc="0" dirty="0">
                          <a:solidFill>
                            <a:schemeClr val="tx1"/>
                          </a:solidFill>
                          <a:effectLst/>
                          <a:latin typeface="Aptos Display" panose="020B0004020202020204" pitchFamily="34" charset="0"/>
                        </a:rPr>
                        <a:t> 4.2 21700</a:t>
                      </a:r>
                      <a:endParaRPr lang="en-IN" sz="1800" b="0" i="0" u="none" strike="noStrike" cap="none" spc="0" dirty="0">
                        <a:solidFill>
                          <a:schemeClr val="tx1"/>
                        </a:solidFill>
                        <a:effectLst/>
                        <a:latin typeface="Aptos Display" panose="020B000402020202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0" i="0" u="none" strike="noStrike" cap="none" spc="0" dirty="0">
                          <a:solidFill>
                            <a:schemeClr val="tx1"/>
                          </a:solidFill>
                          <a:effectLst/>
                          <a:latin typeface="Aptos Display" panose="020B0004020202020204" pitchFamily="34" charset="0"/>
                        </a:rPr>
                        <a:t>RIN 5.8_21700</a:t>
                      </a:r>
                      <a:endParaRPr lang="en-IN" sz="1800" b="0" i="0" u="none" strike="noStrike" cap="none" spc="0" dirty="0">
                        <a:solidFill>
                          <a:schemeClr val="tx1"/>
                        </a:solidFill>
                        <a:effectLst/>
                        <a:latin typeface="Aptos Display" panose="020B000402020202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54315640"/>
                  </a:ext>
                </a:extLst>
              </a:tr>
              <a:tr h="357574"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Trebuchet MS" panose="020B0603020202020204" pitchFamily="34" charset="0"/>
                        </a:rPr>
                        <a:t>Jelly roll </a:t>
                      </a:r>
                      <a:r>
                        <a:rPr lang="en-US" sz="10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rebuchet MS" panose="020B0603020202020204" pitchFamily="34" charset="0"/>
                        </a:rPr>
                        <a:t>dia</a:t>
                      </a:r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Trebuchet MS" panose="020B0603020202020204" pitchFamily="34" charset="0"/>
                        </a:rPr>
                        <a:t> (at middle)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000" b="0" i="0" u="none" strike="noStrike" dirty="0">
                        <a:solidFill>
                          <a:srgbClr val="000000"/>
                        </a:solidFill>
                        <a:effectLst/>
                        <a:latin typeface="Trebuchet MS" panose="020B0603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000" b="0" i="0" u="none" strike="noStrike" dirty="0">
                        <a:solidFill>
                          <a:srgbClr val="000000"/>
                        </a:solidFill>
                        <a:effectLst/>
                        <a:latin typeface="Trebuchet MS" panose="020B0603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000" b="0" i="0" u="none" strike="noStrike" dirty="0">
                        <a:solidFill>
                          <a:srgbClr val="000000"/>
                        </a:solidFill>
                        <a:effectLst/>
                        <a:latin typeface="Trebuchet MS" panose="020B0603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000" b="0" i="0" u="none" strike="noStrike" dirty="0">
                        <a:solidFill>
                          <a:srgbClr val="000000"/>
                        </a:solidFill>
                        <a:effectLst/>
                        <a:latin typeface="Trebuchet MS" panose="020B0603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000" b="0" i="0" u="none" strike="noStrike" dirty="0">
                        <a:solidFill>
                          <a:srgbClr val="000000"/>
                        </a:solidFill>
                        <a:effectLst/>
                        <a:latin typeface="Trebuchet MS" panose="020B0603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000" b="0" i="0" u="none" strike="noStrike">
                        <a:solidFill>
                          <a:srgbClr val="000000"/>
                        </a:solidFill>
                        <a:effectLst/>
                        <a:latin typeface="Trebuchet MS" panose="020B0603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000" b="0" i="0" u="none" strike="noStrike">
                        <a:solidFill>
                          <a:srgbClr val="000000"/>
                        </a:solidFill>
                        <a:effectLst/>
                        <a:latin typeface="Trebuchet MS" panose="020B0603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99410546"/>
                  </a:ext>
                </a:extLst>
              </a:tr>
              <a:tr h="357574"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Trebuchet MS" panose="020B0603020202020204" pitchFamily="34" charset="0"/>
                        </a:rPr>
                        <a:t>Jelly roll dia (at cathdoe side)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000" b="0" i="0" u="none" strike="noStrike" dirty="0">
                        <a:solidFill>
                          <a:srgbClr val="000000"/>
                        </a:solidFill>
                        <a:effectLst/>
                        <a:latin typeface="Trebuchet MS" panose="020B0603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000" b="0" i="0" u="none" strike="noStrike" dirty="0">
                        <a:solidFill>
                          <a:srgbClr val="000000"/>
                        </a:solidFill>
                        <a:effectLst/>
                        <a:latin typeface="Trebuchet MS" panose="020B0603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000" b="0" i="0" u="none" strike="noStrike">
                        <a:solidFill>
                          <a:srgbClr val="000000"/>
                        </a:solidFill>
                        <a:effectLst/>
                        <a:latin typeface="Trebuchet MS" panose="020B0603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000" b="0" i="0" u="none" strike="noStrike">
                        <a:solidFill>
                          <a:srgbClr val="000000"/>
                        </a:solidFill>
                        <a:effectLst/>
                        <a:latin typeface="Trebuchet MS" panose="020B0603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000" b="0" i="0" u="none" strike="noStrike">
                        <a:solidFill>
                          <a:srgbClr val="000000"/>
                        </a:solidFill>
                        <a:effectLst/>
                        <a:latin typeface="Trebuchet MS" panose="020B0603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000" b="0" i="0" u="none" strike="noStrike">
                        <a:solidFill>
                          <a:srgbClr val="000000"/>
                        </a:solidFill>
                        <a:effectLst/>
                        <a:latin typeface="Trebuchet MS" panose="020B0603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000" b="0" i="0" u="none" strike="noStrike">
                        <a:solidFill>
                          <a:srgbClr val="000000"/>
                        </a:solidFill>
                        <a:effectLst/>
                        <a:latin typeface="Trebuchet MS" panose="020B0603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21840523"/>
                  </a:ext>
                </a:extLst>
              </a:tr>
              <a:tr h="357574"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Trebuchet MS" panose="020B0603020202020204" pitchFamily="34" charset="0"/>
                        </a:rPr>
                        <a:t>Jelly roll </a:t>
                      </a:r>
                      <a:r>
                        <a:rPr lang="en-US" sz="10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rebuchet MS" panose="020B0603020202020204" pitchFamily="34" charset="0"/>
                        </a:rPr>
                        <a:t>dia</a:t>
                      </a:r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Trebuchet MS" panose="020B0603020202020204" pitchFamily="34" charset="0"/>
                        </a:rPr>
                        <a:t> (Anode side)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000" b="0" i="0" u="none" strike="noStrike">
                        <a:solidFill>
                          <a:srgbClr val="000000"/>
                        </a:solidFill>
                        <a:effectLst/>
                        <a:latin typeface="Trebuchet MS" panose="020B0603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000" b="0" i="0" u="none" strike="noStrike" dirty="0">
                        <a:solidFill>
                          <a:srgbClr val="000000"/>
                        </a:solidFill>
                        <a:effectLst/>
                        <a:latin typeface="Trebuchet MS" panose="020B0603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000" b="0" i="0" u="none" strike="noStrike">
                        <a:solidFill>
                          <a:srgbClr val="000000"/>
                        </a:solidFill>
                        <a:effectLst/>
                        <a:latin typeface="Trebuchet MS" panose="020B0603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000" b="0" i="0" u="none" strike="noStrike">
                        <a:solidFill>
                          <a:srgbClr val="000000"/>
                        </a:solidFill>
                        <a:effectLst/>
                        <a:latin typeface="Trebuchet MS" panose="020B0603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000" b="0" i="0" u="none" strike="noStrike">
                        <a:solidFill>
                          <a:srgbClr val="000000"/>
                        </a:solidFill>
                        <a:effectLst/>
                        <a:latin typeface="Trebuchet MS" panose="020B0603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000" b="0" i="0" u="none" strike="noStrike">
                        <a:solidFill>
                          <a:srgbClr val="000000"/>
                        </a:solidFill>
                        <a:effectLst/>
                        <a:latin typeface="Trebuchet MS" panose="020B0603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000" b="0" i="0" u="none" strike="noStrike">
                        <a:solidFill>
                          <a:srgbClr val="000000"/>
                        </a:solidFill>
                        <a:effectLst/>
                        <a:latin typeface="Trebuchet MS" panose="020B0603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48648072"/>
                  </a:ext>
                </a:extLst>
              </a:tr>
              <a:tr h="453500">
                <a:tc>
                  <a:txBody>
                    <a:bodyPr/>
                    <a:lstStyle/>
                    <a:p>
                      <a:pPr algn="l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Trebuchet MS" panose="020B0603020202020204" pitchFamily="34" charset="0"/>
                        </a:rPr>
                        <a:t>Jelly roll length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000" b="0" i="0" u="none" strike="noStrike">
                        <a:solidFill>
                          <a:srgbClr val="000000"/>
                        </a:solidFill>
                        <a:effectLst/>
                        <a:latin typeface="Trebuchet MS" panose="020B0603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000" b="0" i="0" u="none" strike="noStrike" dirty="0">
                        <a:solidFill>
                          <a:srgbClr val="000000"/>
                        </a:solidFill>
                        <a:effectLst/>
                        <a:latin typeface="Trebuchet MS" panose="020B0603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000" b="0" i="0" u="none" strike="noStrike">
                        <a:solidFill>
                          <a:srgbClr val="000000"/>
                        </a:solidFill>
                        <a:effectLst/>
                        <a:latin typeface="Trebuchet MS" panose="020B0603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000" b="0" i="0" u="none" strike="noStrike">
                        <a:solidFill>
                          <a:srgbClr val="000000"/>
                        </a:solidFill>
                        <a:effectLst/>
                        <a:latin typeface="Trebuchet MS" panose="020B0603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000" b="0" i="0" u="none" strike="noStrike">
                        <a:solidFill>
                          <a:srgbClr val="000000"/>
                        </a:solidFill>
                        <a:effectLst/>
                        <a:latin typeface="Trebuchet MS" panose="020B0603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000" b="0" i="0" u="none" strike="noStrike">
                        <a:solidFill>
                          <a:srgbClr val="000000"/>
                        </a:solidFill>
                        <a:effectLst/>
                        <a:latin typeface="Trebuchet MS" panose="020B0603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000" b="0" i="0" u="none" strike="noStrike">
                        <a:solidFill>
                          <a:srgbClr val="000000"/>
                        </a:solidFill>
                        <a:effectLst/>
                        <a:latin typeface="Trebuchet MS" panose="020B0603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30897891"/>
                  </a:ext>
                </a:extLst>
              </a:tr>
              <a:tr h="536362"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Trebuchet MS" panose="020B0603020202020204" pitchFamily="34" charset="0"/>
                        </a:rPr>
                        <a:t>Length of tape attached (with separator/Cu-foil)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000" b="0" i="0" u="none" strike="noStrike">
                        <a:solidFill>
                          <a:srgbClr val="000000"/>
                        </a:solidFill>
                        <a:effectLst/>
                        <a:latin typeface="Trebuchet MS" panose="020B0603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000" b="0" i="0" u="none" strike="noStrike" dirty="0">
                        <a:solidFill>
                          <a:srgbClr val="000000"/>
                        </a:solidFill>
                        <a:effectLst/>
                        <a:latin typeface="Trebuchet MS" panose="020B0603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000" b="0" i="0" u="none" strike="noStrike">
                        <a:solidFill>
                          <a:srgbClr val="000000"/>
                        </a:solidFill>
                        <a:effectLst/>
                        <a:latin typeface="Trebuchet MS" panose="020B0603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000" b="0" i="0" u="none" strike="noStrike">
                        <a:solidFill>
                          <a:srgbClr val="000000"/>
                        </a:solidFill>
                        <a:effectLst/>
                        <a:latin typeface="Trebuchet MS" panose="020B0603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000" b="0" i="0" u="none" strike="noStrike">
                        <a:solidFill>
                          <a:srgbClr val="000000"/>
                        </a:solidFill>
                        <a:effectLst/>
                        <a:latin typeface="Trebuchet MS" panose="020B0603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000" b="0" i="0" u="none" strike="noStrike">
                        <a:solidFill>
                          <a:srgbClr val="000000"/>
                        </a:solidFill>
                        <a:effectLst/>
                        <a:latin typeface="Trebuchet MS" panose="020B0603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000" b="0" i="0" u="none" strike="noStrike">
                        <a:solidFill>
                          <a:srgbClr val="000000"/>
                        </a:solidFill>
                        <a:effectLst/>
                        <a:latin typeface="Trebuchet MS" panose="020B0603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94866100"/>
                  </a:ext>
                </a:extLst>
              </a:tr>
              <a:tr h="536362"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Trebuchet MS" panose="020B0603020202020204" pitchFamily="34" charset="0"/>
                        </a:rPr>
                        <a:t>Width of tape attached (with separator/Cu-foil)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000" b="0" i="0" u="none" strike="noStrike">
                        <a:solidFill>
                          <a:srgbClr val="000000"/>
                        </a:solidFill>
                        <a:effectLst/>
                        <a:latin typeface="Trebuchet MS" panose="020B0603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000" b="0" i="0" u="none" strike="noStrike" dirty="0">
                        <a:solidFill>
                          <a:srgbClr val="000000"/>
                        </a:solidFill>
                        <a:effectLst/>
                        <a:latin typeface="Trebuchet MS" panose="020B0603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000" b="0" i="0" u="none" strike="noStrike">
                        <a:solidFill>
                          <a:srgbClr val="000000"/>
                        </a:solidFill>
                        <a:effectLst/>
                        <a:latin typeface="Trebuchet MS" panose="020B0603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000" b="0" i="0" u="none" strike="noStrike">
                        <a:solidFill>
                          <a:srgbClr val="000000"/>
                        </a:solidFill>
                        <a:effectLst/>
                        <a:latin typeface="Trebuchet MS" panose="020B0603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000" b="0" i="0" u="none" strike="noStrike" dirty="0">
                        <a:solidFill>
                          <a:srgbClr val="000000"/>
                        </a:solidFill>
                        <a:effectLst/>
                        <a:latin typeface="Trebuchet MS" panose="020B0603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000" b="0" i="0" u="none" strike="noStrike">
                        <a:solidFill>
                          <a:srgbClr val="000000"/>
                        </a:solidFill>
                        <a:effectLst/>
                        <a:latin typeface="Trebuchet MS" panose="020B0603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000" b="0" i="0" u="none" strike="noStrike">
                        <a:solidFill>
                          <a:srgbClr val="000000"/>
                        </a:solidFill>
                        <a:effectLst/>
                        <a:latin typeface="Trebuchet MS" panose="020B0603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65858759"/>
                  </a:ext>
                </a:extLst>
              </a:tr>
              <a:tr h="536362">
                <a:tc>
                  <a:txBody>
                    <a:bodyPr/>
                    <a:lstStyle/>
                    <a:p>
                      <a:pPr algn="l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Trebuchet MS" panose="020B0603020202020204" pitchFamily="34" charset="0"/>
                        </a:rPr>
                        <a:t>Mandrel inner dia, mm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000" b="0" i="0" u="none" strike="noStrike">
                        <a:solidFill>
                          <a:srgbClr val="000000"/>
                        </a:solidFill>
                        <a:effectLst/>
                        <a:latin typeface="Trebuchet MS" panose="020B0603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000" b="0" i="0" u="none" strike="noStrike" dirty="0">
                        <a:solidFill>
                          <a:srgbClr val="000000"/>
                        </a:solidFill>
                        <a:effectLst/>
                        <a:latin typeface="Trebuchet MS" panose="020B0603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000" b="0" i="0" u="none" strike="noStrike">
                        <a:solidFill>
                          <a:srgbClr val="000000"/>
                        </a:solidFill>
                        <a:effectLst/>
                        <a:latin typeface="Trebuchet MS" panose="020B0603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000" b="0" i="0" u="none" strike="noStrike">
                        <a:solidFill>
                          <a:srgbClr val="000000"/>
                        </a:solidFill>
                        <a:effectLst/>
                        <a:latin typeface="Trebuchet MS" panose="020B0603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000" b="0" i="0" u="none" strike="noStrike">
                        <a:solidFill>
                          <a:srgbClr val="000000"/>
                        </a:solidFill>
                        <a:effectLst/>
                        <a:latin typeface="Trebuchet MS" panose="020B0603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000" b="0" i="0" u="none" strike="noStrike">
                        <a:solidFill>
                          <a:srgbClr val="000000"/>
                        </a:solidFill>
                        <a:effectLst/>
                        <a:latin typeface="Trebuchet MS" panose="020B0603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000" b="0" i="0" u="none" strike="noStrike">
                        <a:solidFill>
                          <a:srgbClr val="000000"/>
                        </a:solidFill>
                        <a:effectLst/>
                        <a:latin typeface="Trebuchet MS" panose="020B0603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13831972"/>
                  </a:ext>
                </a:extLst>
              </a:tr>
              <a:tr h="324466">
                <a:tc>
                  <a:txBody>
                    <a:bodyPr/>
                    <a:lstStyle/>
                    <a:p>
                      <a:pPr algn="l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Trebuchet MS" panose="020B0603020202020204" pitchFamily="34" charset="0"/>
                        </a:rPr>
                        <a:t>JR Volume( ml)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IN" sz="1000" b="0" i="0" u="none" strike="noStrike">
                        <a:solidFill>
                          <a:srgbClr val="000000"/>
                        </a:solidFill>
                        <a:effectLst/>
                        <a:latin typeface="Trebuchet MS" panose="020B0603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000" b="0" i="0" u="none" strike="noStrike" dirty="0">
                        <a:solidFill>
                          <a:srgbClr val="000000"/>
                        </a:solidFill>
                        <a:effectLst/>
                        <a:latin typeface="Trebuchet MS" panose="020B0603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000" b="0" i="0" u="none" strike="noStrike">
                        <a:solidFill>
                          <a:srgbClr val="000000"/>
                        </a:solidFill>
                        <a:effectLst/>
                        <a:latin typeface="Trebuchet MS" panose="020B0603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000" b="0" i="0" u="none" strike="noStrike">
                        <a:solidFill>
                          <a:srgbClr val="000000"/>
                        </a:solidFill>
                        <a:effectLst/>
                        <a:latin typeface="Trebuchet MS" panose="020B0603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000" b="0" i="0" u="none" strike="noStrike">
                        <a:solidFill>
                          <a:srgbClr val="000000"/>
                        </a:solidFill>
                        <a:effectLst/>
                        <a:latin typeface="Trebuchet MS" panose="020B0603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000" b="0" i="0" u="none" strike="noStrike">
                        <a:solidFill>
                          <a:srgbClr val="000000"/>
                        </a:solidFill>
                        <a:effectLst/>
                        <a:latin typeface="Trebuchet MS" panose="020B0603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000" b="0" i="0" u="none" strike="noStrike">
                        <a:solidFill>
                          <a:srgbClr val="000000"/>
                        </a:solidFill>
                        <a:effectLst/>
                        <a:latin typeface="Trebuchet MS" panose="020B0603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52351394"/>
                  </a:ext>
                </a:extLst>
              </a:tr>
              <a:tr h="324466">
                <a:tc>
                  <a:txBody>
                    <a:bodyPr/>
                    <a:lstStyle/>
                    <a:p>
                      <a:pPr algn="l" fontAlgn="ctr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Trebuchet MS" panose="020B0603020202020204" pitchFamily="34" charset="0"/>
                        </a:rPr>
                        <a:t>Cell Volume (ml)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000" b="0" i="0" u="none" strike="noStrike">
                        <a:solidFill>
                          <a:srgbClr val="000000"/>
                        </a:solidFill>
                        <a:effectLst/>
                        <a:latin typeface="Trebuchet MS" panose="020B0603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000" b="0" i="0" u="none" strike="noStrike" dirty="0">
                        <a:solidFill>
                          <a:srgbClr val="000000"/>
                        </a:solidFill>
                        <a:effectLst/>
                        <a:latin typeface="Trebuchet MS" panose="020B0603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000" b="0" i="0" u="none" strike="noStrike" dirty="0">
                        <a:solidFill>
                          <a:srgbClr val="000000"/>
                        </a:solidFill>
                        <a:effectLst/>
                        <a:latin typeface="Trebuchet MS" panose="020B0603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000" b="0" i="0" u="none" strike="noStrike">
                        <a:solidFill>
                          <a:srgbClr val="000000"/>
                        </a:solidFill>
                        <a:effectLst/>
                        <a:latin typeface="Trebuchet MS" panose="020B0603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000" b="0" i="0" u="none" strike="noStrike">
                        <a:solidFill>
                          <a:srgbClr val="000000"/>
                        </a:solidFill>
                        <a:effectLst/>
                        <a:latin typeface="Trebuchet MS" panose="020B0603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000" b="0" i="0" u="none" strike="noStrike">
                        <a:solidFill>
                          <a:srgbClr val="000000"/>
                        </a:solidFill>
                        <a:effectLst/>
                        <a:latin typeface="Trebuchet MS" panose="020B0603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000" b="0" i="0" u="none" strike="noStrike" dirty="0">
                        <a:solidFill>
                          <a:srgbClr val="000000"/>
                        </a:solidFill>
                        <a:effectLst/>
                        <a:latin typeface="Trebuchet MS" panose="020B0603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60703774"/>
                  </a:ext>
                </a:extLst>
              </a:tr>
              <a:tr h="311222">
                <a:tc>
                  <a:txBody>
                    <a:bodyPr/>
                    <a:lstStyle/>
                    <a:p>
                      <a:pPr algn="l" fontAlgn="ctr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Trebuchet MS" panose="020B0603020202020204" pitchFamily="34" charset="0"/>
                        </a:rPr>
                        <a:t>% of free space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000" b="0" i="0" u="none" strike="noStrike">
                        <a:solidFill>
                          <a:srgbClr val="000000"/>
                        </a:solidFill>
                        <a:effectLst/>
                        <a:latin typeface="Trebuchet MS" panose="020B0603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000" b="0" i="0" u="none" strike="noStrike" dirty="0">
                        <a:solidFill>
                          <a:srgbClr val="000000"/>
                        </a:solidFill>
                        <a:effectLst/>
                        <a:latin typeface="Trebuchet MS" panose="020B0603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000" b="0" i="0" u="none" strike="noStrike">
                        <a:solidFill>
                          <a:srgbClr val="000000"/>
                        </a:solidFill>
                        <a:effectLst/>
                        <a:latin typeface="Trebuchet MS" panose="020B0603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000" b="0" i="0" u="none" strike="noStrike" dirty="0">
                        <a:solidFill>
                          <a:srgbClr val="000000"/>
                        </a:solidFill>
                        <a:effectLst/>
                        <a:latin typeface="Trebuchet MS" panose="020B0603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000" b="0" i="0" u="none" strike="noStrike" dirty="0">
                        <a:solidFill>
                          <a:srgbClr val="000000"/>
                        </a:solidFill>
                        <a:effectLst/>
                        <a:latin typeface="Trebuchet MS" panose="020B0603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000" b="0" i="0" u="none" strike="noStrike" dirty="0">
                        <a:solidFill>
                          <a:srgbClr val="000000"/>
                        </a:solidFill>
                        <a:effectLst/>
                        <a:latin typeface="Trebuchet MS" panose="020B0603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000" b="0" i="0" u="none" strike="noStrike" dirty="0">
                        <a:solidFill>
                          <a:srgbClr val="000000"/>
                        </a:solidFill>
                        <a:effectLst/>
                        <a:latin typeface="Trebuchet MS" panose="020B0603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34190458"/>
                  </a:ext>
                </a:extLst>
              </a:tr>
            </a:tbl>
          </a:graphicData>
        </a:graphic>
      </p:graphicFrame>
      <p:sp>
        <p:nvSpPr>
          <p:cNvPr id="2" name="Title 3">
            <a:extLst>
              <a:ext uri="{FF2B5EF4-FFF2-40B4-BE49-F238E27FC236}">
                <a16:creationId xmlns:a16="http://schemas.microsoft.com/office/drawing/2014/main" id="{B0D2E178-8F44-ABC3-E56C-F77A4B483EF0}"/>
              </a:ext>
            </a:extLst>
          </p:cNvPr>
          <p:cNvSpPr txBox="1">
            <a:spLocks/>
          </p:cNvSpPr>
          <p:nvPr/>
        </p:nvSpPr>
        <p:spPr>
          <a:xfrm>
            <a:off x="1937568" y="125304"/>
            <a:ext cx="8315141" cy="501015"/>
          </a:xfrm>
          <a:prstGeom prst="homePlate">
            <a:avLst>
              <a:gd name="adj" fmla="val 110000"/>
            </a:avLst>
          </a:prstGeom>
          <a:solidFill>
            <a:srgbClr val="F8CBAD"/>
          </a:solidFill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Gotham" pitchFamily="50" charset="0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</a:pPr>
            <a:r>
              <a:rPr lang="en-IN" sz="2800" b="1" dirty="0"/>
              <a:t>Jelly Roll Design: Overall comparison</a:t>
            </a:r>
          </a:p>
        </p:txBody>
      </p:sp>
    </p:spTree>
    <p:extLst>
      <p:ext uri="{BB962C8B-B14F-4D97-AF65-F5344CB8AC3E}">
        <p14:creationId xmlns:p14="http://schemas.microsoft.com/office/powerpoint/2010/main" val="2642081702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58972CFE-5F71-CCE2-B4D8-2C1E6E99B383}"/>
              </a:ext>
            </a:extLst>
          </p:cNvPr>
          <p:cNvSpPr txBox="1"/>
          <p:nvPr/>
        </p:nvSpPr>
        <p:spPr>
          <a:xfrm>
            <a:off x="1665514" y="1121229"/>
            <a:ext cx="829491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u="sng" dirty="0"/>
              <a:t>Parts analysis of cylindrical cells</a:t>
            </a:r>
            <a:endParaRPr lang="en-IN" sz="2400" b="1" u="sng" dirty="0"/>
          </a:p>
        </p:txBody>
      </p:sp>
    </p:spTree>
    <p:extLst>
      <p:ext uri="{BB962C8B-B14F-4D97-AF65-F5344CB8AC3E}">
        <p14:creationId xmlns:p14="http://schemas.microsoft.com/office/powerpoint/2010/main" val="348227344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C032944-B2EE-855D-3ADD-62452FD5205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90282" y="2146799"/>
            <a:ext cx="4411435" cy="470898"/>
          </a:xfrm>
        </p:spPr>
        <p:txBody>
          <a:bodyPr/>
          <a:lstStyle/>
          <a:p>
            <a:r>
              <a:rPr lang="en-US" dirty="0"/>
              <a:t>Prismatic cell Report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795801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EFAA33E-4588-93FD-3798-CB78A58BA5D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FFEDCC3E-AA91-37B3-9ED6-C2B0387651E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68463042"/>
              </p:ext>
            </p:extLst>
          </p:nvPr>
        </p:nvGraphicFramePr>
        <p:xfrm>
          <a:off x="1280140" y="1175659"/>
          <a:ext cx="9631719" cy="5162004"/>
        </p:xfrm>
        <a:graphic>
          <a:graphicData uri="http://schemas.openxmlformats.org/drawingml/2006/table">
            <a:tbl>
              <a:tblPr firstRow="1" firstCol="1" bandRow="1">
                <a:tableStyleId>{9DCAF9ED-07DC-4A11-8D7F-57B35C25682E}</a:tableStyleId>
              </a:tblPr>
              <a:tblGrid>
                <a:gridCol w="3006412">
                  <a:extLst>
                    <a:ext uri="{9D8B030D-6E8A-4147-A177-3AD203B41FA5}">
                      <a16:colId xmlns:a16="http://schemas.microsoft.com/office/drawing/2014/main" val="3378915241"/>
                    </a:ext>
                  </a:extLst>
                </a:gridCol>
                <a:gridCol w="4253284">
                  <a:extLst>
                    <a:ext uri="{9D8B030D-6E8A-4147-A177-3AD203B41FA5}">
                      <a16:colId xmlns:a16="http://schemas.microsoft.com/office/drawing/2014/main" val="1957166543"/>
                    </a:ext>
                  </a:extLst>
                </a:gridCol>
                <a:gridCol w="2372023">
                  <a:extLst>
                    <a:ext uri="{9D8B030D-6E8A-4147-A177-3AD203B41FA5}">
                      <a16:colId xmlns:a16="http://schemas.microsoft.com/office/drawing/2014/main" val="3689399708"/>
                    </a:ext>
                  </a:extLst>
                </a:gridCol>
              </a:tblGrid>
              <a:tr h="398817"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IN" sz="1200" kern="0">
                          <a:effectLst/>
                        </a:rPr>
                        <a:t>Parameters</a:t>
                      </a:r>
                      <a:endParaRPr lang="en-IN" sz="1200" kern="1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7781" marR="67781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IN" sz="1200" kern="0" dirty="0">
                          <a:effectLst/>
                        </a:rPr>
                        <a:t>Value</a:t>
                      </a:r>
                      <a:endParaRPr lang="en-IN" sz="12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7781" marR="67781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IN" sz="1200" kern="0" dirty="0">
                          <a:effectLst/>
                        </a:rPr>
                        <a:t>Unit</a:t>
                      </a:r>
                      <a:endParaRPr lang="en-IN" sz="12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7781" marR="67781" marT="0" marB="0"/>
                </a:tc>
                <a:extLst>
                  <a:ext uri="{0D108BD9-81ED-4DB2-BD59-A6C34878D82A}">
                    <a16:rowId xmlns:a16="http://schemas.microsoft.com/office/drawing/2014/main" val="3991684838"/>
                  </a:ext>
                </a:extLst>
              </a:tr>
              <a:tr h="352938"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IN" sz="1200" kern="0">
                          <a:effectLst/>
                        </a:rPr>
                        <a:t>Cell makes</a:t>
                      </a:r>
                      <a:endParaRPr lang="en-IN" sz="1200" kern="1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7781" marR="67781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200" kern="100" dirty="0">
                          <a:effectLst/>
                        </a:rPr>
                        <a:t>SVOLT </a:t>
                      </a:r>
                      <a:endParaRPr lang="en-IN" sz="12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7781" marR="67781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IN" sz="1200" kern="100" dirty="0">
                          <a:effectLst/>
                        </a:rPr>
                        <a:t> </a:t>
                      </a:r>
                      <a:endParaRPr lang="en-IN" sz="12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7781" marR="67781" marT="0" marB="0"/>
                </a:tc>
                <a:extLst>
                  <a:ext uri="{0D108BD9-81ED-4DB2-BD59-A6C34878D82A}">
                    <a16:rowId xmlns:a16="http://schemas.microsoft.com/office/drawing/2014/main" val="3951072739"/>
                  </a:ext>
                </a:extLst>
              </a:tr>
              <a:tr h="297535"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IN" sz="1200" kern="0" dirty="0">
                          <a:effectLst/>
                        </a:rPr>
                        <a:t>Nominal voltage</a:t>
                      </a:r>
                      <a:endParaRPr lang="en-IN" sz="12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7781" marR="67781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800"/>
                        </a:spcAft>
                        <a:buNone/>
                      </a:pPr>
                      <a:endParaRPr lang="en-IN" sz="12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7781" marR="67781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IN" sz="1200" kern="100" dirty="0">
                          <a:effectLst/>
                        </a:rPr>
                        <a:t>V</a:t>
                      </a:r>
                      <a:endParaRPr lang="en-IN" sz="12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7781" marR="67781" marT="0" marB="0"/>
                </a:tc>
                <a:extLst>
                  <a:ext uri="{0D108BD9-81ED-4DB2-BD59-A6C34878D82A}">
                    <a16:rowId xmlns:a16="http://schemas.microsoft.com/office/drawing/2014/main" val="1328913710"/>
                  </a:ext>
                </a:extLst>
              </a:tr>
              <a:tr h="297535"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IN" sz="1200" kern="0">
                          <a:effectLst/>
                        </a:rPr>
                        <a:t>Cell type</a:t>
                      </a:r>
                      <a:endParaRPr lang="en-IN" sz="1200" kern="1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7781" marR="67781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200" kern="100" dirty="0">
                          <a:effectLst/>
                        </a:rPr>
                        <a:t>Prismatic</a:t>
                      </a:r>
                      <a:endParaRPr lang="en-IN" sz="12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7781" marR="67781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IN" sz="1200" kern="100" dirty="0">
                          <a:effectLst/>
                        </a:rPr>
                        <a:t> </a:t>
                      </a:r>
                      <a:endParaRPr lang="en-IN" sz="12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7781" marR="67781" marT="0" marB="0"/>
                </a:tc>
                <a:extLst>
                  <a:ext uri="{0D108BD9-81ED-4DB2-BD59-A6C34878D82A}">
                    <a16:rowId xmlns:a16="http://schemas.microsoft.com/office/drawing/2014/main" val="2731373271"/>
                  </a:ext>
                </a:extLst>
              </a:tr>
              <a:tr h="297535"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IN" sz="1200" kern="0" dirty="0">
                          <a:effectLst/>
                        </a:rPr>
                        <a:t>Cell voltage, OCV</a:t>
                      </a:r>
                      <a:endParaRPr lang="en-IN" sz="12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7781" marR="67781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800"/>
                        </a:spcAft>
                        <a:buNone/>
                      </a:pPr>
                      <a:endParaRPr lang="en-IN" sz="12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7781" marR="67781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IN" sz="1200" kern="100">
                          <a:effectLst/>
                        </a:rPr>
                        <a:t>V</a:t>
                      </a:r>
                      <a:endParaRPr lang="en-IN" sz="1200" kern="1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7781" marR="67781" marT="0" marB="0"/>
                </a:tc>
                <a:extLst>
                  <a:ext uri="{0D108BD9-81ED-4DB2-BD59-A6C34878D82A}">
                    <a16:rowId xmlns:a16="http://schemas.microsoft.com/office/drawing/2014/main" val="1052040562"/>
                  </a:ext>
                </a:extLst>
              </a:tr>
              <a:tr h="328995"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IN" sz="1200" kern="0" dirty="0">
                          <a:effectLst/>
                        </a:rPr>
                        <a:t>SOC of the cell as received</a:t>
                      </a:r>
                      <a:endParaRPr lang="en-IN" sz="12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7781" marR="67781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800"/>
                        </a:spcAft>
                        <a:buNone/>
                      </a:pPr>
                      <a:endParaRPr lang="en-IN" sz="12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7781" marR="67781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IN" sz="1200" kern="100">
                          <a:effectLst/>
                        </a:rPr>
                        <a:t>%</a:t>
                      </a:r>
                      <a:endParaRPr lang="en-IN" sz="1200" kern="1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7781" marR="67781" marT="0" marB="0"/>
                </a:tc>
                <a:extLst>
                  <a:ext uri="{0D108BD9-81ED-4DB2-BD59-A6C34878D82A}">
                    <a16:rowId xmlns:a16="http://schemas.microsoft.com/office/drawing/2014/main" val="2160901535"/>
                  </a:ext>
                </a:extLst>
              </a:tr>
              <a:tr h="297535"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IN" sz="1200" kern="0" dirty="0">
                          <a:effectLst/>
                        </a:rPr>
                        <a:t>Rated capacity </a:t>
                      </a:r>
                      <a:endParaRPr lang="en-IN" sz="12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7781" marR="67781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200" kern="100" dirty="0">
                          <a:effectLst/>
                        </a:rPr>
                        <a:t>116 Ah @ XXX C-rate</a:t>
                      </a:r>
                      <a:endParaRPr lang="en-IN" sz="12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7781" marR="67781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IN" sz="1200" kern="100">
                          <a:effectLst/>
                        </a:rPr>
                        <a:t>Ah</a:t>
                      </a:r>
                      <a:endParaRPr lang="en-IN" sz="1200" kern="1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7781" marR="67781" marT="0" marB="0"/>
                </a:tc>
                <a:extLst>
                  <a:ext uri="{0D108BD9-81ED-4DB2-BD59-A6C34878D82A}">
                    <a16:rowId xmlns:a16="http://schemas.microsoft.com/office/drawing/2014/main" val="1760244558"/>
                  </a:ext>
                </a:extLst>
              </a:tr>
              <a:tr h="297535"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IN" sz="1200" kern="0">
                          <a:effectLst/>
                        </a:rPr>
                        <a:t>Cell weight </a:t>
                      </a:r>
                      <a:endParaRPr lang="en-IN" sz="1200" kern="1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7781" marR="67781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800"/>
                        </a:spcAft>
                        <a:buNone/>
                      </a:pPr>
                      <a:endParaRPr lang="en-IN" sz="12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7781" marR="67781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IN" sz="1200" kern="100" dirty="0">
                          <a:effectLst/>
                        </a:rPr>
                        <a:t>kg</a:t>
                      </a:r>
                      <a:endParaRPr lang="en-IN" sz="12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7781" marR="67781" marT="0" marB="0"/>
                </a:tc>
                <a:extLst>
                  <a:ext uri="{0D108BD9-81ED-4DB2-BD59-A6C34878D82A}">
                    <a16:rowId xmlns:a16="http://schemas.microsoft.com/office/drawing/2014/main" val="3882267169"/>
                  </a:ext>
                </a:extLst>
              </a:tr>
              <a:tr h="297535"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IN" sz="1200" kern="0">
                          <a:effectLst/>
                        </a:rPr>
                        <a:t>Cell dimension (length * height * width)</a:t>
                      </a:r>
                      <a:endParaRPr lang="en-IN" sz="1200" kern="1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7781" marR="67781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800"/>
                        </a:spcAft>
                        <a:buNone/>
                      </a:pPr>
                      <a:endParaRPr lang="en-IN" sz="12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7781" marR="67781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IN" sz="1200" kern="100">
                          <a:effectLst/>
                        </a:rPr>
                        <a:t>mm</a:t>
                      </a:r>
                      <a:endParaRPr lang="en-IN" sz="1200" kern="1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7781" marR="67781" marT="0" marB="0"/>
                </a:tc>
                <a:extLst>
                  <a:ext uri="{0D108BD9-81ED-4DB2-BD59-A6C34878D82A}">
                    <a16:rowId xmlns:a16="http://schemas.microsoft.com/office/drawing/2014/main" val="1423467548"/>
                  </a:ext>
                </a:extLst>
              </a:tr>
              <a:tr h="297535"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IN" sz="1200" kern="100">
                          <a:effectLst/>
                        </a:rPr>
                        <a:t>Positive terminal dimensions (length* height * width)</a:t>
                      </a:r>
                      <a:endParaRPr lang="en-IN" sz="1200" kern="1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7781" marR="67781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800"/>
                        </a:spcAft>
                        <a:buNone/>
                      </a:pPr>
                      <a:endParaRPr lang="en-IN" sz="12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7781" marR="67781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IN" sz="1200" kern="100">
                          <a:effectLst/>
                        </a:rPr>
                        <a:t>mm</a:t>
                      </a:r>
                      <a:endParaRPr lang="en-IN" sz="1200" kern="1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7781" marR="67781" marT="0" marB="0"/>
                </a:tc>
                <a:extLst>
                  <a:ext uri="{0D108BD9-81ED-4DB2-BD59-A6C34878D82A}">
                    <a16:rowId xmlns:a16="http://schemas.microsoft.com/office/drawing/2014/main" val="1631500640"/>
                  </a:ext>
                </a:extLst>
              </a:tr>
              <a:tr h="297535"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IN" sz="1200" kern="100">
                          <a:effectLst/>
                        </a:rPr>
                        <a:t>Negative terminal dimensions (length* height * width)</a:t>
                      </a:r>
                      <a:endParaRPr lang="en-IN" sz="1200" kern="1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7781" marR="67781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800"/>
                        </a:spcAft>
                        <a:buNone/>
                      </a:pPr>
                      <a:endParaRPr lang="en-IN" sz="12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7781" marR="67781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IN" sz="1200" kern="100" dirty="0">
                          <a:effectLst/>
                        </a:rPr>
                        <a:t>mm</a:t>
                      </a:r>
                      <a:endParaRPr lang="en-IN" sz="12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7781" marR="67781" marT="0" marB="0"/>
                </a:tc>
                <a:extLst>
                  <a:ext uri="{0D108BD9-81ED-4DB2-BD59-A6C34878D82A}">
                    <a16:rowId xmlns:a16="http://schemas.microsoft.com/office/drawing/2014/main" val="807130352"/>
                  </a:ext>
                </a:extLst>
              </a:tr>
              <a:tr h="626242"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IN" sz="1200" kern="0">
                          <a:effectLst/>
                        </a:rPr>
                        <a:t>Positive terminal height from cell base</a:t>
                      </a:r>
                      <a:br>
                        <a:rPr lang="en-IN" sz="1200" kern="0">
                          <a:effectLst/>
                        </a:rPr>
                      </a:br>
                      <a:r>
                        <a:rPr lang="en-IN" sz="1200" kern="0">
                          <a:effectLst/>
                        </a:rPr>
                        <a:t> (Height without tab)</a:t>
                      </a:r>
                      <a:endParaRPr lang="en-IN" sz="1200" kern="1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7781" marR="67781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800"/>
                        </a:spcAft>
                        <a:buNone/>
                      </a:pPr>
                      <a:endParaRPr lang="en-IN" sz="12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7781" marR="67781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IN" sz="1200" kern="100" dirty="0">
                          <a:effectLst/>
                        </a:rPr>
                        <a:t>mm</a:t>
                      </a:r>
                      <a:endParaRPr lang="en-IN" sz="12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7781" marR="67781" marT="0" marB="0"/>
                </a:tc>
                <a:extLst>
                  <a:ext uri="{0D108BD9-81ED-4DB2-BD59-A6C34878D82A}">
                    <a16:rowId xmlns:a16="http://schemas.microsoft.com/office/drawing/2014/main" val="2524008487"/>
                  </a:ext>
                </a:extLst>
              </a:tr>
              <a:tr h="626242"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IN" sz="1200" kern="0">
                          <a:effectLst/>
                        </a:rPr>
                        <a:t>Negative terminal height from cell base </a:t>
                      </a:r>
                      <a:br>
                        <a:rPr lang="en-IN" sz="1200" kern="0">
                          <a:effectLst/>
                        </a:rPr>
                      </a:br>
                      <a:r>
                        <a:rPr lang="en-IN" sz="1200" kern="0">
                          <a:effectLst/>
                        </a:rPr>
                        <a:t>(Height without tab)</a:t>
                      </a:r>
                      <a:endParaRPr lang="en-IN" sz="1200" kern="1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7781" marR="67781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800"/>
                        </a:spcAft>
                        <a:buNone/>
                      </a:pPr>
                      <a:endParaRPr lang="en-IN" sz="12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7781" marR="67781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IN" sz="1200" kern="100" dirty="0">
                          <a:effectLst/>
                        </a:rPr>
                        <a:t>mm</a:t>
                      </a:r>
                      <a:endParaRPr lang="en-IN" sz="12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7781" marR="67781" marT="0" marB="0"/>
                </a:tc>
                <a:extLst>
                  <a:ext uri="{0D108BD9-81ED-4DB2-BD59-A6C34878D82A}">
                    <a16:rowId xmlns:a16="http://schemas.microsoft.com/office/drawing/2014/main" val="1848035759"/>
                  </a:ext>
                </a:extLst>
              </a:tr>
            </a:tbl>
          </a:graphicData>
        </a:graphic>
      </p:graphicFrame>
      <p:sp>
        <p:nvSpPr>
          <p:cNvPr id="4" name="TextBox 3">
            <a:extLst>
              <a:ext uri="{FF2B5EF4-FFF2-40B4-BE49-F238E27FC236}">
                <a16:creationId xmlns:a16="http://schemas.microsoft.com/office/drawing/2014/main" id="{A7C98FBA-7D49-4EEB-B4F4-E7603374A081}"/>
              </a:ext>
            </a:extLst>
          </p:cNvPr>
          <p:cNvSpPr txBox="1"/>
          <p:nvPr/>
        </p:nvSpPr>
        <p:spPr>
          <a:xfrm>
            <a:off x="4615543" y="487679"/>
            <a:ext cx="291737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u="sng" dirty="0"/>
              <a:t>Physical parameters</a:t>
            </a:r>
            <a:endParaRPr lang="en-IN" sz="2400" b="1" u="sng" dirty="0"/>
          </a:p>
        </p:txBody>
      </p:sp>
    </p:spTree>
    <p:extLst>
      <p:ext uri="{BB962C8B-B14F-4D97-AF65-F5344CB8AC3E}">
        <p14:creationId xmlns:p14="http://schemas.microsoft.com/office/powerpoint/2010/main" val="3585732800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47740FF-D920-F322-6309-0C2F85ECFD3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16136" y="274458"/>
            <a:ext cx="4596493" cy="470898"/>
          </a:xfrm>
        </p:spPr>
        <p:txBody>
          <a:bodyPr/>
          <a:lstStyle/>
          <a:p>
            <a:r>
              <a:rPr lang="en-US" dirty="0"/>
              <a:t>Jelly roll parameters </a:t>
            </a:r>
            <a:endParaRPr lang="en-IN" dirty="0"/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B6C89415-A4CF-63B0-3BE4-8A023655B0A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11741606"/>
              </p:ext>
            </p:extLst>
          </p:nvPr>
        </p:nvGraphicFramePr>
        <p:xfrm>
          <a:off x="175329" y="1224328"/>
          <a:ext cx="5256643" cy="3662313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3406072">
                  <a:extLst>
                    <a:ext uri="{9D8B030D-6E8A-4147-A177-3AD203B41FA5}">
                      <a16:colId xmlns:a16="http://schemas.microsoft.com/office/drawing/2014/main" val="830996187"/>
                    </a:ext>
                  </a:extLst>
                </a:gridCol>
                <a:gridCol w="1230085">
                  <a:extLst>
                    <a:ext uri="{9D8B030D-6E8A-4147-A177-3AD203B41FA5}">
                      <a16:colId xmlns:a16="http://schemas.microsoft.com/office/drawing/2014/main" val="612561516"/>
                    </a:ext>
                  </a:extLst>
                </a:gridCol>
                <a:gridCol w="620486">
                  <a:extLst>
                    <a:ext uri="{9D8B030D-6E8A-4147-A177-3AD203B41FA5}">
                      <a16:colId xmlns:a16="http://schemas.microsoft.com/office/drawing/2014/main" val="621641868"/>
                    </a:ext>
                  </a:extLst>
                </a:gridCol>
              </a:tblGrid>
              <a:tr h="328188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IN" sz="1200" kern="0" dirty="0">
                          <a:effectLst/>
                        </a:rPr>
                        <a:t>Parameters</a:t>
                      </a:r>
                      <a:endParaRPr lang="en-IN" sz="12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9525" marB="9525" anchor="b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IN" sz="1200" kern="100">
                          <a:effectLst/>
                        </a:rPr>
                        <a:t>Values</a:t>
                      </a:r>
                      <a:endParaRPr lang="en-IN" sz="1200" kern="1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9525" marB="9525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IN" sz="1200" kern="100">
                          <a:effectLst/>
                        </a:rPr>
                        <a:t>Units</a:t>
                      </a:r>
                      <a:endParaRPr lang="en-IN" sz="1200" kern="1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9525" marB="9525"/>
                </a:tc>
                <a:extLst>
                  <a:ext uri="{0D108BD9-81ED-4DB2-BD59-A6C34878D82A}">
                    <a16:rowId xmlns:a16="http://schemas.microsoft.com/office/drawing/2014/main" val="3113420978"/>
                  </a:ext>
                </a:extLst>
              </a:tr>
              <a:tr h="330584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IN" sz="1200" kern="0" dirty="0">
                          <a:effectLst/>
                        </a:rPr>
                        <a:t>No. of jelly roll</a:t>
                      </a:r>
                      <a:endParaRPr lang="en-IN" sz="12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9525" marB="9525" anchor="b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endParaRPr lang="en-IN" sz="12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9525" marB="9525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IN" sz="1200" kern="100">
                          <a:effectLst/>
                        </a:rPr>
                        <a:t> </a:t>
                      </a:r>
                      <a:endParaRPr lang="en-IN" sz="1200" kern="1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9525" marB="9525"/>
                </a:tc>
                <a:extLst>
                  <a:ext uri="{0D108BD9-81ED-4DB2-BD59-A6C34878D82A}">
                    <a16:rowId xmlns:a16="http://schemas.microsoft.com/office/drawing/2014/main" val="1733702974"/>
                  </a:ext>
                </a:extLst>
              </a:tr>
              <a:tr h="330584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IN" sz="1200" kern="0" dirty="0">
                          <a:effectLst/>
                        </a:rPr>
                        <a:t>Jelly roll dimension (length x height x width)</a:t>
                      </a:r>
                      <a:endParaRPr lang="en-IN" sz="12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9525" marB="9525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endParaRPr lang="en-IN" sz="12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9525" marB="9525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IN" sz="1200" kern="0">
                          <a:effectLst/>
                        </a:rPr>
                        <a:t>mm</a:t>
                      </a:r>
                      <a:endParaRPr lang="en-IN" sz="1200" kern="1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9525" marB="9525"/>
                </a:tc>
                <a:extLst>
                  <a:ext uri="{0D108BD9-81ED-4DB2-BD59-A6C34878D82A}">
                    <a16:rowId xmlns:a16="http://schemas.microsoft.com/office/drawing/2014/main" val="3730941900"/>
                  </a:ext>
                </a:extLst>
              </a:tr>
              <a:tr h="330584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IN" sz="1200" kern="0" dirty="0">
                          <a:effectLst/>
                        </a:rPr>
                        <a:t>Type of jelly roll</a:t>
                      </a:r>
                      <a:endParaRPr lang="en-IN" sz="12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9525" marB="9525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endParaRPr lang="en-IN" sz="1200" kern="1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9525" marB="9525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IN" sz="1200" kern="100">
                          <a:effectLst/>
                        </a:rPr>
                        <a:t> </a:t>
                      </a:r>
                      <a:endParaRPr lang="en-IN" sz="1200" kern="1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9525" marB="9525"/>
                </a:tc>
                <a:extLst>
                  <a:ext uri="{0D108BD9-81ED-4DB2-BD59-A6C34878D82A}">
                    <a16:rowId xmlns:a16="http://schemas.microsoft.com/office/drawing/2014/main" val="1677094668"/>
                  </a:ext>
                </a:extLst>
              </a:tr>
              <a:tr h="645733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IN" sz="1200" kern="0" dirty="0">
                          <a:effectLst/>
                        </a:rPr>
                        <a:t>Tape combining jelly rolls, colour, width thickness (wide tape)</a:t>
                      </a:r>
                      <a:endParaRPr lang="en-IN" sz="12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9525" marB="9525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endParaRPr lang="en-IN" sz="12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9525" marB="9525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IN" sz="1200" kern="100">
                          <a:effectLst/>
                        </a:rPr>
                        <a:t> </a:t>
                      </a:r>
                      <a:endParaRPr lang="en-IN" sz="1200" kern="1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9525" marB="9525"/>
                </a:tc>
                <a:extLst>
                  <a:ext uri="{0D108BD9-81ED-4DB2-BD59-A6C34878D82A}">
                    <a16:rowId xmlns:a16="http://schemas.microsoft.com/office/drawing/2014/main" val="3649892017"/>
                  </a:ext>
                </a:extLst>
              </a:tr>
              <a:tr h="330584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IN" sz="1200" kern="0" dirty="0">
                          <a:effectLst/>
                        </a:rPr>
                        <a:t>Small tapes dimensions</a:t>
                      </a:r>
                      <a:endParaRPr lang="en-IN" sz="12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9525" marB="9525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endParaRPr lang="en-IN" sz="12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9525" marB="9525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IN" sz="1200" kern="0">
                          <a:effectLst/>
                        </a:rPr>
                        <a:t> </a:t>
                      </a:r>
                      <a:endParaRPr lang="en-IN" sz="1200" kern="1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9525" marB="9525"/>
                </a:tc>
                <a:extLst>
                  <a:ext uri="{0D108BD9-81ED-4DB2-BD59-A6C34878D82A}">
                    <a16:rowId xmlns:a16="http://schemas.microsoft.com/office/drawing/2014/main" val="96737428"/>
                  </a:ext>
                </a:extLst>
              </a:tr>
              <a:tr h="374304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IN" sz="1200" kern="0" dirty="0">
                          <a:effectLst/>
                        </a:rPr>
                        <a:t>Tape for fixing separator at the end</a:t>
                      </a:r>
                      <a:endParaRPr lang="en-IN" sz="12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9525" marB="9525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endParaRPr lang="en-IN" sz="12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9525" marB="9525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IN" sz="1200" kern="100" dirty="0">
                          <a:effectLst/>
                        </a:rPr>
                        <a:t>mm</a:t>
                      </a:r>
                      <a:endParaRPr lang="en-IN" sz="12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9525" marB="9525"/>
                </a:tc>
                <a:extLst>
                  <a:ext uri="{0D108BD9-81ED-4DB2-BD59-A6C34878D82A}">
                    <a16:rowId xmlns:a16="http://schemas.microsoft.com/office/drawing/2014/main" val="3553121492"/>
                  </a:ext>
                </a:extLst>
              </a:tr>
              <a:tr h="330584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IN" sz="1200" kern="0" dirty="0">
                          <a:effectLst/>
                        </a:rPr>
                        <a:t>Extra separator (outer side) from cathode</a:t>
                      </a:r>
                      <a:endParaRPr lang="en-IN" sz="12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9525" marB="9525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endParaRPr lang="en-IN" sz="12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9525" marB="9525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IN" sz="1200" kern="0" dirty="0">
                          <a:effectLst/>
                        </a:rPr>
                        <a:t>mm</a:t>
                      </a:r>
                      <a:endParaRPr lang="en-IN" sz="12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9525" marB="9525"/>
                </a:tc>
                <a:extLst>
                  <a:ext uri="{0D108BD9-81ED-4DB2-BD59-A6C34878D82A}">
                    <a16:rowId xmlns:a16="http://schemas.microsoft.com/office/drawing/2014/main" val="935585520"/>
                  </a:ext>
                </a:extLst>
              </a:tr>
              <a:tr h="330584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IN" sz="1200" kern="0" dirty="0">
                          <a:effectLst/>
                        </a:rPr>
                        <a:t>Extra separator (outer side) from anode </a:t>
                      </a:r>
                      <a:endParaRPr lang="en-IN" sz="12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9525" marB="9525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endParaRPr lang="en-IN" sz="12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9525" marB="9525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IN" sz="1200" kern="0" dirty="0">
                          <a:effectLst/>
                        </a:rPr>
                        <a:t>mm</a:t>
                      </a:r>
                      <a:endParaRPr lang="en-IN" sz="12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9525" marB="9525"/>
                </a:tc>
                <a:extLst>
                  <a:ext uri="{0D108BD9-81ED-4DB2-BD59-A6C34878D82A}">
                    <a16:rowId xmlns:a16="http://schemas.microsoft.com/office/drawing/2014/main" val="833454631"/>
                  </a:ext>
                </a:extLst>
              </a:tr>
              <a:tr h="330584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IN" sz="1200" kern="0" dirty="0">
                          <a:effectLst/>
                        </a:rPr>
                        <a:t>Curvature of the stack</a:t>
                      </a:r>
                      <a:endParaRPr lang="en-IN" sz="12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9525" marB="9525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endParaRPr lang="en-IN" sz="12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9525" marB="9525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IN" sz="1200" kern="0" dirty="0">
                          <a:effectLst/>
                        </a:rPr>
                        <a:t>mm</a:t>
                      </a:r>
                      <a:endParaRPr lang="en-IN" sz="12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9525" marB="9525"/>
                </a:tc>
                <a:extLst>
                  <a:ext uri="{0D108BD9-81ED-4DB2-BD59-A6C34878D82A}">
                    <a16:rowId xmlns:a16="http://schemas.microsoft.com/office/drawing/2014/main" val="1582746281"/>
                  </a:ext>
                </a:extLst>
              </a:tr>
            </a:tbl>
          </a:graphicData>
        </a:graphic>
      </p:graphicFrame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E2CA6744-EBD5-B1E4-BAD9-A369959ACE3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37305305"/>
              </p:ext>
            </p:extLst>
          </p:nvPr>
        </p:nvGraphicFramePr>
        <p:xfrm>
          <a:off x="5584370" y="1224327"/>
          <a:ext cx="6432301" cy="3663081"/>
        </p:xfrm>
        <a:graphic>
          <a:graphicData uri="http://schemas.openxmlformats.org/drawingml/2006/table">
            <a:tbl>
              <a:tblPr firstRow="1" firstCol="1" bandRow="1"/>
              <a:tblGrid>
                <a:gridCol w="2940696">
                  <a:extLst>
                    <a:ext uri="{9D8B030D-6E8A-4147-A177-3AD203B41FA5}">
                      <a16:colId xmlns:a16="http://schemas.microsoft.com/office/drawing/2014/main" val="281221429"/>
                    </a:ext>
                  </a:extLst>
                </a:gridCol>
                <a:gridCol w="2847620">
                  <a:extLst>
                    <a:ext uri="{9D8B030D-6E8A-4147-A177-3AD203B41FA5}">
                      <a16:colId xmlns:a16="http://schemas.microsoft.com/office/drawing/2014/main" val="565019665"/>
                    </a:ext>
                  </a:extLst>
                </a:gridCol>
                <a:gridCol w="643985">
                  <a:extLst>
                    <a:ext uri="{9D8B030D-6E8A-4147-A177-3AD203B41FA5}">
                      <a16:colId xmlns:a16="http://schemas.microsoft.com/office/drawing/2014/main" val="2039902697"/>
                    </a:ext>
                  </a:extLst>
                </a:gridCol>
              </a:tblGrid>
              <a:tr h="218256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IN" sz="1200" b="1" kern="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Arial" panose="020B0604020202020204" pitchFamily="34" charset="0"/>
                        </a:rPr>
                        <a:t>Parameters</a:t>
                      </a:r>
                      <a:endParaRPr lang="en-IN" sz="1200" kern="100" dirty="0">
                        <a:effectLst/>
                        <a:latin typeface="Aptos" panose="020B00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68580" marR="68580" marT="9525" marB="9525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IN" sz="1200" b="1" kern="1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Arial" panose="020B0604020202020204" pitchFamily="34" charset="0"/>
                        </a:rPr>
                        <a:t>Value</a:t>
                      </a:r>
                      <a:endParaRPr lang="en-IN" sz="1200" kern="100">
                        <a:effectLst/>
                        <a:latin typeface="Aptos" panose="020B00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68580" marR="68580" marT="9525" marB="9525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IN" sz="1200" b="1" kern="1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Arial" panose="020B0604020202020204" pitchFamily="34" charset="0"/>
                        </a:rPr>
                        <a:t>Units</a:t>
                      </a:r>
                      <a:endParaRPr lang="en-IN" sz="1200" kern="100">
                        <a:effectLst/>
                        <a:latin typeface="Aptos" panose="020B00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68580" marR="68580" marT="9525" marB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17119658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IN" sz="1200" kern="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Arial" panose="020B0604020202020204" pitchFamily="34" charset="0"/>
                        </a:rPr>
                        <a:t>Jelly roll tab welding</a:t>
                      </a:r>
                      <a:endParaRPr lang="en-IN" sz="1200" kern="100" dirty="0">
                        <a:effectLst/>
                        <a:latin typeface="Aptos" panose="020B00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68580" marR="68580" marT="9525" marB="9525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IN" sz="1200" kern="10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Arial" panose="020B0604020202020204" pitchFamily="34" charset="0"/>
                        </a:rPr>
                        <a:t>Ultrasonic</a:t>
                      </a:r>
                      <a:endParaRPr lang="en-IN" sz="1200" kern="100" dirty="0">
                        <a:effectLst/>
                        <a:latin typeface="Aptos" panose="020B00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68580" marR="68580" marT="9525" marB="9525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IN" sz="1200" kern="1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Arial" panose="020B0604020202020204" pitchFamily="34" charset="0"/>
                        </a:rPr>
                        <a:t> </a:t>
                      </a:r>
                      <a:endParaRPr lang="en-IN" sz="1200" kern="100">
                        <a:effectLst/>
                        <a:latin typeface="Aptos" panose="020B00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68580" marR="68580" marT="9525" marB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10218292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IN" sz="1200" kern="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Arial" panose="020B0604020202020204" pitchFamily="34" charset="0"/>
                        </a:rPr>
                        <a:t>Jelly roll to connecting piece welding</a:t>
                      </a:r>
                      <a:endParaRPr lang="en-IN" sz="1200" kern="100" dirty="0">
                        <a:effectLst/>
                        <a:latin typeface="Aptos" panose="020B00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68580" marR="68580" marT="9525" marB="9525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IN" sz="1200" kern="10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Arial" panose="020B0604020202020204" pitchFamily="34" charset="0"/>
                        </a:rPr>
                        <a:t>Ultrasonic</a:t>
                      </a:r>
                      <a:endParaRPr lang="en-IN" sz="1200" kern="100" dirty="0">
                        <a:effectLst/>
                        <a:latin typeface="Aptos" panose="020B00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68580" marR="68580" marT="9525" marB="9525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IN" sz="1200" kern="1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Arial" panose="020B0604020202020204" pitchFamily="34" charset="0"/>
                        </a:rPr>
                        <a:t> </a:t>
                      </a:r>
                      <a:endParaRPr lang="en-IN" sz="1200" kern="100">
                        <a:effectLst/>
                        <a:latin typeface="Aptos" panose="020B00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68580" marR="68580" marT="9525" marB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05906674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IN" sz="1200" kern="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Arial" panose="020B0604020202020204" pitchFamily="34" charset="0"/>
                        </a:rPr>
                        <a:t>Cathode connecting piece to cap welding</a:t>
                      </a:r>
                      <a:endParaRPr lang="en-IN" sz="1200" kern="100" dirty="0">
                        <a:effectLst/>
                        <a:latin typeface="Aptos" panose="020B00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68580" marR="68580" marT="9525" marB="9525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IN" sz="1200" kern="10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Arial" panose="020B0604020202020204" pitchFamily="34" charset="0"/>
                        </a:rPr>
                        <a:t>Laser</a:t>
                      </a:r>
                      <a:endParaRPr lang="en-IN" sz="1200" kern="100" dirty="0">
                        <a:effectLst/>
                        <a:latin typeface="Aptos" panose="020B00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68580" marR="68580" marT="9525" marB="9525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IN" sz="1200" kern="1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Arial" panose="020B0604020202020204" pitchFamily="34" charset="0"/>
                        </a:rPr>
                        <a:t> </a:t>
                      </a:r>
                      <a:endParaRPr lang="en-IN" sz="1200" kern="100">
                        <a:effectLst/>
                        <a:latin typeface="Aptos" panose="020B00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68580" marR="68580" marT="9525" marB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71201875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IN" sz="1200" kern="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Arial" panose="020B0604020202020204" pitchFamily="34" charset="0"/>
                        </a:rPr>
                        <a:t>Anode connecting piece to cap welding</a:t>
                      </a:r>
                      <a:endParaRPr lang="en-IN" sz="1200" kern="100" dirty="0">
                        <a:effectLst/>
                        <a:latin typeface="Aptos" panose="020B00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68580" marR="68580" marT="9525" marB="9525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IN" sz="1200" kern="10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Arial" panose="020B0604020202020204" pitchFamily="34" charset="0"/>
                        </a:rPr>
                        <a:t>Laser</a:t>
                      </a:r>
                      <a:endParaRPr lang="en-IN" sz="1200" kern="100" dirty="0">
                        <a:effectLst/>
                        <a:latin typeface="Aptos" panose="020B00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68580" marR="68580" marT="9525" marB="9525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IN" sz="1200" kern="1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Arial" panose="020B0604020202020204" pitchFamily="34" charset="0"/>
                        </a:rPr>
                        <a:t> </a:t>
                      </a:r>
                      <a:endParaRPr lang="en-IN" sz="1200" kern="100">
                        <a:effectLst/>
                        <a:latin typeface="Aptos" panose="020B00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68580" marR="68580" marT="9525" marB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99003634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IN" sz="1200" kern="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Arial" panose="020B0604020202020204" pitchFamily="34" charset="0"/>
                        </a:rPr>
                        <a:t>Cap to can peripheral welding with can</a:t>
                      </a:r>
                      <a:endParaRPr lang="en-IN" sz="1200" kern="100" dirty="0">
                        <a:effectLst/>
                        <a:latin typeface="Aptos" panose="020B00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68580" marR="68580" marT="9525" marB="9525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IN" sz="1200" kern="10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Arial" panose="020B0604020202020204" pitchFamily="34" charset="0"/>
                        </a:rPr>
                        <a:t>Laser</a:t>
                      </a:r>
                      <a:endParaRPr lang="en-IN" sz="1200" kern="100" dirty="0">
                        <a:effectLst/>
                        <a:latin typeface="Aptos" panose="020B00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68580" marR="68580" marT="9525" marB="9525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IN" sz="1200" kern="1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Arial" panose="020B0604020202020204" pitchFamily="34" charset="0"/>
                        </a:rPr>
                        <a:t> </a:t>
                      </a:r>
                      <a:endParaRPr lang="en-IN" sz="1200" kern="100">
                        <a:effectLst/>
                        <a:latin typeface="Aptos" panose="020B00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68580" marR="68580" marT="9525" marB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67139736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IN" sz="1200" ker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Arial" panose="020B0604020202020204" pitchFamily="34" charset="0"/>
                        </a:rPr>
                        <a:t>Electrolyte plate to cap welding</a:t>
                      </a:r>
                      <a:endParaRPr lang="en-IN" sz="1200" kern="100">
                        <a:effectLst/>
                        <a:latin typeface="Aptos" panose="020B00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68580" marR="68580" marT="9525" marB="9525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IN" sz="1200" kern="10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Arial" panose="020B0604020202020204" pitchFamily="34" charset="0"/>
                        </a:rPr>
                        <a:t>Laser</a:t>
                      </a:r>
                      <a:endParaRPr lang="en-IN" sz="1200" kern="100" dirty="0">
                        <a:effectLst/>
                        <a:latin typeface="Aptos" panose="020B00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68580" marR="68580" marT="9525" marB="9525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IN" sz="1200" kern="1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Arial" panose="020B0604020202020204" pitchFamily="34" charset="0"/>
                        </a:rPr>
                        <a:t> </a:t>
                      </a:r>
                      <a:endParaRPr lang="en-IN" sz="1200" kern="100">
                        <a:effectLst/>
                        <a:latin typeface="Aptos" panose="020B00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68580" marR="68580" marT="9525" marB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37914694"/>
                  </a:ext>
                </a:extLst>
              </a:tr>
              <a:tr h="285155">
                <a:tc gridSpan="2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IN" sz="1200" kern="10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Arial" panose="020B0604020202020204" pitchFamily="34" charset="0"/>
                        </a:rPr>
                        <a:t>Mylar</a:t>
                      </a:r>
                      <a:endParaRPr lang="en-IN" sz="1200" kern="100" dirty="0">
                        <a:effectLst/>
                        <a:latin typeface="Aptos" panose="020B00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68580" marR="68580" marT="9525" marB="9525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IN" sz="1200" kern="1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Arial" panose="020B0604020202020204" pitchFamily="34" charset="0"/>
                        </a:rPr>
                        <a:t> </a:t>
                      </a:r>
                      <a:endParaRPr lang="en-IN" sz="1200" kern="100">
                        <a:effectLst/>
                        <a:latin typeface="Aptos" panose="020B00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68580" marR="68580" marT="9525" marB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30246966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IN" sz="1200" kern="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Arial" panose="020B0604020202020204" pitchFamily="34" charset="0"/>
                        </a:rPr>
                        <a:t>Thickness of the mylar wrapping sheet</a:t>
                      </a:r>
                      <a:endParaRPr lang="en-IN" sz="1200" kern="100" dirty="0">
                        <a:effectLst/>
                        <a:latin typeface="Aptos" panose="020B00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68580" marR="68580" marT="9525" marB="9525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endParaRPr lang="en-IN" sz="1200" kern="100" dirty="0">
                        <a:effectLst/>
                        <a:latin typeface="Aptos" panose="020B00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68580" marR="68580" marT="9525" marB="9525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IN" sz="1200" kern="1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Arial" panose="020B0604020202020204" pitchFamily="34" charset="0"/>
                        </a:rPr>
                        <a:t>mm</a:t>
                      </a:r>
                      <a:endParaRPr lang="en-IN" sz="1200" kern="100">
                        <a:effectLst/>
                        <a:latin typeface="Aptos" panose="020B00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68580" marR="68580" marT="9525" marB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41647932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IN" sz="1200" kern="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Arial" panose="020B0604020202020204" pitchFamily="34" charset="0"/>
                        </a:rPr>
                        <a:t>Thickness of the bottom mylar sheet</a:t>
                      </a:r>
                      <a:endParaRPr lang="en-IN" sz="1200" kern="100" dirty="0">
                        <a:effectLst/>
                        <a:latin typeface="Aptos" panose="020B00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68580" marR="68580" marT="9525" marB="9525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endParaRPr lang="en-IN" sz="1200" kern="100" dirty="0">
                        <a:effectLst/>
                        <a:latin typeface="Aptos" panose="020B00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68580" marR="68580" marT="9525" marB="9525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IN" sz="1200" kern="1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Arial" panose="020B0604020202020204" pitchFamily="34" charset="0"/>
                        </a:rPr>
                        <a:t>mm</a:t>
                      </a:r>
                      <a:endParaRPr lang="en-IN" sz="1200" kern="100">
                        <a:effectLst/>
                        <a:latin typeface="Aptos" panose="020B00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68580" marR="68580" marT="9525" marB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25091196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IN" sz="1200" kern="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Arial" panose="020B0604020202020204" pitchFamily="34" charset="0"/>
                        </a:rPr>
                        <a:t>Hot pressing on mylar edge (Yes/No)</a:t>
                      </a:r>
                      <a:endParaRPr lang="en-IN" sz="1200" kern="100" dirty="0">
                        <a:effectLst/>
                        <a:latin typeface="Aptos" panose="020B00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68580" marR="68580" marT="9525" marB="9525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endParaRPr lang="en-IN" sz="1200" kern="100" dirty="0">
                        <a:effectLst/>
                        <a:latin typeface="Aptos" panose="020B00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68580" marR="68580" marT="9525" marB="9525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IN" sz="1200" kern="1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Arial" panose="020B0604020202020204" pitchFamily="34" charset="0"/>
                        </a:rPr>
                        <a:t> </a:t>
                      </a:r>
                      <a:endParaRPr lang="en-IN" sz="1200" kern="100">
                        <a:effectLst/>
                        <a:latin typeface="Aptos" panose="020B00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68580" marR="68580" marT="9525" marB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90310453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IN" sz="1200" kern="10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Arial" panose="020B0604020202020204" pitchFamily="34" charset="0"/>
                        </a:rPr>
                        <a:t>Dimensions of the Mylar</a:t>
                      </a:r>
                      <a:endParaRPr lang="en-IN" sz="1200" kern="100" dirty="0">
                        <a:effectLst/>
                        <a:latin typeface="Aptos" panose="020B00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68580" marR="68580" marT="9525" marB="9525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endParaRPr lang="en-IN" sz="1200" kern="100" dirty="0">
                        <a:effectLst/>
                        <a:latin typeface="Aptos" panose="020B00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68580" marR="68580" marT="9525" marB="9525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3490478007"/>
                  </a:ext>
                </a:extLst>
              </a:tr>
              <a:tr h="239238">
                <a:tc gridSpan="3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IN" sz="1200" kern="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Arial" panose="020B0604020202020204" pitchFamily="34" charset="0"/>
                        </a:rPr>
                        <a:t>Bottom plate</a:t>
                      </a:r>
                      <a:endParaRPr lang="en-IN" sz="1200" kern="100" dirty="0">
                        <a:effectLst/>
                        <a:latin typeface="Aptos" panose="020B00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68580" marR="68580" marT="9525" marB="9525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val="53335269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IN" sz="1200" kern="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Arial" panose="020B0604020202020204" pitchFamily="34" charset="0"/>
                        </a:rPr>
                        <a:t>Pattern of holes for electrolyte circulation</a:t>
                      </a:r>
                      <a:endParaRPr lang="en-IN" sz="1200" kern="100" dirty="0">
                        <a:effectLst/>
                        <a:latin typeface="Aptos" panose="020B00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68580" marR="68580" marT="9525" marB="9525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buNone/>
                      </a:pPr>
                      <a:r>
                        <a:rPr lang="en-IN" sz="1200" kern="100" dirty="0">
                          <a:solidFill>
                            <a:srgbClr val="000000"/>
                          </a:solidFill>
                          <a:effectLst/>
                          <a:latin typeface="Aptos" panose="020B0004020202020204" pitchFamily="34" charset="0"/>
                          <a:ea typeface="+mn-ea"/>
                        </a:rPr>
                        <a:t>  </a:t>
                      </a: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IN" sz="1200" kern="10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Arial" panose="020B0604020202020204" pitchFamily="34" charset="0"/>
                        </a:rPr>
                        <a:t> </a:t>
                      </a:r>
                      <a:endParaRPr lang="en-IN" sz="1200" kern="100" dirty="0">
                        <a:effectLst/>
                        <a:latin typeface="Aptos" panose="020B00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IN" sz="1200" kern="10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Arial" panose="020B0604020202020204" pitchFamily="34" charset="0"/>
                        </a:rPr>
                        <a:t> </a:t>
                      </a:r>
                      <a:endParaRPr lang="en-IN" sz="1200" kern="100" dirty="0">
                        <a:effectLst/>
                        <a:latin typeface="Aptos" panose="020B00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68580" marR="68580" marT="9525" marB="9525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val="293684987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0474620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8D7FD16A-DF9E-EA48-4376-82498E15F0F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57199" y="2926303"/>
            <a:ext cx="5609248" cy="2711550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1530F2FA-5ED6-988C-E31D-5399E37F678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62000" y="1712516"/>
            <a:ext cx="3816546" cy="1143059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B6907DF6-107E-98A3-FFB4-3854A77C2BD4}"/>
              </a:ext>
            </a:extLst>
          </p:cNvPr>
          <p:cNvSpPr txBox="1"/>
          <p:nvPr/>
        </p:nvSpPr>
        <p:spPr>
          <a:xfrm>
            <a:off x="457199" y="1097503"/>
            <a:ext cx="2754087" cy="3829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/>
              <a:t>Management Approvals</a:t>
            </a:r>
            <a:endParaRPr lang="en-IN" b="1" dirty="0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538D6680-7D82-847C-CDCC-5EF25A32838F}"/>
              </a:ext>
            </a:extLst>
          </p:cNvPr>
          <p:cNvCxnSpPr/>
          <p:nvPr/>
        </p:nvCxnSpPr>
        <p:spPr>
          <a:xfrm>
            <a:off x="6858000" y="1230086"/>
            <a:ext cx="0" cy="50292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B99A55FA-AC2C-3B8E-5E92-C7134A2EA18B}"/>
              </a:ext>
            </a:extLst>
          </p:cNvPr>
          <p:cNvCxnSpPr/>
          <p:nvPr/>
        </p:nvCxnSpPr>
        <p:spPr>
          <a:xfrm>
            <a:off x="6890654" y="1240972"/>
            <a:ext cx="0" cy="50292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8">
            <a:extLst>
              <a:ext uri="{FF2B5EF4-FFF2-40B4-BE49-F238E27FC236}">
                <a16:creationId xmlns:a16="http://schemas.microsoft.com/office/drawing/2014/main" id="{0B5DB6AA-064F-B19E-EC37-74209E66A7D7}"/>
              </a:ext>
            </a:extLst>
          </p:cNvPr>
          <p:cNvSpPr txBox="1"/>
          <p:nvPr/>
        </p:nvSpPr>
        <p:spPr>
          <a:xfrm>
            <a:off x="7293429" y="1097503"/>
            <a:ext cx="404948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/>
              <a:t>Timeline of starting IISc activity</a:t>
            </a:r>
            <a:endParaRPr lang="en-IN" b="1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D03F7CA1-386F-B4A0-A155-95E0BA5CCEC0}"/>
              </a:ext>
            </a:extLst>
          </p:cNvPr>
          <p:cNvSpPr txBox="1"/>
          <p:nvPr/>
        </p:nvSpPr>
        <p:spPr>
          <a:xfrm>
            <a:off x="7489371" y="1527850"/>
            <a:ext cx="36576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Tentatively: 16-06-2025</a:t>
            </a:r>
            <a:endParaRPr lang="en-IN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31BDB906-4960-C9FF-32D9-0BC8624265A7}"/>
              </a:ext>
            </a:extLst>
          </p:cNvPr>
          <p:cNvSpPr txBox="1"/>
          <p:nvPr/>
        </p:nvSpPr>
        <p:spPr>
          <a:xfrm>
            <a:off x="7815942" y="2099379"/>
            <a:ext cx="333102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&gt;&gt; </a:t>
            </a:r>
            <a:r>
              <a:rPr lang="en-US" dirty="0" err="1"/>
              <a:t>Prantij</a:t>
            </a:r>
            <a:r>
              <a:rPr lang="en-US" dirty="0"/>
              <a:t> Cells dispatch issues</a:t>
            </a:r>
          </a:p>
          <a:p>
            <a:r>
              <a:rPr lang="en-US" dirty="0"/>
              <a:t>&gt;&gt; PR/PO generation </a:t>
            </a:r>
            <a:endParaRPr lang="en-IN" dirty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A6B19975-868E-BF4C-2291-3C0A356ED30C}"/>
              </a:ext>
            </a:extLst>
          </p:cNvPr>
          <p:cNvSpPr txBox="1"/>
          <p:nvPr/>
        </p:nvSpPr>
        <p:spPr>
          <a:xfrm>
            <a:off x="7489371" y="3373789"/>
            <a:ext cx="420188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Expected time of finish IISc: 04-07-2025</a:t>
            </a:r>
            <a:endParaRPr lang="en-IN" dirty="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4172334F-E16F-264E-AD27-CE01C9C0B8BE}"/>
              </a:ext>
            </a:extLst>
          </p:cNvPr>
          <p:cNvSpPr txBox="1"/>
          <p:nvPr/>
        </p:nvSpPr>
        <p:spPr>
          <a:xfrm>
            <a:off x="3363686" y="468086"/>
            <a:ext cx="608511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u="sng" dirty="0"/>
              <a:t>Approvals &amp; timelines</a:t>
            </a:r>
            <a:endParaRPr lang="en-IN" b="1" u="sng" dirty="0"/>
          </a:p>
        </p:txBody>
      </p:sp>
    </p:spTree>
    <p:extLst>
      <p:ext uri="{BB962C8B-B14F-4D97-AF65-F5344CB8AC3E}">
        <p14:creationId xmlns:p14="http://schemas.microsoft.com/office/powerpoint/2010/main" val="3730558259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6FD5C04-2F0F-82C9-7E80-74781583B53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06763" y="519095"/>
            <a:ext cx="6969578" cy="498428"/>
          </a:xfrm>
        </p:spPr>
        <p:txBody>
          <a:bodyPr/>
          <a:lstStyle/>
          <a:p>
            <a:r>
              <a:rPr lang="en-US" dirty="0"/>
              <a:t>Cathode &amp; Anode electrode details </a:t>
            </a:r>
            <a:endParaRPr lang="en-IN" dirty="0"/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7BDC6719-88DC-9B5C-3983-C93DE57220F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40479120"/>
              </p:ext>
            </p:extLst>
          </p:nvPr>
        </p:nvGraphicFramePr>
        <p:xfrm>
          <a:off x="2056617" y="1354980"/>
          <a:ext cx="8469870" cy="4673389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3681762">
                  <a:extLst>
                    <a:ext uri="{9D8B030D-6E8A-4147-A177-3AD203B41FA5}">
                      <a16:colId xmlns:a16="http://schemas.microsoft.com/office/drawing/2014/main" val="907275615"/>
                    </a:ext>
                  </a:extLst>
                </a:gridCol>
                <a:gridCol w="2012584">
                  <a:extLst>
                    <a:ext uri="{9D8B030D-6E8A-4147-A177-3AD203B41FA5}">
                      <a16:colId xmlns:a16="http://schemas.microsoft.com/office/drawing/2014/main" val="3560311711"/>
                    </a:ext>
                  </a:extLst>
                </a:gridCol>
                <a:gridCol w="2012584">
                  <a:extLst>
                    <a:ext uri="{9D8B030D-6E8A-4147-A177-3AD203B41FA5}">
                      <a16:colId xmlns:a16="http://schemas.microsoft.com/office/drawing/2014/main" val="4229168576"/>
                    </a:ext>
                  </a:extLst>
                </a:gridCol>
                <a:gridCol w="762940">
                  <a:extLst>
                    <a:ext uri="{9D8B030D-6E8A-4147-A177-3AD203B41FA5}">
                      <a16:colId xmlns:a16="http://schemas.microsoft.com/office/drawing/2014/main" val="3096945177"/>
                    </a:ext>
                  </a:extLst>
                </a:gridCol>
              </a:tblGrid>
              <a:tr h="372479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IN" sz="1200" kern="0" dirty="0">
                          <a:effectLst/>
                        </a:rPr>
                        <a:t>Parameter</a:t>
                      </a:r>
                      <a:endParaRPr lang="en-IN" sz="12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9525" marB="9525" anchor="ctr"/>
                </a:tc>
                <a:tc gridSpan="2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IN" sz="1200" kern="100" dirty="0">
                          <a:effectLst/>
                        </a:rPr>
                        <a:t>Value</a:t>
                      </a:r>
                      <a:endParaRPr lang="en-IN" sz="12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9525" marB="9525" anchor="ctr"/>
                </a:tc>
                <a:tc hMerge="1"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endParaRPr lang="en-IN" sz="12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9525" marB="9525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IN" sz="1200" kern="100" dirty="0">
                          <a:effectLst/>
                        </a:rPr>
                        <a:t>Units</a:t>
                      </a:r>
                      <a:endParaRPr lang="en-IN" sz="12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9525" marB="9525" anchor="ctr"/>
                </a:tc>
                <a:extLst>
                  <a:ext uri="{0D108BD9-81ED-4DB2-BD59-A6C34878D82A}">
                    <a16:rowId xmlns:a16="http://schemas.microsoft.com/office/drawing/2014/main" val="2064374670"/>
                  </a:ext>
                </a:extLst>
              </a:tr>
              <a:tr h="372479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endParaRPr lang="en-IN" sz="12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9525" marB="9525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200" b="1" kern="100" dirty="0">
                          <a:effectLst/>
                          <a:latin typeface="Aptos" panose="020B0004020202020204" pitchFamily="34" charset="0"/>
                          <a:ea typeface="Aptos" panose="020B0004020202020204" pitchFamily="34" charset="0"/>
                          <a:cs typeface="Arial" panose="020B0604020202020204" pitchFamily="34" charset="0"/>
                        </a:rPr>
                        <a:t>Cathode</a:t>
                      </a:r>
                      <a:endParaRPr lang="en-IN" sz="1200" b="1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9525" marB="9525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200" b="1" kern="100" dirty="0">
                          <a:effectLst/>
                          <a:latin typeface="Aptos" panose="020B0004020202020204" pitchFamily="34" charset="0"/>
                          <a:ea typeface="Aptos" panose="020B0004020202020204" pitchFamily="34" charset="0"/>
                          <a:cs typeface="Arial" panose="020B0604020202020204" pitchFamily="34" charset="0"/>
                        </a:rPr>
                        <a:t>Anode</a:t>
                      </a:r>
                      <a:endParaRPr lang="en-IN" sz="1200" b="1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9525" marB="9525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endParaRPr lang="en-IN" sz="12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9525" marB="9525" anchor="ctr"/>
                </a:tc>
                <a:extLst>
                  <a:ext uri="{0D108BD9-81ED-4DB2-BD59-A6C34878D82A}">
                    <a16:rowId xmlns:a16="http://schemas.microsoft.com/office/drawing/2014/main" val="3826797926"/>
                  </a:ext>
                </a:extLst>
              </a:tr>
              <a:tr h="372479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IN" sz="1200" kern="0" dirty="0">
                          <a:effectLst/>
                        </a:rPr>
                        <a:t>Al-current collector average thickness</a:t>
                      </a:r>
                      <a:endParaRPr lang="en-IN" sz="12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9525" marB="9525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endParaRPr lang="en-IN" sz="12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9525" marB="9525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endParaRPr lang="en-IN" sz="12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9525" marB="9525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IN" sz="1200" u="none" strike="noStrike" kern="100">
                          <a:effectLst/>
                        </a:rPr>
                        <a:t>µm</a:t>
                      </a:r>
                      <a:endParaRPr lang="en-IN" sz="1200" kern="1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9525" marB="9525" anchor="ctr"/>
                </a:tc>
                <a:extLst>
                  <a:ext uri="{0D108BD9-81ED-4DB2-BD59-A6C34878D82A}">
                    <a16:rowId xmlns:a16="http://schemas.microsoft.com/office/drawing/2014/main" val="3225792584"/>
                  </a:ext>
                </a:extLst>
              </a:tr>
              <a:tr h="372479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IN" sz="1200" kern="0" dirty="0">
                          <a:effectLst/>
                        </a:rPr>
                        <a:t>Number of electrodes</a:t>
                      </a:r>
                      <a:endParaRPr lang="en-IN" sz="12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9525" marB="9525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endParaRPr lang="en-IN" sz="1200" kern="1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9525" marB="9525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endParaRPr lang="en-IN" sz="1200" kern="1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9525" marB="9525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IN" sz="1200" kern="100" dirty="0">
                          <a:effectLst/>
                        </a:rPr>
                        <a:t> </a:t>
                      </a:r>
                      <a:endParaRPr lang="en-IN" sz="12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9525" marB="9525" anchor="ctr"/>
                </a:tc>
                <a:extLst>
                  <a:ext uri="{0D108BD9-81ED-4DB2-BD59-A6C34878D82A}">
                    <a16:rowId xmlns:a16="http://schemas.microsoft.com/office/drawing/2014/main" val="679148171"/>
                  </a:ext>
                </a:extLst>
              </a:tr>
              <a:tr h="372479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IN" sz="1200" kern="0" dirty="0">
                          <a:effectLst/>
                        </a:rPr>
                        <a:t>Length of coated cathode </a:t>
                      </a:r>
                      <a:endParaRPr lang="en-IN" sz="12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9525" marB="9525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endParaRPr lang="en-IN" sz="12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9525" marB="9525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endParaRPr lang="en-IN" sz="12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9525" marB="9525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IN" sz="1200" kern="0">
                          <a:effectLst/>
                        </a:rPr>
                        <a:t>mm</a:t>
                      </a:r>
                      <a:endParaRPr lang="en-IN" sz="1200" kern="1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9525" marB="9525" anchor="ctr"/>
                </a:tc>
                <a:extLst>
                  <a:ext uri="{0D108BD9-81ED-4DB2-BD59-A6C34878D82A}">
                    <a16:rowId xmlns:a16="http://schemas.microsoft.com/office/drawing/2014/main" val="724653433"/>
                  </a:ext>
                </a:extLst>
              </a:tr>
              <a:tr h="372479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IN" sz="1200" kern="0" dirty="0">
                          <a:effectLst/>
                        </a:rPr>
                        <a:t>Width of cathode coating </a:t>
                      </a:r>
                      <a:endParaRPr lang="en-IN" sz="12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9525" marB="9525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endParaRPr lang="en-IN" sz="12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9525" marB="9525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endParaRPr lang="en-IN" sz="12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9525" marB="9525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IN" sz="1200" kern="100" dirty="0">
                          <a:effectLst/>
                        </a:rPr>
                        <a:t>mm</a:t>
                      </a:r>
                      <a:endParaRPr lang="en-IN" sz="12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9525" marB="9525" anchor="ctr"/>
                </a:tc>
                <a:extLst>
                  <a:ext uri="{0D108BD9-81ED-4DB2-BD59-A6C34878D82A}">
                    <a16:rowId xmlns:a16="http://schemas.microsoft.com/office/drawing/2014/main" val="3460855980"/>
                  </a:ext>
                </a:extLst>
              </a:tr>
              <a:tr h="447840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IN" sz="1200" kern="0" dirty="0">
                          <a:effectLst/>
                        </a:rPr>
                        <a:t>Total thickness of the cathode </a:t>
                      </a:r>
                      <a:endParaRPr lang="en-IN" sz="12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9525" marB="9525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endParaRPr lang="en-IN" sz="12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9525" marB="9525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endParaRPr lang="en-IN" sz="12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9525" marB="9525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IN" sz="1200" u="none" strike="noStrike" kern="100" dirty="0">
                          <a:effectLst/>
                        </a:rPr>
                        <a:t>µm</a:t>
                      </a:r>
                      <a:endParaRPr lang="en-IN" sz="12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9525" marB="9525" anchor="ctr"/>
                </a:tc>
                <a:extLst>
                  <a:ext uri="{0D108BD9-81ED-4DB2-BD59-A6C34878D82A}">
                    <a16:rowId xmlns:a16="http://schemas.microsoft.com/office/drawing/2014/main" val="1471498299"/>
                  </a:ext>
                </a:extLst>
              </a:tr>
              <a:tr h="372479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IN" sz="1200" kern="0" dirty="0">
                          <a:effectLst/>
                        </a:rPr>
                        <a:t>A side / B-side CAM loading</a:t>
                      </a:r>
                      <a:endParaRPr lang="en-IN" sz="12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9525" marB="9525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endParaRPr lang="en-IN" sz="12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9525" marB="9525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endParaRPr lang="en-IN" sz="12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9525" marB="9525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IN" sz="1200" kern="100" dirty="0">
                          <a:effectLst/>
                        </a:rPr>
                        <a:t>mg/cm</a:t>
                      </a:r>
                      <a:r>
                        <a:rPr lang="en-IN" sz="1200" kern="100" baseline="30000" dirty="0">
                          <a:effectLst/>
                        </a:rPr>
                        <a:t>2</a:t>
                      </a:r>
                      <a:endParaRPr lang="en-IN" sz="12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9525" marB="9525" anchor="ctr"/>
                </a:tc>
                <a:extLst>
                  <a:ext uri="{0D108BD9-81ED-4DB2-BD59-A6C34878D82A}">
                    <a16:rowId xmlns:a16="http://schemas.microsoft.com/office/drawing/2014/main" val="3813595574"/>
                  </a:ext>
                </a:extLst>
              </a:tr>
              <a:tr h="372479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IN" sz="1200" kern="0" dirty="0">
                          <a:effectLst/>
                        </a:rPr>
                        <a:t>No. of tabs (welded)</a:t>
                      </a:r>
                      <a:endParaRPr lang="en-IN" sz="12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9525" marB="9525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endParaRPr lang="en-IN" sz="12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9525" marB="9525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endParaRPr lang="en-IN" sz="12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9525" marB="9525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IN" sz="1200" kern="0" dirty="0">
                          <a:effectLst/>
                        </a:rPr>
                        <a:t> </a:t>
                      </a:r>
                      <a:endParaRPr lang="en-IN" sz="12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9525" marB="9525" anchor="ctr"/>
                </a:tc>
                <a:extLst>
                  <a:ext uri="{0D108BD9-81ED-4DB2-BD59-A6C34878D82A}">
                    <a16:rowId xmlns:a16="http://schemas.microsoft.com/office/drawing/2014/main" val="4025039679"/>
                  </a:ext>
                </a:extLst>
              </a:tr>
              <a:tr h="372479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IN" sz="1200" kern="0" dirty="0">
                          <a:effectLst/>
                        </a:rPr>
                        <a:t>Width of the tab</a:t>
                      </a:r>
                      <a:endParaRPr lang="en-IN" sz="12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9525" marB="9525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endParaRPr lang="en-IN" sz="12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9525" marB="9525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endParaRPr lang="en-IN" sz="12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9525" marB="9525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IN" sz="1200" kern="0" dirty="0">
                          <a:effectLst/>
                        </a:rPr>
                        <a:t>mm</a:t>
                      </a:r>
                      <a:endParaRPr lang="en-IN" sz="12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9525" marB="9525" anchor="ctr"/>
                </a:tc>
                <a:extLst>
                  <a:ext uri="{0D108BD9-81ED-4DB2-BD59-A6C34878D82A}">
                    <a16:rowId xmlns:a16="http://schemas.microsoft.com/office/drawing/2014/main" val="2329908897"/>
                  </a:ext>
                </a:extLst>
              </a:tr>
              <a:tr h="372479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IN" sz="1200" kern="0">
                          <a:effectLst/>
                        </a:rPr>
                        <a:t>Length of the tab</a:t>
                      </a:r>
                      <a:endParaRPr lang="en-IN" sz="1200" kern="1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9525" marB="9525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endParaRPr lang="en-IN" sz="12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9525" marB="9525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endParaRPr lang="en-IN" sz="12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9525" marB="9525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IN" sz="1200" kern="100" dirty="0">
                          <a:effectLst/>
                        </a:rPr>
                        <a:t>mm</a:t>
                      </a:r>
                      <a:endParaRPr lang="en-IN" sz="12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9525" marB="9525" anchor="ctr"/>
                </a:tc>
                <a:extLst>
                  <a:ext uri="{0D108BD9-81ED-4DB2-BD59-A6C34878D82A}">
                    <a16:rowId xmlns:a16="http://schemas.microsoft.com/office/drawing/2014/main" val="2728132622"/>
                  </a:ext>
                </a:extLst>
              </a:tr>
              <a:tr h="500759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IN" sz="1200" kern="0">
                          <a:effectLst/>
                        </a:rPr>
                        <a:t>Welding type</a:t>
                      </a:r>
                      <a:endParaRPr lang="en-IN" sz="1200" kern="1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9525" marB="9525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endParaRPr lang="en-IN" sz="12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9525" marB="9525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endParaRPr lang="en-IN" sz="12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9525" marB="9525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IN" sz="1200" kern="100" dirty="0">
                          <a:effectLst/>
                        </a:rPr>
                        <a:t> </a:t>
                      </a:r>
                      <a:endParaRPr lang="en-IN" sz="12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9525" marB="9525" anchor="ctr"/>
                </a:tc>
                <a:extLst>
                  <a:ext uri="{0D108BD9-81ED-4DB2-BD59-A6C34878D82A}">
                    <a16:rowId xmlns:a16="http://schemas.microsoft.com/office/drawing/2014/main" val="143655787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578308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C4806AD-0851-2511-D2F5-8288A56331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97135" y="1330372"/>
            <a:ext cx="3627665" cy="470898"/>
          </a:xfrm>
        </p:spPr>
        <p:txBody>
          <a:bodyPr/>
          <a:lstStyle/>
          <a:p>
            <a:r>
              <a:rPr lang="en-US" dirty="0"/>
              <a:t>Separator details</a:t>
            </a:r>
            <a:endParaRPr lang="en-IN" dirty="0"/>
          </a:p>
        </p:txBody>
      </p:sp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A4B2EA02-444D-065A-DC3F-23175728AE4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49561890"/>
              </p:ext>
            </p:extLst>
          </p:nvPr>
        </p:nvGraphicFramePr>
        <p:xfrm>
          <a:off x="3233420" y="1987944"/>
          <a:ext cx="5725160" cy="1898256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2401570">
                  <a:extLst>
                    <a:ext uri="{9D8B030D-6E8A-4147-A177-3AD203B41FA5}">
                      <a16:colId xmlns:a16="http://schemas.microsoft.com/office/drawing/2014/main" val="337357530"/>
                    </a:ext>
                  </a:extLst>
                </a:gridCol>
                <a:gridCol w="2096135">
                  <a:extLst>
                    <a:ext uri="{9D8B030D-6E8A-4147-A177-3AD203B41FA5}">
                      <a16:colId xmlns:a16="http://schemas.microsoft.com/office/drawing/2014/main" val="1031600057"/>
                    </a:ext>
                  </a:extLst>
                </a:gridCol>
                <a:gridCol w="1227455">
                  <a:extLst>
                    <a:ext uri="{9D8B030D-6E8A-4147-A177-3AD203B41FA5}">
                      <a16:colId xmlns:a16="http://schemas.microsoft.com/office/drawing/2014/main" val="406251720"/>
                    </a:ext>
                  </a:extLst>
                </a:gridCol>
              </a:tblGrid>
              <a:tr h="273428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IN" sz="1200" kern="0">
                          <a:effectLst/>
                        </a:rPr>
                        <a:t>Parameters</a:t>
                      </a:r>
                      <a:endParaRPr lang="en-IN" sz="1200" kern="1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9525" marB="9525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IN" sz="1200" kern="0">
                          <a:effectLst/>
                        </a:rPr>
                        <a:t>Values</a:t>
                      </a:r>
                      <a:endParaRPr lang="en-IN" sz="1200" kern="1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9525" marB="9525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IN" sz="1200" kern="0">
                          <a:effectLst/>
                        </a:rPr>
                        <a:t>Units</a:t>
                      </a:r>
                      <a:endParaRPr lang="en-IN" sz="1200" kern="1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9525" marB="9525"/>
                </a:tc>
                <a:extLst>
                  <a:ext uri="{0D108BD9-81ED-4DB2-BD59-A6C34878D82A}">
                    <a16:rowId xmlns:a16="http://schemas.microsoft.com/office/drawing/2014/main" val="3159950385"/>
                  </a:ext>
                </a:extLst>
              </a:tr>
              <a:tr h="273428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IN" sz="1200" kern="0">
                          <a:effectLst/>
                        </a:rPr>
                        <a:t>No. of Separators</a:t>
                      </a:r>
                      <a:endParaRPr lang="en-IN" sz="1200" kern="1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9525" marB="9525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endParaRPr lang="en-IN" sz="12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9525" marB="9525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IN" sz="1200" kern="0">
                          <a:effectLst/>
                        </a:rPr>
                        <a:t> </a:t>
                      </a:r>
                      <a:endParaRPr lang="en-IN" sz="1200" kern="1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9525" marB="9525"/>
                </a:tc>
                <a:extLst>
                  <a:ext uri="{0D108BD9-81ED-4DB2-BD59-A6C34878D82A}">
                    <a16:rowId xmlns:a16="http://schemas.microsoft.com/office/drawing/2014/main" val="3251519754"/>
                  </a:ext>
                </a:extLst>
              </a:tr>
              <a:tr h="537988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IN" sz="1200" kern="0" dirty="0">
                          <a:effectLst/>
                        </a:rPr>
                        <a:t>Separator 1 dimensions (L×W×T) </a:t>
                      </a:r>
                      <a:endParaRPr lang="en-IN" sz="12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9525" marB="9525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endParaRPr lang="en-IN" sz="12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9525" marB="9525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IN" sz="1200" kern="0" dirty="0">
                          <a:effectLst/>
                        </a:rPr>
                        <a:t>mm</a:t>
                      </a:r>
                      <a:endParaRPr lang="en-IN" sz="12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9525" marB="9525"/>
                </a:tc>
                <a:extLst>
                  <a:ext uri="{0D108BD9-81ED-4DB2-BD59-A6C34878D82A}">
                    <a16:rowId xmlns:a16="http://schemas.microsoft.com/office/drawing/2014/main" val="3143782134"/>
                  </a:ext>
                </a:extLst>
              </a:tr>
              <a:tr h="275424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200" kern="100" dirty="0">
                          <a:effectLst/>
                          <a:latin typeface="Aptos" panose="020B0004020202020204" pitchFamily="34" charset="0"/>
                          <a:ea typeface="Aptos" panose="020B0004020202020204" pitchFamily="34" charset="0"/>
                          <a:cs typeface="Arial" panose="020B0604020202020204" pitchFamily="34" charset="0"/>
                        </a:rPr>
                        <a:t>Thickness</a:t>
                      </a:r>
                      <a:endParaRPr lang="en-IN" sz="12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9525" marB="9525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endParaRPr lang="en-IN" sz="12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9525" marB="9525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200" kern="100" dirty="0">
                          <a:effectLst/>
                          <a:latin typeface="Aptos" panose="020B0004020202020204" pitchFamily="34" charset="0"/>
                          <a:ea typeface="Aptos" panose="020B0004020202020204" pitchFamily="34" charset="0"/>
                          <a:cs typeface="Arial" panose="020B0604020202020204" pitchFamily="34" charset="0"/>
                        </a:rPr>
                        <a:t>mm</a:t>
                      </a:r>
                      <a:endParaRPr lang="en-IN" sz="12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9525" marB="9525"/>
                </a:tc>
                <a:extLst>
                  <a:ext uri="{0D108BD9-81ED-4DB2-BD59-A6C34878D82A}">
                    <a16:rowId xmlns:a16="http://schemas.microsoft.com/office/drawing/2014/main" val="3011211814"/>
                  </a:ext>
                </a:extLst>
              </a:tr>
              <a:tr h="537988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IN" sz="1200" kern="0" dirty="0">
                          <a:effectLst/>
                        </a:rPr>
                        <a:t>Appearance</a:t>
                      </a:r>
                      <a:endParaRPr lang="en-IN" sz="12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9525" marB="9525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endParaRPr lang="en-IN" sz="12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9525" marB="9525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IN" sz="1200" kern="0" dirty="0">
                          <a:effectLst/>
                        </a:rPr>
                        <a:t> </a:t>
                      </a:r>
                      <a:endParaRPr lang="en-IN" sz="12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9525" marB="9525"/>
                </a:tc>
                <a:extLst>
                  <a:ext uri="{0D108BD9-81ED-4DB2-BD59-A6C34878D82A}">
                    <a16:rowId xmlns:a16="http://schemas.microsoft.com/office/drawing/2014/main" val="375855004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8813997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6399334-7690-E27C-8561-D96755196D9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ut open images 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0987797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92BBA585-1044-46C6-51C8-E72ED13B3E99}"/>
              </a:ext>
            </a:extLst>
          </p:cNvPr>
          <p:cNvSpPr txBox="1"/>
          <p:nvPr/>
        </p:nvSpPr>
        <p:spPr>
          <a:xfrm>
            <a:off x="293914" y="1153886"/>
            <a:ext cx="933994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u="sng" dirty="0"/>
              <a:t>Parts analysis of prismatic cell</a:t>
            </a:r>
            <a:endParaRPr lang="en-IN" sz="2400" b="1" u="sng" dirty="0"/>
          </a:p>
        </p:txBody>
      </p:sp>
    </p:spTree>
    <p:extLst>
      <p:ext uri="{BB962C8B-B14F-4D97-AF65-F5344CB8AC3E}">
        <p14:creationId xmlns:p14="http://schemas.microsoft.com/office/powerpoint/2010/main" val="37762016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2618243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78D3C7DA-BA33-5BCD-CEC6-655C773C938B}"/>
              </a:ext>
            </a:extLst>
          </p:cNvPr>
          <p:cNvSpPr txBox="1"/>
          <p:nvPr/>
        </p:nvSpPr>
        <p:spPr>
          <a:xfrm>
            <a:off x="4561171" y="559559"/>
            <a:ext cx="403418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u="sng" dirty="0"/>
              <a:t>Images of the overall cell:</a:t>
            </a:r>
          </a:p>
        </p:txBody>
      </p:sp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3C8947D0-DE76-D229-9FC2-43713AEA5BC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64584838"/>
              </p:ext>
            </p:extLst>
          </p:nvPr>
        </p:nvGraphicFramePr>
        <p:xfrm>
          <a:off x="763203" y="1202882"/>
          <a:ext cx="10950742" cy="4341268"/>
        </p:xfrm>
        <a:graphic>
          <a:graphicData uri="http://schemas.openxmlformats.org/drawingml/2006/table">
            <a:tbl>
              <a:tblPr/>
              <a:tblGrid>
                <a:gridCol w="719767">
                  <a:extLst>
                    <a:ext uri="{9D8B030D-6E8A-4147-A177-3AD203B41FA5}">
                      <a16:colId xmlns:a16="http://schemas.microsoft.com/office/drawing/2014/main" val="1484936326"/>
                    </a:ext>
                  </a:extLst>
                </a:gridCol>
                <a:gridCol w="1914748">
                  <a:extLst>
                    <a:ext uri="{9D8B030D-6E8A-4147-A177-3AD203B41FA5}">
                      <a16:colId xmlns:a16="http://schemas.microsoft.com/office/drawing/2014/main" val="854429492"/>
                    </a:ext>
                  </a:extLst>
                </a:gridCol>
                <a:gridCol w="3149328">
                  <a:extLst>
                    <a:ext uri="{9D8B030D-6E8A-4147-A177-3AD203B41FA5}">
                      <a16:colId xmlns:a16="http://schemas.microsoft.com/office/drawing/2014/main" val="3954996024"/>
                    </a:ext>
                  </a:extLst>
                </a:gridCol>
                <a:gridCol w="2287831">
                  <a:extLst>
                    <a:ext uri="{9D8B030D-6E8A-4147-A177-3AD203B41FA5}">
                      <a16:colId xmlns:a16="http://schemas.microsoft.com/office/drawing/2014/main" val="210238602"/>
                    </a:ext>
                  </a:extLst>
                </a:gridCol>
                <a:gridCol w="2879068">
                  <a:extLst>
                    <a:ext uri="{9D8B030D-6E8A-4147-A177-3AD203B41FA5}">
                      <a16:colId xmlns:a16="http://schemas.microsoft.com/office/drawing/2014/main" val="772563824"/>
                    </a:ext>
                  </a:extLst>
                </a:gridCol>
              </a:tblGrid>
              <a:tr h="566252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2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Sr. No.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BE2D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Cells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BE2D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2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Overall cell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BE2D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2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Top view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BE2D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2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Bottom view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BE2D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71730498"/>
                  </a:ext>
                </a:extLst>
              </a:tr>
              <a:tr h="471877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BAK 5.5_21700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52475514"/>
                  </a:ext>
                </a:extLst>
              </a:tr>
              <a:tr h="471877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" panose="020B0004020202020204" pitchFamily="34" charset="0"/>
                        </a:rPr>
                        <a:t>2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4680 Gen2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IN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6350" marR="6350" marT="635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IN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6350" marR="6350" marT="635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IN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6350" marR="6350" marT="635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19200994"/>
                  </a:ext>
                </a:extLst>
              </a:tr>
              <a:tr h="471877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" panose="020B0004020202020204" pitchFamily="34" charset="0"/>
                        </a:rPr>
                        <a:t>3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Blivex 32700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IN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6350" marR="6350" marT="635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IN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6350" marR="6350" marT="635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IN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6350" marR="6350" marT="635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43532572"/>
                  </a:ext>
                </a:extLst>
              </a:tr>
              <a:tr h="471877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" panose="020B0004020202020204" pitchFamily="34" charset="0"/>
                        </a:rPr>
                        <a:t>4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BAK 32140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IN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6350" marR="6350" marT="635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IN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6350" marR="6350" marT="635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IN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6350" marR="6350" marT="635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36939498"/>
                  </a:ext>
                </a:extLst>
              </a:tr>
              <a:tr h="471877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" panose="020B0004020202020204" pitchFamily="34" charset="0"/>
                        </a:rPr>
                        <a:t>5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EVE 5.0 _21700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IN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6350" marR="6350" marT="635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IN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6350" marR="6350" marT="635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IN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6350" marR="6350" marT="635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44050368"/>
                  </a:ext>
                </a:extLst>
              </a:tr>
              <a:tr h="471877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6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licell 4.2_21700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28349755"/>
                  </a:ext>
                </a:extLst>
              </a:tr>
              <a:tr h="471877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7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RIN 5.8_21700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62921273"/>
                  </a:ext>
                </a:extLst>
              </a:tr>
              <a:tr h="471877"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8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SVOLT 116 Ah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 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 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 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6275575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36555818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>
            <a:extLst>
              <a:ext uri="{FF2B5EF4-FFF2-40B4-BE49-F238E27FC236}">
                <a16:creationId xmlns:a16="http://schemas.microsoft.com/office/drawing/2014/main" id="{83B0449F-1097-0C8F-F0FB-08D38747D2F6}"/>
              </a:ext>
            </a:extLst>
          </p:cNvPr>
          <p:cNvSpPr txBox="1"/>
          <p:nvPr/>
        </p:nvSpPr>
        <p:spPr>
          <a:xfrm>
            <a:off x="4042610" y="770021"/>
            <a:ext cx="433136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u="sng" dirty="0"/>
              <a:t>Cells to be teardown &amp; cell history</a:t>
            </a:r>
            <a:endParaRPr lang="en-IN" b="1" u="sng" dirty="0"/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0FA1FCBB-AB3E-0F01-703F-65A5085132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79839387"/>
              </p:ext>
            </p:extLst>
          </p:nvPr>
        </p:nvGraphicFramePr>
        <p:xfrm>
          <a:off x="316363" y="1458619"/>
          <a:ext cx="11618963" cy="3991686"/>
        </p:xfrm>
        <a:graphic>
          <a:graphicData uri="http://schemas.openxmlformats.org/drawingml/2006/table">
            <a:tbl>
              <a:tblPr/>
              <a:tblGrid>
                <a:gridCol w="419914">
                  <a:extLst>
                    <a:ext uri="{9D8B030D-6E8A-4147-A177-3AD203B41FA5}">
                      <a16:colId xmlns:a16="http://schemas.microsoft.com/office/drawing/2014/main" val="3333282364"/>
                    </a:ext>
                  </a:extLst>
                </a:gridCol>
                <a:gridCol w="1106129">
                  <a:extLst>
                    <a:ext uri="{9D8B030D-6E8A-4147-A177-3AD203B41FA5}">
                      <a16:colId xmlns:a16="http://schemas.microsoft.com/office/drawing/2014/main" val="4254642429"/>
                    </a:ext>
                  </a:extLst>
                </a:gridCol>
                <a:gridCol w="1106129">
                  <a:extLst>
                    <a:ext uri="{9D8B030D-6E8A-4147-A177-3AD203B41FA5}">
                      <a16:colId xmlns:a16="http://schemas.microsoft.com/office/drawing/2014/main" val="2175027600"/>
                    </a:ext>
                  </a:extLst>
                </a:gridCol>
                <a:gridCol w="1848262">
                  <a:extLst>
                    <a:ext uri="{9D8B030D-6E8A-4147-A177-3AD203B41FA5}">
                      <a16:colId xmlns:a16="http://schemas.microsoft.com/office/drawing/2014/main" val="3618009095"/>
                    </a:ext>
                  </a:extLst>
                </a:gridCol>
                <a:gridCol w="1439704">
                  <a:extLst>
                    <a:ext uri="{9D8B030D-6E8A-4147-A177-3AD203B41FA5}">
                      <a16:colId xmlns:a16="http://schemas.microsoft.com/office/drawing/2014/main" val="147182481"/>
                    </a:ext>
                  </a:extLst>
                </a:gridCol>
                <a:gridCol w="1679654">
                  <a:extLst>
                    <a:ext uri="{9D8B030D-6E8A-4147-A177-3AD203B41FA5}">
                      <a16:colId xmlns:a16="http://schemas.microsoft.com/office/drawing/2014/main" val="211292966"/>
                    </a:ext>
                  </a:extLst>
                </a:gridCol>
                <a:gridCol w="1574675">
                  <a:extLst>
                    <a:ext uri="{9D8B030D-6E8A-4147-A177-3AD203B41FA5}">
                      <a16:colId xmlns:a16="http://schemas.microsoft.com/office/drawing/2014/main" val="2383648628"/>
                    </a:ext>
                  </a:extLst>
                </a:gridCol>
                <a:gridCol w="1184756">
                  <a:extLst>
                    <a:ext uri="{9D8B030D-6E8A-4147-A177-3AD203B41FA5}">
                      <a16:colId xmlns:a16="http://schemas.microsoft.com/office/drawing/2014/main" val="136954466"/>
                    </a:ext>
                  </a:extLst>
                </a:gridCol>
                <a:gridCol w="1259740">
                  <a:extLst>
                    <a:ext uri="{9D8B030D-6E8A-4147-A177-3AD203B41FA5}">
                      <a16:colId xmlns:a16="http://schemas.microsoft.com/office/drawing/2014/main" val="1497418628"/>
                    </a:ext>
                  </a:extLst>
                </a:gridCol>
              </a:tblGrid>
              <a:tr h="658459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2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Sr. No.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BE2D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Cell brand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BE2D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Rated capacity</a:t>
                      </a:r>
                      <a:endParaRPr lang="en-IN" sz="12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BE2D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2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Date/ month of manufacuring 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BE2D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Cell purchased date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BE2D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Cell Initial charge/discharge cycle available with testing team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BE2D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ptos" panose="020B0004020202020204" pitchFamily="34" charset="0"/>
                        </a:rPr>
                        <a:t>OCV of cell as received from testing team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BE2D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Aptos" panose="020B0004020202020204" pitchFamily="34" charset="0"/>
                        </a:rPr>
                        <a:t>Cell condition (fresh/cycled  cell)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BE2D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ptos" panose="020B0004020202020204" pitchFamily="34" charset="0"/>
                        </a:rPr>
                        <a:t>If cycled, cycled conditions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BE2D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4731842"/>
                  </a:ext>
                </a:extLst>
              </a:tr>
              <a:tr h="406727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I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BAK 5.5_21700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IN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6350" marR="6350" marT="635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IN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6350" marR="6350" marT="635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 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35136456"/>
                  </a:ext>
                </a:extLst>
              </a:tr>
              <a:tr h="406727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" panose="020B0004020202020204" pitchFamily="34" charset="0"/>
                        </a:rPr>
                        <a:t>2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I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4680 Gen2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en-IN" sz="11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IN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6350" marR="6350" marT="635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IN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6350" marR="6350" marT="635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IN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6350" marR="6350" marT="635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IN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6350" marR="6350" marT="635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IN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6350" marR="6350" marT="635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 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47787371"/>
                  </a:ext>
                </a:extLst>
              </a:tr>
              <a:tr h="406727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" panose="020B0004020202020204" pitchFamily="34" charset="0"/>
                        </a:rPr>
                        <a:t>3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IN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Blivex</a:t>
                      </a:r>
                      <a:r>
                        <a:rPr lang="en-I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 32700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IN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6350" marR="6350" marT="635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IN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6350" marR="6350" marT="635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IN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6350" marR="6350" marT="635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IN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6350" marR="6350" marT="635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IN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6350" marR="6350" marT="635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 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03173020"/>
                  </a:ext>
                </a:extLst>
              </a:tr>
              <a:tr h="406727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" panose="020B0004020202020204" pitchFamily="34" charset="0"/>
                        </a:rPr>
                        <a:t>4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I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BAK 32140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IN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6350" marR="6350" marT="635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IN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6350" marR="6350" marT="635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IN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6350" marR="6350" marT="635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IN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6350" marR="6350" marT="635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IN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6350" marR="6350" marT="635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 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59567899"/>
                  </a:ext>
                </a:extLst>
              </a:tr>
              <a:tr h="406727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" panose="020B0004020202020204" pitchFamily="34" charset="0"/>
                        </a:rPr>
                        <a:t>5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I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EVE 5.0 _21700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en-IN" sz="11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IN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6350" marR="6350" marT="635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IN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6350" marR="6350" marT="635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IN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6350" marR="6350" marT="635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IN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6350" marR="6350" marT="635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IN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6350" marR="6350" marT="635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 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11834184"/>
                  </a:ext>
                </a:extLst>
              </a:tr>
              <a:tr h="406727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6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licell 4.2_21700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en-IN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IN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6350" marR="6350" marT="635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IN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6350" marR="6350" marT="635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 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83819685"/>
                  </a:ext>
                </a:extLst>
              </a:tr>
              <a:tr h="406727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7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I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RIN 5.8_21700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IN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6350" marR="6350" marT="635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IN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6350" marR="6350" marT="635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 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93285605"/>
                  </a:ext>
                </a:extLst>
              </a:tr>
              <a:tr h="406727"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8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I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SVOLT 116 Ah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en-IN" sz="11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 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 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 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 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 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 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0847609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28798796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9A0A6B7A-10E7-42FA-A595-692FB28EF527}"/>
              </a:ext>
            </a:extLst>
          </p:cNvPr>
          <p:cNvSpPr txBox="1"/>
          <p:nvPr/>
        </p:nvSpPr>
        <p:spPr>
          <a:xfrm>
            <a:off x="4005943" y="2721114"/>
            <a:ext cx="4746171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000" b="1" dirty="0"/>
              <a:t>Cylindrical cell report</a:t>
            </a:r>
            <a:endParaRPr lang="en-IN" sz="4000" b="1" dirty="0"/>
          </a:p>
        </p:txBody>
      </p:sp>
    </p:spTree>
    <p:extLst>
      <p:ext uri="{BB962C8B-B14F-4D97-AF65-F5344CB8AC3E}">
        <p14:creationId xmlns:p14="http://schemas.microsoft.com/office/powerpoint/2010/main" val="264820011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Arrow: Pentagon 6">
            <a:extLst>
              <a:ext uri="{FF2B5EF4-FFF2-40B4-BE49-F238E27FC236}">
                <a16:creationId xmlns:a16="http://schemas.microsoft.com/office/drawing/2014/main" id="{4217663F-225F-2108-BE13-CB495E9B3461}"/>
              </a:ext>
            </a:extLst>
          </p:cNvPr>
          <p:cNvSpPr/>
          <p:nvPr/>
        </p:nvSpPr>
        <p:spPr>
          <a:xfrm>
            <a:off x="1963391" y="353038"/>
            <a:ext cx="9455150" cy="590859"/>
          </a:xfrm>
          <a:prstGeom prst="homePlate">
            <a:avLst>
              <a:gd name="adj" fmla="val 46750"/>
            </a:avLst>
          </a:prstGeom>
          <a:solidFill>
            <a:srgbClr val="F8CBAD"/>
          </a:solidFill>
        </p:spPr>
        <p:txBody>
          <a:bodyPr vert="horz" lIns="91440" tIns="45720" rIns="91440" bIns="45720" rtlCol="0" anchor="ctr">
            <a:noAutofit/>
          </a:bodyPr>
          <a:lstStyle/>
          <a:p>
            <a:pPr>
              <a:spcBef>
                <a:spcPct val="0"/>
              </a:spcBef>
            </a:pPr>
            <a:r>
              <a:rPr lang="en-IN" sz="2800" b="1" dirty="0">
                <a:solidFill>
                  <a:schemeClr val="tx1"/>
                </a:solidFill>
                <a:latin typeface="Gotham" pitchFamily="50" charset="0"/>
                <a:ea typeface="+mj-ea"/>
                <a:cs typeface="+mj-cs"/>
              </a:rPr>
              <a:t>Cylindrical Cells: Physical Parameters</a:t>
            </a:r>
          </a:p>
        </p:txBody>
      </p:sp>
      <p:graphicFrame>
        <p:nvGraphicFramePr>
          <p:cNvPr id="8" name="Table 7">
            <a:extLst>
              <a:ext uri="{FF2B5EF4-FFF2-40B4-BE49-F238E27FC236}">
                <a16:creationId xmlns:a16="http://schemas.microsoft.com/office/drawing/2014/main" id="{11B69EAF-A810-B255-4882-AA17B269C80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73766629"/>
              </p:ext>
            </p:extLst>
          </p:nvPr>
        </p:nvGraphicFramePr>
        <p:xfrm>
          <a:off x="347547" y="1449658"/>
          <a:ext cx="11289281" cy="3446112"/>
        </p:xfrm>
        <a:graphic>
          <a:graphicData uri="http://schemas.openxmlformats.org/drawingml/2006/table">
            <a:tbl>
              <a:tblPr/>
              <a:tblGrid>
                <a:gridCol w="1373885">
                  <a:extLst>
                    <a:ext uri="{9D8B030D-6E8A-4147-A177-3AD203B41FA5}">
                      <a16:colId xmlns:a16="http://schemas.microsoft.com/office/drawing/2014/main" val="1077851271"/>
                    </a:ext>
                  </a:extLst>
                </a:gridCol>
                <a:gridCol w="1118279">
                  <a:extLst>
                    <a:ext uri="{9D8B030D-6E8A-4147-A177-3AD203B41FA5}">
                      <a16:colId xmlns:a16="http://schemas.microsoft.com/office/drawing/2014/main" val="2305007436"/>
                    </a:ext>
                  </a:extLst>
                </a:gridCol>
                <a:gridCol w="1256731">
                  <a:extLst>
                    <a:ext uri="{9D8B030D-6E8A-4147-A177-3AD203B41FA5}">
                      <a16:colId xmlns:a16="http://schemas.microsoft.com/office/drawing/2014/main" val="3972676809"/>
                    </a:ext>
                  </a:extLst>
                </a:gridCol>
                <a:gridCol w="1256731">
                  <a:extLst>
                    <a:ext uri="{9D8B030D-6E8A-4147-A177-3AD203B41FA5}">
                      <a16:colId xmlns:a16="http://schemas.microsoft.com/office/drawing/2014/main" val="835539134"/>
                    </a:ext>
                  </a:extLst>
                </a:gridCol>
                <a:gridCol w="1256731">
                  <a:extLst>
                    <a:ext uri="{9D8B030D-6E8A-4147-A177-3AD203B41FA5}">
                      <a16:colId xmlns:a16="http://schemas.microsoft.com/office/drawing/2014/main" val="3126071064"/>
                    </a:ext>
                  </a:extLst>
                </a:gridCol>
                <a:gridCol w="1256731">
                  <a:extLst>
                    <a:ext uri="{9D8B030D-6E8A-4147-A177-3AD203B41FA5}">
                      <a16:colId xmlns:a16="http://schemas.microsoft.com/office/drawing/2014/main" val="2237238924"/>
                    </a:ext>
                  </a:extLst>
                </a:gridCol>
                <a:gridCol w="1256731">
                  <a:extLst>
                    <a:ext uri="{9D8B030D-6E8A-4147-A177-3AD203B41FA5}">
                      <a16:colId xmlns:a16="http://schemas.microsoft.com/office/drawing/2014/main" val="4211875674"/>
                    </a:ext>
                  </a:extLst>
                </a:gridCol>
                <a:gridCol w="1256731">
                  <a:extLst>
                    <a:ext uri="{9D8B030D-6E8A-4147-A177-3AD203B41FA5}">
                      <a16:colId xmlns:a16="http://schemas.microsoft.com/office/drawing/2014/main" val="2431563172"/>
                    </a:ext>
                  </a:extLst>
                </a:gridCol>
                <a:gridCol w="1256731">
                  <a:extLst>
                    <a:ext uri="{9D8B030D-6E8A-4147-A177-3AD203B41FA5}">
                      <a16:colId xmlns:a16="http://schemas.microsoft.com/office/drawing/2014/main" val="3447167592"/>
                    </a:ext>
                  </a:extLst>
                </a:gridCol>
              </a:tblGrid>
              <a:tr h="636545">
                <a:tc gridSpan="2"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 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Aptos Display" panose="020B0004020202020204" pitchFamily="34" charset="0"/>
                        </a:rPr>
                        <a:t>BAK 5.5_21700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Aptos Display" panose="020B0004020202020204" pitchFamily="34" charset="0"/>
                        </a:rPr>
                        <a:t>4680 Gen2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200" b="0" i="0" u="none" strike="noStrike" dirty="0" err="1">
                          <a:solidFill>
                            <a:schemeClr val="tx1"/>
                          </a:solidFill>
                          <a:effectLst/>
                          <a:latin typeface="Aptos Display" panose="020B0004020202020204" pitchFamily="34" charset="0"/>
                        </a:rPr>
                        <a:t>Blivex</a:t>
                      </a:r>
                      <a:r>
                        <a:rPr lang="en-IN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Aptos Display" panose="020B0004020202020204" pitchFamily="34" charset="0"/>
                        </a:rPr>
                        <a:t> 32700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Aptos Display" panose="020B0004020202020204" pitchFamily="34" charset="0"/>
                        </a:rPr>
                        <a:t>CBAK 32140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200" b="0" i="0" u="none" strike="noStrike">
                          <a:solidFill>
                            <a:schemeClr val="tx1"/>
                          </a:solidFill>
                          <a:effectLst/>
                          <a:latin typeface="Aptos Display" panose="020B0004020202020204" pitchFamily="34" charset="0"/>
                        </a:rPr>
                        <a:t>EVE 5.0_21700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200" b="0" i="0" u="none" strike="noStrike" dirty="0" err="1">
                          <a:solidFill>
                            <a:schemeClr val="tx1"/>
                          </a:solidFill>
                          <a:effectLst/>
                          <a:latin typeface="Aptos Display" panose="020B0004020202020204" pitchFamily="34" charset="0"/>
                        </a:rPr>
                        <a:t>Moilicell</a:t>
                      </a:r>
                      <a:r>
                        <a:rPr lang="en-IN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Aptos Display" panose="020B0004020202020204" pitchFamily="34" charset="0"/>
                        </a:rPr>
                        <a:t> 4.2 21700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Aptos Display" panose="020B0004020202020204" pitchFamily="34" charset="0"/>
                        </a:rPr>
                        <a:t>RIN 5.8 _21700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56698670"/>
                  </a:ext>
                </a:extLst>
              </a:tr>
              <a:tr h="462404">
                <a:tc gridSpan="2">
                  <a:txBody>
                    <a:bodyPr/>
                    <a:lstStyle/>
                    <a:p>
                      <a:pPr algn="l" fontAlgn="ctr"/>
                      <a:r>
                        <a:rPr lang="en-IN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ptos" panose="020B0004020202020204" pitchFamily="34" charset="0"/>
                        </a:rPr>
                        <a:t>Cell type 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 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 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 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 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 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 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 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29238749"/>
                  </a:ext>
                </a:extLst>
              </a:tr>
              <a:tr h="497547">
                <a:tc gridSpan="2">
                  <a:txBody>
                    <a:bodyPr/>
                    <a:lstStyle/>
                    <a:p>
                      <a:pPr algn="l" fontAlgn="ctr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ptos" panose="020B0004020202020204" pitchFamily="34" charset="0"/>
                        </a:rPr>
                        <a:t>Cell weight, without sleeve (gm)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 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 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 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 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 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 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 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18826124"/>
                  </a:ext>
                </a:extLst>
              </a:tr>
              <a:tr h="462404">
                <a:tc rowSpan="2">
                  <a:txBody>
                    <a:bodyPr/>
                    <a:lstStyle/>
                    <a:p>
                      <a:pPr algn="l" fontAlgn="ctr"/>
                      <a:r>
                        <a:rPr lang="en-IN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ptos" panose="020B0004020202020204" pitchFamily="34" charset="0"/>
                        </a:rPr>
                        <a:t>Cell Dia</a:t>
                      </a:r>
                    </a:p>
                    <a:p>
                      <a:pPr algn="l" fontAlgn="ctr"/>
                      <a:r>
                        <a:rPr lang="en-IN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ptos" panose="020B0004020202020204" pitchFamily="34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ptos" panose="020B0004020202020204" pitchFamily="34" charset="0"/>
                        </a:rPr>
                        <a:t>T</a:t>
                      </a:r>
                      <a:r>
                        <a:rPr lang="en-IN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ptos" panose="020B0004020202020204" pitchFamily="34" charset="0"/>
                        </a:rPr>
                        <a:t>op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 </a:t>
                      </a:r>
                    </a:p>
                  </a:txBody>
                  <a:tcPr marL="6350" marR="6350" marT="6350" marB="0" anchor="b"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 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 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 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 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 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 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22669166"/>
                  </a:ext>
                </a:extLst>
              </a:tr>
              <a:tr h="462404">
                <a:tc vMerge="1">
                  <a:txBody>
                    <a:bodyPr/>
                    <a:lstStyle/>
                    <a:p>
                      <a:endParaRPr dirty="0"/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ptos" panose="020B0004020202020204" pitchFamily="34" charset="0"/>
                        </a:rPr>
                        <a:t>bottom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l" fontAlgn="b"/>
                      <a:endParaRPr lang="en-IN" sz="11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b"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1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1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1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1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1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79001937"/>
                  </a:ext>
                </a:extLst>
              </a:tr>
              <a:tr h="462404">
                <a:tc rowSpan="2">
                  <a:txBody>
                    <a:bodyPr/>
                    <a:lstStyle/>
                    <a:p>
                      <a:pPr algn="l" fontAlgn="ctr"/>
                      <a:r>
                        <a:rPr lang="en-IN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ptos" panose="020B0004020202020204" pitchFamily="34" charset="0"/>
                        </a:rPr>
                        <a:t>Cell length </a:t>
                      </a:r>
                    </a:p>
                    <a:p>
                      <a:pPr algn="l" fontAlgn="ctr"/>
                      <a:r>
                        <a:rPr lang="en-IN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ptos" panose="020B0004020202020204" pitchFamily="34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ptos" panose="020B0004020202020204" pitchFamily="34" charset="0"/>
                        </a:rPr>
                        <a:t>Total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 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 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 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 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 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 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 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34885132"/>
                  </a:ext>
                </a:extLst>
              </a:tr>
              <a:tr h="462404">
                <a:tc vMerge="1">
                  <a:txBody>
                    <a:bodyPr/>
                    <a:lstStyle/>
                    <a:p>
                      <a:endParaRPr dirty="0"/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ptos" panose="020B0004020202020204" pitchFamily="34" charset="0"/>
                        </a:rPr>
                        <a:t>Up to Cap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 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 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 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 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 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 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 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2584461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23622910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58019808-9C15-CE56-EABC-E9F1EABDF150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2263140" y="194706"/>
            <a:ext cx="6995160" cy="501015"/>
          </a:xfrm>
          <a:prstGeom prst="homePlate">
            <a:avLst>
              <a:gd name="adj" fmla="val 144764"/>
            </a:avLst>
          </a:prstGeom>
          <a:solidFill>
            <a:srgbClr val="F8CBAD"/>
          </a:solidFill>
        </p:spPr>
        <p:txBody>
          <a:bodyPr anchor="ctr">
            <a:noAutofit/>
          </a:bodyPr>
          <a:lstStyle/>
          <a:p>
            <a:pPr>
              <a:lnSpc>
                <a:spcPct val="100000"/>
              </a:lnSpc>
            </a:pPr>
            <a:r>
              <a:rPr lang="en-IN" sz="2800" b="1" dirty="0"/>
              <a:t>Cathode: Overall comparison</a:t>
            </a:r>
          </a:p>
        </p:txBody>
      </p:sp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E7FDFD7E-7A25-76E8-82EF-ACF2B4BC520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10650532"/>
              </p:ext>
            </p:extLst>
          </p:nvPr>
        </p:nvGraphicFramePr>
        <p:xfrm>
          <a:off x="265177" y="1020458"/>
          <a:ext cx="11458737" cy="5392328"/>
        </p:xfrm>
        <a:graphic>
          <a:graphicData uri="http://schemas.openxmlformats.org/drawingml/2006/table">
            <a:tbl>
              <a:tblPr firstRow="1" bandRow="1">
                <a:solidFill>
                  <a:schemeClr val="bg1"/>
                </a:solidFill>
                <a:tableStyleId>{5C22544A-7EE6-4342-B048-85BDC9FD1C3A}</a:tableStyleId>
              </a:tblPr>
              <a:tblGrid>
                <a:gridCol w="1273193">
                  <a:extLst>
                    <a:ext uri="{9D8B030D-6E8A-4147-A177-3AD203B41FA5}">
                      <a16:colId xmlns:a16="http://schemas.microsoft.com/office/drawing/2014/main" val="1624386934"/>
                    </a:ext>
                  </a:extLst>
                </a:gridCol>
                <a:gridCol w="1273193">
                  <a:extLst>
                    <a:ext uri="{9D8B030D-6E8A-4147-A177-3AD203B41FA5}">
                      <a16:colId xmlns:a16="http://schemas.microsoft.com/office/drawing/2014/main" val="1481101947"/>
                    </a:ext>
                  </a:extLst>
                </a:gridCol>
                <a:gridCol w="1273193">
                  <a:extLst>
                    <a:ext uri="{9D8B030D-6E8A-4147-A177-3AD203B41FA5}">
                      <a16:colId xmlns:a16="http://schemas.microsoft.com/office/drawing/2014/main" val="2422237190"/>
                    </a:ext>
                  </a:extLst>
                </a:gridCol>
                <a:gridCol w="1273193">
                  <a:extLst>
                    <a:ext uri="{9D8B030D-6E8A-4147-A177-3AD203B41FA5}">
                      <a16:colId xmlns:a16="http://schemas.microsoft.com/office/drawing/2014/main" val="1592034875"/>
                    </a:ext>
                  </a:extLst>
                </a:gridCol>
                <a:gridCol w="1273193">
                  <a:extLst>
                    <a:ext uri="{9D8B030D-6E8A-4147-A177-3AD203B41FA5}">
                      <a16:colId xmlns:a16="http://schemas.microsoft.com/office/drawing/2014/main" val="851382468"/>
                    </a:ext>
                  </a:extLst>
                </a:gridCol>
                <a:gridCol w="1273193">
                  <a:extLst>
                    <a:ext uri="{9D8B030D-6E8A-4147-A177-3AD203B41FA5}">
                      <a16:colId xmlns:a16="http://schemas.microsoft.com/office/drawing/2014/main" val="2629398722"/>
                    </a:ext>
                  </a:extLst>
                </a:gridCol>
                <a:gridCol w="1273193">
                  <a:extLst>
                    <a:ext uri="{9D8B030D-6E8A-4147-A177-3AD203B41FA5}">
                      <a16:colId xmlns:a16="http://schemas.microsoft.com/office/drawing/2014/main" val="165705925"/>
                    </a:ext>
                  </a:extLst>
                </a:gridCol>
                <a:gridCol w="1273193">
                  <a:extLst>
                    <a:ext uri="{9D8B030D-6E8A-4147-A177-3AD203B41FA5}">
                      <a16:colId xmlns:a16="http://schemas.microsoft.com/office/drawing/2014/main" val="1488801779"/>
                    </a:ext>
                  </a:extLst>
                </a:gridCol>
                <a:gridCol w="1273193">
                  <a:extLst>
                    <a:ext uri="{9D8B030D-6E8A-4147-A177-3AD203B41FA5}">
                      <a16:colId xmlns:a16="http://schemas.microsoft.com/office/drawing/2014/main" val="3010255746"/>
                    </a:ext>
                  </a:extLst>
                </a:gridCol>
              </a:tblGrid>
              <a:tr h="390400">
                <a:tc>
                  <a:txBody>
                    <a:bodyPr/>
                    <a:lstStyle/>
                    <a:p>
                      <a:pPr algn="l" fontAlgn="b"/>
                      <a:endParaRPr lang="en-IN" sz="1200" b="0" i="0" u="none" strike="noStrike" cap="none" spc="0" dirty="0">
                        <a:solidFill>
                          <a:schemeClr val="bg1"/>
                        </a:solidFill>
                        <a:effectLst/>
                        <a:latin typeface="Aptos Display" panose="020B0004020202020204" pitchFamily="34" charset="0"/>
                      </a:endParaRPr>
                    </a:p>
                  </a:txBody>
                  <a:tcPr marL="59647" marR="4779" marT="45882" marB="45882" anchor="ctr">
                    <a:lnL w="19050" cap="flat" cmpd="sng" algn="ctr">
                      <a:solidFill>
                        <a:schemeClr val="tx1"/>
                      </a:solidFill>
                      <a:prstDash val="solid"/>
                    </a:lnL>
                    <a:lnR w="12700" cmpd="sng">
                      <a:noFill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</a:lnT>
                    <a:lnB w="38100" cmpd="sng">
                      <a:noFill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IN" sz="1200" b="0" i="0" u="none" strike="noStrike" cap="none" spc="0">
                        <a:solidFill>
                          <a:schemeClr val="bg1"/>
                        </a:solidFill>
                        <a:effectLst/>
                        <a:latin typeface="Aptos Display" panose="020B0004020202020204" pitchFamily="34" charset="0"/>
                      </a:endParaRPr>
                    </a:p>
                  </a:txBody>
                  <a:tcPr marL="59647" marR="4779" marT="45882" marB="45882" anchor="ctr"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</a:lnT>
                    <a:lnB w="38100" cmpd="sng">
                      <a:noFill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cap="none" spc="0" dirty="0">
                          <a:solidFill>
                            <a:schemeClr val="bg1"/>
                          </a:solidFill>
                          <a:effectLst/>
                          <a:latin typeface="Aptos Display" panose="020B0004020202020204" pitchFamily="34" charset="0"/>
                        </a:rPr>
                        <a:t>B</a:t>
                      </a:r>
                      <a:r>
                        <a:rPr lang="en-IN" sz="1200" b="0" i="0" u="none" strike="noStrike" cap="none" spc="0" dirty="0">
                          <a:solidFill>
                            <a:schemeClr val="bg1"/>
                          </a:solidFill>
                          <a:effectLst/>
                          <a:latin typeface="Aptos Display" panose="020B0004020202020204" pitchFamily="34" charset="0"/>
                        </a:rPr>
                        <a:t>AK 5.5_21700</a:t>
                      </a:r>
                    </a:p>
                  </a:txBody>
                  <a:tcPr marL="59647" marR="4779" marT="45882" marB="45882" anchor="ctr"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</a:lnT>
                    <a:lnB w="38100" cmpd="sng">
                      <a:noFill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cap="none" spc="0" dirty="0">
                          <a:solidFill>
                            <a:schemeClr val="bg1"/>
                          </a:solidFill>
                          <a:effectLst/>
                          <a:latin typeface="Aptos Display" panose="020B0004020202020204" pitchFamily="34" charset="0"/>
                        </a:rPr>
                        <a:t>4</a:t>
                      </a:r>
                      <a:r>
                        <a:rPr lang="en-IN" sz="1200" b="0" i="0" u="none" strike="noStrike" cap="none" spc="0" dirty="0">
                          <a:solidFill>
                            <a:schemeClr val="bg1"/>
                          </a:solidFill>
                          <a:effectLst/>
                          <a:latin typeface="Aptos Display" panose="020B0004020202020204" pitchFamily="34" charset="0"/>
                        </a:rPr>
                        <a:t>680 Gen2</a:t>
                      </a:r>
                    </a:p>
                  </a:txBody>
                  <a:tcPr marL="59647" marR="4779" marT="45882" marB="45882" anchor="ctr"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</a:lnT>
                    <a:lnB w="38100" cmpd="sng">
                      <a:noFill/>
                    </a:lnB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cap="none" spc="0" dirty="0" err="1">
                          <a:solidFill>
                            <a:schemeClr val="bg1"/>
                          </a:solidFill>
                          <a:effectLst/>
                          <a:latin typeface="Aptos Display" panose="020B0004020202020204" pitchFamily="34" charset="0"/>
                        </a:rPr>
                        <a:t>Blivex</a:t>
                      </a:r>
                      <a:r>
                        <a:rPr lang="en-US" sz="1200" b="0" i="0" u="none" strike="noStrike" cap="none" spc="0" dirty="0">
                          <a:solidFill>
                            <a:schemeClr val="bg1"/>
                          </a:solidFill>
                          <a:effectLst/>
                          <a:latin typeface="Aptos Display" panose="020B0004020202020204" pitchFamily="34" charset="0"/>
                        </a:rPr>
                        <a:t> 32700</a:t>
                      </a:r>
                      <a:endParaRPr lang="en-IN" sz="1200" b="0" i="0" u="none" strike="noStrike" cap="none" spc="0" dirty="0">
                        <a:solidFill>
                          <a:schemeClr val="bg1"/>
                        </a:solidFill>
                        <a:effectLst/>
                        <a:latin typeface="Aptos Display" panose="020B0004020202020204" pitchFamily="34" charset="0"/>
                      </a:endParaRPr>
                    </a:p>
                  </a:txBody>
                  <a:tcPr marL="59647" marR="4779" marT="45882" marB="45882" anchor="ctr"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</a:lnT>
                    <a:lnB w="38100" cmpd="sng">
                      <a:noFill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cap="none" spc="0" dirty="0">
                          <a:solidFill>
                            <a:schemeClr val="bg1"/>
                          </a:solidFill>
                          <a:effectLst/>
                          <a:latin typeface="Aptos Display" panose="020B0004020202020204" pitchFamily="34" charset="0"/>
                        </a:rPr>
                        <a:t>CBAK 32140</a:t>
                      </a:r>
                      <a:endParaRPr lang="en-IN" sz="1200" b="0" i="0" u="none" strike="noStrike" cap="none" spc="0" dirty="0">
                        <a:solidFill>
                          <a:schemeClr val="bg1"/>
                        </a:solidFill>
                        <a:effectLst/>
                        <a:latin typeface="Aptos Display" panose="020B0004020202020204" pitchFamily="34" charset="0"/>
                      </a:endParaRPr>
                    </a:p>
                  </a:txBody>
                  <a:tcPr marL="59647" marR="4779" marT="45882" marB="45882" anchor="ctr"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</a:lnT>
                    <a:lnB w="38100" cmpd="sng">
                      <a:noFill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u="none" strike="noStrike" cap="none" spc="0" dirty="0">
                          <a:solidFill>
                            <a:schemeClr val="bg1"/>
                          </a:solidFill>
                          <a:effectLst/>
                          <a:latin typeface="Aptos Display" panose="020B0004020202020204" pitchFamily="34" charset="0"/>
                        </a:rPr>
                        <a:t>EVE 5.0_21700</a:t>
                      </a:r>
                      <a:endParaRPr lang="en-IN" sz="1200" b="0" i="0" u="none" strike="noStrike" cap="none" spc="0" dirty="0">
                        <a:solidFill>
                          <a:schemeClr val="bg1"/>
                        </a:solidFill>
                        <a:effectLst/>
                        <a:latin typeface="Aptos Display" panose="020B0004020202020204" pitchFamily="34" charset="0"/>
                      </a:endParaRPr>
                    </a:p>
                  </a:txBody>
                  <a:tcPr marL="59647" marR="4779" marT="45882" marB="45882" anchor="ctr"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</a:lnT>
                    <a:lnB w="38100" cmpd="sng">
                      <a:noFill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u="none" strike="noStrike" cap="none" spc="0" dirty="0" err="1">
                          <a:solidFill>
                            <a:schemeClr val="bg1"/>
                          </a:solidFill>
                          <a:effectLst/>
                          <a:latin typeface="Aptos Display" panose="020B0004020202020204" pitchFamily="34" charset="0"/>
                        </a:rPr>
                        <a:t>Moilicell</a:t>
                      </a:r>
                      <a:r>
                        <a:rPr lang="en-IN" sz="1200" b="0" u="none" strike="noStrike" cap="none" spc="0" dirty="0">
                          <a:solidFill>
                            <a:schemeClr val="bg1"/>
                          </a:solidFill>
                          <a:effectLst/>
                          <a:latin typeface="Aptos Display" panose="020B0004020202020204" pitchFamily="34" charset="0"/>
                        </a:rPr>
                        <a:t> 4.2 21700</a:t>
                      </a:r>
                      <a:endParaRPr lang="en-IN" sz="1200" b="0" i="0" u="none" strike="noStrike" cap="none" spc="0" dirty="0">
                        <a:solidFill>
                          <a:schemeClr val="bg1"/>
                        </a:solidFill>
                        <a:effectLst/>
                        <a:latin typeface="Aptos Display" panose="020B0004020202020204" pitchFamily="34" charset="0"/>
                      </a:endParaRPr>
                    </a:p>
                  </a:txBody>
                  <a:tcPr marL="59647" marR="4779" marT="45882" marB="45882" anchor="ctr"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</a:lnT>
                    <a:lnB w="38100" cmpd="sng">
                      <a:noFill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cap="none" spc="0" dirty="0">
                          <a:solidFill>
                            <a:schemeClr val="bg1"/>
                          </a:solidFill>
                          <a:effectLst/>
                          <a:latin typeface="Aptos Display" panose="020B0004020202020204" pitchFamily="34" charset="0"/>
                        </a:rPr>
                        <a:t>RIN 5.8 _21700</a:t>
                      </a:r>
                      <a:endParaRPr lang="en-IN" sz="1200" b="0" i="0" u="none" strike="noStrike" cap="none" spc="0" dirty="0">
                        <a:solidFill>
                          <a:schemeClr val="bg1"/>
                        </a:solidFill>
                        <a:effectLst/>
                        <a:latin typeface="Aptos Display" panose="020B0004020202020204" pitchFamily="34" charset="0"/>
                      </a:endParaRPr>
                    </a:p>
                  </a:txBody>
                  <a:tcPr marL="59647" marR="4779" marT="45882" marB="45882" anchor="ctr"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</a:lnT>
                    <a:lnB w="38100" cmpd="sng">
                      <a:noFill/>
                    </a:lnB>
                    <a:solidFill>
                      <a:schemeClr val="tx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58024034"/>
                  </a:ext>
                </a:extLst>
              </a:tr>
              <a:tr h="390400"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u="none" strike="noStrike" cap="none" spc="0">
                          <a:solidFill>
                            <a:schemeClr val="tx1"/>
                          </a:solidFill>
                          <a:effectLst/>
                          <a:latin typeface="Aptos Display" panose="020B0004020202020204" pitchFamily="34" charset="0"/>
                        </a:rPr>
                        <a:t>Material </a:t>
                      </a:r>
                      <a:endParaRPr lang="en-IN" sz="1200" b="0" i="0" u="none" strike="noStrike" cap="none" spc="0">
                        <a:solidFill>
                          <a:schemeClr val="tx1"/>
                        </a:solidFill>
                        <a:effectLst/>
                        <a:latin typeface="Aptos Display" panose="020B0004020202020204" pitchFamily="34" charset="0"/>
                      </a:endParaRPr>
                    </a:p>
                  </a:txBody>
                  <a:tcPr marL="59647" marR="4779" marT="45882" marB="45882" anchor="ctr">
                    <a:lnL w="19050" cap="flat" cmpd="sng" algn="ctr">
                      <a:solidFill>
                        <a:schemeClr val="tx1"/>
                      </a:solidFill>
                      <a:prstDash val="soli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</a:lnR>
                    <a:lnT w="38100" cmpd="sng">
                      <a:noFill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u="none" strike="noStrike" cap="none" spc="0">
                          <a:solidFill>
                            <a:schemeClr val="tx1"/>
                          </a:solidFill>
                          <a:effectLst/>
                          <a:latin typeface="Aptos Display" panose="020B0004020202020204" pitchFamily="34" charset="0"/>
                        </a:rPr>
                        <a:t>Cathode material </a:t>
                      </a:r>
                      <a:endParaRPr lang="en-IN" sz="1200" b="0" i="0" u="none" strike="noStrike" cap="none" spc="0">
                        <a:solidFill>
                          <a:schemeClr val="tx1"/>
                        </a:solidFill>
                        <a:effectLst/>
                        <a:latin typeface="Aptos Display" panose="020B0004020202020204" pitchFamily="34" charset="0"/>
                      </a:endParaRPr>
                    </a:p>
                  </a:txBody>
                  <a:tcPr marL="59647" marR="4779" marT="45882" marB="45882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</a:lnR>
                    <a:lnT w="38100" cmpd="sng">
                      <a:noFill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200" b="0" i="0" u="none" strike="noStrike" cap="none" spc="0" dirty="0">
                        <a:solidFill>
                          <a:schemeClr val="tx1"/>
                        </a:solidFill>
                        <a:effectLst/>
                        <a:latin typeface="Aptos Display" panose="020B0004020202020204" pitchFamily="34" charset="0"/>
                      </a:endParaRPr>
                    </a:p>
                  </a:txBody>
                  <a:tcPr marL="59647" marR="4779" marT="45882" marB="45882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</a:lnR>
                    <a:lnT w="38100" cmpd="sng">
                      <a:noFill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200" b="0" i="0" u="none" strike="noStrike" cap="none" spc="0" dirty="0">
                        <a:solidFill>
                          <a:schemeClr val="tx1"/>
                        </a:solidFill>
                        <a:effectLst/>
                        <a:latin typeface="Aptos Display" panose="020B0004020202020204" pitchFamily="34" charset="0"/>
                      </a:endParaRPr>
                    </a:p>
                  </a:txBody>
                  <a:tcPr marL="59647" marR="4779" marT="45882" marB="45882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</a:lnR>
                    <a:lnT w="38100" cmpd="sng">
                      <a:noFill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</a:lnB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200" b="0" i="0" u="none" strike="noStrike" cap="none" spc="0" dirty="0">
                        <a:solidFill>
                          <a:schemeClr val="tx1"/>
                        </a:solidFill>
                        <a:effectLst/>
                        <a:latin typeface="Aptos Display" panose="020B0004020202020204" pitchFamily="34" charset="0"/>
                      </a:endParaRPr>
                    </a:p>
                  </a:txBody>
                  <a:tcPr marL="59647" marR="4779" marT="45882" marB="45882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</a:lnR>
                    <a:lnT w="38100" cmpd="sng">
                      <a:noFill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200" b="0" i="0" u="none" strike="noStrike" cap="none" spc="0" dirty="0">
                        <a:solidFill>
                          <a:schemeClr val="tx1"/>
                        </a:solidFill>
                        <a:effectLst/>
                        <a:latin typeface="Aptos Display" panose="020B0004020202020204" pitchFamily="34" charset="0"/>
                      </a:endParaRPr>
                    </a:p>
                  </a:txBody>
                  <a:tcPr marL="59647" marR="4779" marT="45882" marB="45882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</a:lnR>
                    <a:lnT w="38100" cmpd="sng">
                      <a:noFill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200" b="0" i="0" u="none" strike="noStrike" cap="none" spc="0">
                        <a:solidFill>
                          <a:schemeClr val="tx1"/>
                        </a:solidFill>
                        <a:effectLst/>
                        <a:latin typeface="Aptos Display" panose="020B0004020202020204" pitchFamily="34" charset="0"/>
                      </a:endParaRPr>
                    </a:p>
                  </a:txBody>
                  <a:tcPr marL="59647" marR="4779" marT="45882" marB="45882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</a:lnR>
                    <a:lnT w="38100" cmpd="sng">
                      <a:noFill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200" b="0" i="0" u="none" strike="noStrike" cap="none" spc="0" dirty="0">
                        <a:solidFill>
                          <a:schemeClr val="tx1"/>
                        </a:solidFill>
                        <a:effectLst/>
                        <a:latin typeface="Aptos Display" panose="020B0004020202020204" pitchFamily="34" charset="0"/>
                      </a:endParaRPr>
                    </a:p>
                  </a:txBody>
                  <a:tcPr marL="59647" marR="4779" marT="45882" marB="45882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200" b="0" i="0" u="none" strike="noStrike" cap="none" spc="0" dirty="0">
                        <a:solidFill>
                          <a:schemeClr val="tx1"/>
                        </a:solidFill>
                        <a:effectLst/>
                        <a:latin typeface="Aptos Display" panose="020B0004020202020204" pitchFamily="34" charset="0"/>
                      </a:endParaRPr>
                    </a:p>
                  </a:txBody>
                  <a:tcPr marL="59647" marR="4779" marT="45882" marB="45882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</a:lnR>
                    <a:lnT w="38100" cmpd="sng">
                      <a:noFill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90376548"/>
                  </a:ext>
                </a:extLst>
              </a:tr>
              <a:tr h="390400">
                <a:tc>
                  <a:txBody>
                    <a:bodyPr/>
                    <a:lstStyle/>
                    <a:p>
                      <a:pPr algn="ctr" fontAlgn="ctr"/>
                      <a:endParaRPr lang="en-IN" sz="1200" b="0" i="0" u="none" strike="noStrike" cap="none" spc="0">
                        <a:solidFill>
                          <a:schemeClr val="tx1"/>
                        </a:solidFill>
                        <a:effectLst/>
                        <a:latin typeface="Aptos Display" panose="020B0004020202020204" pitchFamily="34" charset="0"/>
                      </a:endParaRPr>
                    </a:p>
                  </a:txBody>
                  <a:tcPr marL="59647" marR="4779" marT="45882" marB="45882" anchor="ctr">
                    <a:lnL w="19050" cap="flat" cmpd="sng" algn="ctr">
                      <a:solidFill>
                        <a:schemeClr val="tx1"/>
                      </a:solidFill>
                      <a:prstDash val="soli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b="0" i="0" u="none" strike="noStrike" cap="none" spc="0">
                          <a:solidFill>
                            <a:schemeClr val="tx1"/>
                          </a:solidFill>
                          <a:effectLst/>
                          <a:latin typeface="Aptos Display" panose="020B0004020202020204" pitchFamily="34" charset="0"/>
                        </a:rPr>
                        <a:t>Composition</a:t>
                      </a:r>
                    </a:p>
                  </a:txBody>
                  <a:tcPr marL="59647" marR="4779" marT="45882" marB="45882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200" b="0" i="0" u="none" strike="noStrike" cap="none" spc="0" dirty="0">
                        <a:solidFill>
                          <a:schemeClr val="tx1"/>
                        </a:solidFill>
                        <a:effectLst/>
                        <a:latin typeface="Aptos Display" panose="020B0004020202020204" pitchFamily="34" charset="0"/>
                      </a:endParaRPr>
                    </a:p>
                  </a:txBody>
                  <a:tcPr marL="59647" marR="4779" marT="45882" marB="45882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200" b="0" i="0" u="none" strike="noStrike" cap="none" spc="0">
                        <a:solidFill>
                          <a:schemeClr val="tx1"/>
                        </a:solidFill>
                        <a:effectLst/>
                        <a:latin typeface="Aptos Display" panose="020B0004020202020204" pitchFamily="34" charset="0"/>
                      </a:endParaRPr>
                    </a:p>
                  </a:txBody>
                  <a:tcPr marL="59647" marR="4779" marT="45882" marB="45882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</a:lnB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IN" sz="1200" b="0" i="0" u="none" strike="noStrike" cap="none" spc="0">
                        <a:solidFill>
                          <a:schemeClr val="tx1"/>
                        </a:solidFill>
                        <a:effectLst/>
                        <a:latin typeface="Aptos Display" panose="020B0004020202020204" pitchFamily="34" charset="0"/>
                      </a:endParaRPr>
                    </a:p>
                  </a:txBody>
                  <a:tcPr marL="59647" marR="4779" marT="45882" marB="45882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IN" sz="1200" b="0" i="0" u="none" strike="noStrike" cap="none" spc="0">
                        <a:solidFill>
                          <a:schemeClr val="tx1"/>
                        </a:solidFill>
                        <a:effectLst/>
                        <a:latin typeface="Aptos Display" panose="020B0004020202020204" pitchFamily="34" charset="0"/>
                      </a:endParaRPr>
                    </a:p>
                  </a:txBody>
                  <a:tcPr marL="59647" marR="4779" marT="45882" marB="45882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200" b="0" i="0" u="none" strike="noStrike" cap="none" spc="0">
                        <a:solidFill>
                          <a:schemeClr val="tx1"/>
                        </a:solidFill>
                        <a:effectLst/>
                        <a:latin typeface="Aptos Display" panose="020B0004020202020204" pitchFamily="34" charset="0"/>
                      </a:endParaRPr>
                    </a:p>
                  </a:txBody>
                  <a:tcPr marL="59647" marR="4779" marT="45882" marB="45882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IN" sz="1200" b="0" i="0" u="none" strike="noStrike" cap="none" spc="0">
                        <a:solidFill>
                          <a:schemeClr val="tx1"/>
                        </a:solidFill>
                        <a:effectLst/>
                        <a:latin typeface="Aptos Display" panose="020B0004020202020204" pitchFamily="34" charset="0"/>
                      </a:endParaRPr>
                    </a:p>
                  </a:txBody>
                  <a:tcPr marL="59647" marR="4779" marT="45882" marB="45882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IN" sz="1200" b="0" i="0" u="none" strike="noStrike" cap="none" spc="0">
                        <a:solidFill>
                          <a:schemeClr val="tx1"/>
                        </a:solidFill>
                        <a:effectLst/>
                        <a:latin typeface="Aptos Display" panose="020B0004020202020204" pitchFamily="34" charset="0"/>
                      </a:endParaRPr>
                    </a:p>
                  </a:txBody>
                  <a:tcPr marL="59647" marR="4779" marT="45882" marB="45882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43209914"/>
                  </a:ext>
                </a:extLst>
              </a:tr>
              <a:tr h="546449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n-IN" sz="1200" u="none" strike="noStrike" cap="none" spc="0">
                          <a:solidFill>
                            <a:schemeClr val="tx1"/>
                          </a:solidFill>
                          <a:effectLst/>
                          <a:latin typeface="Aptos Display" panose="020B0004020202020204" pitchFamily="34" charset="0"/>
                        </a:rPr>
                        <a:t>Foil</a:t>
                      </a:r>
                      <a:endParaRPr lang="en-IN" sz="1200" b="0" i="0" u="none" strike="noStrike" cap="none" spc="0">
                        <a:solidFill>
                          <a:schemeClr val="tx1"/>
                        </a:solidFill>
                        <a:effectLst/>
                        <a:latin typeface="Aptos Display" panose="020B0004020202020204" pitchFamily="34" charset="0"/>
                      </a:endParaRPr>
                    </a:p>
                  </a:txBody>
                  <a:tcPr marL="59647" marR="4779" marT="45882" marB="45882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200" u="none" strike="noStrike" cap="none" spc="0">
                          <a:solidFill>
                            <a:schemeClr val="tx1"/>
                          </a:solidFill>
                          <a:effectLst/>
                          <a:latin typeface="Aptos Display" panose="020B0004020202020204" pitchFamily="34" charset="0"/>
                        </a:rPr>
                        <a:t>Length of Al foil (coating + uncoating) (mm)</a:t>
                      </a:r>
                      <a:endParaRPr lang="en-GB" sz="1200" b="0" i="0" u="none" strike="noStrike" cap="none" spc="0">
                        <a:solidFill>
                          <a:schemeClr val="tx1"/>
                        </a:solidFill>
                        <a:effectLst/>
                        <a:latin typeface="Aptos Display" panose="020B0004020202020204" pitchFamily="34" charset="0"/>
                      </a:endParaRPr>
                    </a:p>
                  </a:txBody>
                  <a:tcPr marL="59647" marR="4779" marT="45882" marB="45882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</a:lnT>
                    <a:lnB w="12700" cmpd="sng">
                      <a:noFill/>
                      <a:prstDash val="soli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200" b="0" i="0" u="none" strike="noStrike" cap="none" spc="0" dirty="0">
                        <a:solidFill>
                          <a:schemeClr val="tx1"/>
                        </a:solidFill>
                        <a:effectLst/>
                        <a:latin typeface="Aptos Display" panose="020B0004020202020204" pitchFamily="34" charset="0"/>
                      </a:endParaRPr>
                    </a:p>
                  </a:txBody>
                  <a:tcPr marL="59647" marR="4779" marT="45882" marB="45882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</a:lnT>
                    <a:lnB w="12700" cmpd="sng">
                      <a:noFill/>
                      <a:prstDash val="soli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200" b="0" i="0" u="none" strike="noStrike" cap="none" spc="0" dirty="0">
                        <a:solidFill>
                          <a:schemeClr val="tx1"/>
                        </a:solidFill>
                        <a:effectLst/>
                        <a:latin typeface="Aptos Display" panose="020B0004020202020204" pitchFamily="34" charset="0"/>
                      </a:endParaRPr>
                    </a:p>
                  </a:txBody>
                  <a:tcPr marL="59647" marR="4779" marT="45882" marB="45882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</a:lnT>
                    <a:lnB w="12700" cmpd="sng">
                      <a:noFill/>
                      <a:prstDash val="solid"/>
                    </a:lnB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200" b="0" i="0" u="none" strike="noStrike" cap="none" spc="0" dirty="0">
                        <a:solidFill>
                          <a:schemeClr val="tx1"/>
                        </a:solidFill>
                        <a:effectLst/>
                        <a:latin typeface="Aptos Display" panose="020B0004020202020204" pitchFamily="34" charset="0"/>
                      </a:endParaRPr>
                    </a:p>
                  </a:txBody>
                  <a:tcPr marL="59647" marR="4779" marT="45882" marB="45882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</a:lnT>
                    <a:lnB w="12700" cmpd="sng">
                      <a:noFill/>
                      <a:prstDash val="soli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200" b="0" i="0" u="none" strike="noStrike" cap="none" spc="0">
                        <a:solidFill>
                          <a:schemeClr val="tx1"/>
                        </a:solidFill>
                        <a:effectLst/>
                        <a:latin typeface="Aptos Display" panose="020B0004020202020204" pitchFamily="34" charset="0"/>
                      </a:endParaRPr>
                    </a:p>
                  </a:txBody>
                  <a:tcPr marL="59647" marR="4779" marT="45882" marB="45882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</a:lnT>
                    <a:lnB w="12700" cmpd="sng">
                      <a:noFill/>
                      <a:prstDash val="soli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200" b="0" i="0" u="none" strike="noStrike" cap="none" spc="0">
                        <a:solidFill>
                          <a:schemeClr val="tx1"/>
                        </a:solidFill>
                        <a:effectLst/>
                        <a:latin typeface="Aptos Display" panose="020B0004020202020204" pitchFamily="34" charset="0"/>
                      </a:endParaRPr>
                    </a:p>
                  </a:txBody>
                  <a:tcPr marL="59647" marR="4779" marT="45882" marB="45882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</a:lnT>
                    <a:lnB w="12700" cmpd="sng">
                      <a:noFill/>
                      <a:prstDash val="soli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200" b="0" i="0" u="none" strike="noStrike" cap="none" spc="0" dirty="0">
                        <a:solidFill>
                          <a:schemeClr val="tx1"/>
                        </a:solidFill>
                        <a:effectLst/>
                        <a:latin typeface="Aptos Display" panose="020B0004020202020204" pitchFamily="34" charset="0"/>
                      </a:endParaRPr>
                    </a:p>
                  </a:txBody>
                  <a:tcPr marL="59647" marR="4779" marT="45882" marB="45882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  <a:prstDash val="soli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200" b="0" i="0" u="none" strike="noStrike" cap="none" spc="0" dirty="0">
                        <a:solidFill>
                          <a:schemeClr val="tx1"/>
                        </a:solidFill>
                        <a:effectLst/>
                        <a:latin typeface="Aptos Display" panose="020B0004020202020204" pitchFamily="34" charset="0"/>
                      </a:endParaRPr>
                    </a:p>
                  </a:txBody>
                  <a:tcPr marL="59647" marR="4779" marT="45882" marB="45882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</a:lnL>
                    <a:lnR w="12700" cmpd="sng">
                      <a:noFill/>
                      <a:prstDash val="soli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  <a:prstDash val="soli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82447590"/>
                  </a:ext>
                </a:extLst>
              </a:tr>
              <a:tr h="390400">
                <a:tc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200" u="none" strike="noStrike" cap="none" spc="0">
                          <a:solidFill>
                            <a:schemeClr val="tx1"/>
                          </a:solidFill>
                          <a:effectLst/>
                          <a:latin typeface="Aptos Display" panose="020B0004020202020204" pitchFamily="34" charset="0"/>
                        </a:rPr>
                        <a:t>Width of Al Foil (mm)</a:t>
                      </a:r>
                      <a:endParaRPr lang="en-GB" sz="1200" b="0" i="0" u="none" strike="noStrike" cap="none" spc="0">
                        <a:solidFill>
                          <a:schemeClr val="tx1"/>
                        </a:solidFill>
                        <a:effectLst/>
                        <a:latin typeface="Aptos Display" panose="020B0004020202020204" pitchFamily="34" charset="0"/>
                      </a:endParaRPr>
                    </a:p>
                  </a:txBody>
                  <a:tcPr marL="59647" marR="4779" marT="45882" marB="45882" anchor="ctr">
                    <a:lnL w="12700" cmpd="sng">
                      <a:noFill/>
                      <a:prstDash val="soli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</a:lnR>
                    <a:lnT w="12700" cmpd="sng">
                      <a:noFill/>
                      <a:prstDash val="soli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200" b="0" i="0" u="none" strike="noStrike" cap="none" spc="0">
                        <a:solidFill>
                          <a:schemeClr val="tx1"/>
                        </a:solidFill>
                        <a:effectLst/>
                        <a:latin typeface="Aptos Display" panose="020B0004020202020204" pitchFamily="34" charset="0"/>
                      </a:endParaRPr>
                    </a:p>
                  </a:txBody>
                  <a:tcPr marL="59647" marR="4779" marT="45882" marB="45882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</a:lnR>
                    <a:lnT w="12700" cmpd="sng">
                      <a:noFill/>
                      <a:prstDash val="soli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200" b="0" i="0" u="none" strike="noStrike" cap="none" spc="0" dirty="0">
                        <a:solidFill>
                          <a:schemeClr val="tx1"/>
                        </a:solidFill>
                        <a:effectLst/>
                        <a:latin typeface="Aptos Display" panose="020B0004020202020204" pitchFamily="34" charset="0"/>
                      </a:endParaRPr>
                    </a:p>
                  </a:txBody>
                  <a:tcPr marL="59647" marR="4779" marT="45882" marB="45882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</a:lnR>
                    <a:lnT w="12700" cmpd="sng">
                      <a:noFill/>
                      <a:prstDash val="soli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</a:lnB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200" b="0" i="0" u="none" strike="noStrike" cap="none" spc="0" dirty="0">
                        <a:solidFill>
                          <a:schemeClr val="tx1"/>
                        </a:solidFill>
                        <a:effectLst/>
                        <a:latin typeface="Aptos Display" panose="020B0004020202020204" pitchFamily="34" charset="0"/>
                      </a:endParaRPr>
                    </a:p>
                  </a:txBody>
                  <a:tcPr marL="59647" marR="4779" marT="45882" marB="45882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</a:lnR>
                    <a:lnT w="12700" cmpd="sng">
                      <a:noFill/>
                      <a:prstDash val="soli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200" b="0" i="0" u="none" strike="noStrike" cap="none" spc="0" dirty="0">
                        <a:solidFill>
                          <a:schemeClr val="tx1"/>
                        </a:solidFill>
                        <a:effectLst/>
                        <a:latin typeface="Aptos Display" panose="020B0004020202020204" pitchFamily="34" charset="0"/>
                      </a:endParaRPr>
                    </a:p>
                  </a:txBody>
                  <a:tcPr marL="59647" marR="4779" marT="45882" marB="45882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</a:lnR>
                    <a:lnT w="12700" cmpd="sng">
                      <a:noFill/>
                      <a:prstDash val="soli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200" b="0" i="0" u="none" strike="noStrike" cap="none" spc="0" dirty="0">
                        <a:solidFill>
                          <a:schemeClr val="tx1"/>
                        </a:solidFill>
                        <a:effectLst/>
                        <a:latin typeface="Aptos Display" panose="020B0004020202020204" pitchFamily="34" charset="0"/>
                      </a:endParaRPr>
                    </a:p>
                  </a:txBody>
                  <a:tcPr marL="59647" marR="4779" marT="45882" marB="45882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</a:lnR>
                    <a:lnT w="12700" cmpd="sng">
                      <a:noFill/>
                      <a:prstDash val="soli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200" b="0" i="0" u="none" strike="noStrike" cap="none" spc="0" dirty="0">
                        <a:solidFill>
                          <a:schemeClr val="tx1"/>
                        </a:solidFill>
                        <a:effectLst/>
                        <a:latin typeface="Aptos Display" panose="020B0004020202020204" pitchFamily="34" charset="0"/>
                      </a:endParaRPr>
                    </a:p>
                  </a:txBody>
                  <a:tcPr marL="59647" marR="4779" marT="45882" marB="45882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  <a:prstDash val="soli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200" b="0" i="0" u="none" strike="noStrike" cap="none" spc="0" dirty="0">
                        <a:solidFill>
                          <a:schemeClr val="tx1"/>
                        </a:solidFill>
                        <a:effectLst/>
                        <a:latin typeface="Aptos Display" panose="020B0004020202020204" pitchFamily="34" charset="0"/>
                      </a:endParaRPr>
                    </a:p>
                  </a:txBody>
                  <a:tcPr marL="59647" marR="4779" marT="45882" marB="45882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</a:lnR>
                    <a:lnT w="12700" cmpd="sng">
                      <a:noFill/>
                      <a:prstDash val="soli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12007081"/>
                  </a:ext>
                </a:extLst>
              </a:tr>
              <a:tr h="390400">
                <a:tc rowSpan="4">
                  <a:txBody>
                    <a:bodyPr/>
                    <a:lstStyle/>
                    <a:p>
                      <a:pPr algn="ctr" fontAlgn="ctr"/>
                      <a:r>
                        <a:rPr lang="en-IN" sz="1200" u="none" strike="noStrike" cap="none" spc="0">
                          <a:solidFill>
                            <a:schemeClr val="tx1"/>
                          </a:solidFill>
                          <a:effectLst/>
                          <a:latin typeface="Aptos Display" panose="020B0004020202020204" pitchFamily="34" charset="0"/>
                        </a:rPr>
                        <a:t>Thickness</a:t>
                      </a:r>
                      <a:endParaRPr lang="en-IN" sz="1200" b="0" i="0" u="none" strike="noStrike" cap="none" spc="0">
                        <a:solidFill>
                          <a:schemeClr val="tx1"/>
                        </a:solidFill>
                        <a:effectLst/>
                        <a:latin typeface="Aptos Display" panose="020B0004020202020204" pitchFamily="34" charset="0"/>
                      </a:endParaRPr>
                    </a:p>
                  </a:txBody>
                  <a:tcPr marL="59647" marR="4779" marT="45882" marB="45882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u="none" strike="noStrike" cap="none" spc="0">
                          <a:solidFill>
                            <a:schemeClr val="tx1"/>
                          </a:solidFill>
                          <a:effectLst/>
                          <a:latin typeface="Aptos Display" panose="020B0004020202020204" pitchFamily="34" charset="0"/>
                        </a:rPr>
                        <a:t>Bare Al foil (um)</a:t>
                      </a:r>
                      <a:endParaRPr lang="en-IN" sz="1200" b="0" i="0" u="none" strike="noStrike" cap="none" spc="0">
                        <a:solidFill>
                          <a:schemeClr val="tx1"/>
                        </a:solidFill>
                        <a:effectLst/>
                        <a:latin typeface="Aptos Display" panose="020B0004020202020204" pitchFamily="34" charset="0"/>
                      </a:endParaRPr>
                    </a:p>
                  </a:txBody>
                  <a:tcPr marL="59647" marR="4779" marT="45882" marB="45882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</a:lnT>
                    <a:lnB w="12700" cmpd="sng">
                      <a:noFill/>
                      <a:prstDash val="soli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200" b="0" i="0" u="none" strike="noStrike" cap="none" spc="0">
                        <a:solidFill>
                          <a:schemeClr val="tx1"/>
                        </a:solidFill>
                        <a:effectLst/>
                        <a:latin typeface="Aptos Display" panose="020B0004020202020204" pitchFamily="34" charset="0"/>
                      </a:endParaRPr>
                    </a:p>
                  </a:txBody>
                  <a:tcPr marL="59647" marR="4779" marT="45882" marB="45882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</a:lnT>
                    <a:lnB w="12700" cmpd="sng">
                      <a:noFill/>
                      <a:prstDash val="soli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200" b="0" i="0" u="none" strike="noStrike" cap="none" spc="0">
                        <a:solidFill>
                          <a:schemeClr val="tx1"/>
                        </a:solidFill>
                        <a:effectLst/>
                        <a:latin typeface="Aptos Display" panose="020B0004020202020204" pitchFamily="34" charset="0"/>
                      </a:endParaRPr>
                    </a:p>
                  </a:txBody>
                  <a:tcPr marL="59647" marR="4779" marT="45882" marB="45882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</a:lnT>
                    <a:lnB w="12700" cmpd="sng">
                      <a:noFill/>
                      <a:prstDash val="solid"/>
                    </a:lnB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200" b="0" i="0" u="none" strike="noStrike" cap="none" spc="0">
                        <a:solidFill>
                          <a:schemeClr val="tx1"/>
                        </a:solidFill>
                        <a:effectLst/>
                        <a:latin typeface="Aptos Display" panose="020B0004020202020204" pitchFamily="34" charset="0"/>
                      </a:endParaRPr>
                    </a:p>
                  </a:txBody>
                  <a:tcPr marL="59647" marR="4779" marT="45882" marB="45882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</a:lnT>
                    <a:lnB w="12700" cmpd="sng">
                      <a:noFill/>
                      <a:prstDash val="soli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200" b="0" i="0" u="none" strike="noStrike" cap="none" spc="0">
                        <a:solidFill>
                          <a:schemeClr val="tx1"/>
                        </a:solidFill>
                        <a:effectLst/>
                        <a:latin typeface="Aptos Display" panose="020B0004020202020204" pitchFamily="34" charset="0"/>
                      </a:endParaRPr>
                    </a:p>
                  </a:txBody>
                  <a:tcPr marL="59647" marR="4779" marT="45882" marB="45882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</a:lnT>
                    <a:lnB w="12700" cmpd="sng">
                      <a:noFill/>
                      <a:prstDash val="soli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200" b="0" i="0" u="none" strike="noStrike" cap="none" spc="0">
                        <a:solidFill>
                          <a:schemeClr val="tx1"/>
                        </a:solidFill>
                        <a:effectLst/>
                        <a:latin typeface="Aptos Display" panose="020B0004020202020204" pitchFamily="34" charset="0"/>
                      </a:endParaRPr>
                    </a:p>
                  </a:txBody>
                  <a:tcPr marL="59647" marR="4779" marT="45882" marB="45882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</a:lnT>
                    <a:lnB w="12700" cmpd="sng">
                      <a:noFill/>
                      <a:prstDash val="soli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200" b="0" i="0" u="none" strike="noStrike" cap="none" spc="0">
                        <a:solidFill>
                          <a:schemeClr val="tx1"/>
                        </a:solidFill>
                        <a:effectLst/>
                        <a:latin typeface="Aptos Display" panose="020B0004020202020204" pitchFamily="34" charset="0"/>
                      </a:endParaRPr>
                    </a:p>
                  </a:txBody>
                  <a:tcPr marL="59647" marR="4779" marT="45882" marB="45882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  <a:prstDash val="soli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200" b="0" i="0" u="none" strike="noStrike" cap="none" spc="0" dirty="0">
                        <a:solidFill>
                          <a:schemeClr val="tx1"/>
                        </a:solidFill>
                        <a:effectLst/>
                        <a:latin typeface="Aptos Display" panose="020B0004020202020204" pitchFamily="34" charset="0"/>
                      </a:endParaRPr>
                    </a:p>
                  </a:txBody>
                  <a:tcPr marL="59647" marR="4779" marT="45882" marB="45882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</a:lnL>
                    <a:lnR w="12700" cmpd="sng">
                      <a:noFill/>
                      <a:prstDash val="soli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  <a:prstDash val="soli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19190114"/>
                  </a:ext>
                </a:extLst>
              </a:tr>
              <a:tr h="390400">
                <a:tc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u="none" strike="noStrike" cap="none" spc="0">
                          <a:solidFill>
                            <a:schemeClr val="tx1"/>
                          </a:solidFill>
                          <a:effectLst/>
                          <a:latin typeface="Aptos Display" panose="020B0004020202020204" pitchFamily="34" charset="0"/>
                        </a:rPr>
                        <a:t>A-side (w/o Al)</a:t>
                      </a:r>
                      <a:endParaRPr lang="en-IN" sz="1200" b="0" i="0" u="none" strike="noStrike" cap="none" spc="0">
                        <a:solidFill>
                          <a:schemeClr val="tx1"/>
                        </a:solidFill>
                        <a:effectLst/>
                        <a:latin typeface="Aptos Display" panose="020B0004020202020204" pitchFamily="34" charset="0"/>
                      </a:endParaRPr>
                    </a:p>
                  </a:txBody>
                  <a:tcPr marL="59647" marR="4779" marT="45882" marB="45882" anchor="ctr">
                    <a:lnL w="12700" cmpd="sng">
                      <a:noFill/>
                      <a:prstDash val="soli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</a:lnR>
                    <a:lnT w="12700" cmpd="sng">
                      <a:noFill/>
                      <a:prstDash val="soli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200" b="0" i="0" u="none" strike="noStrike" cap="none" spc="0">
                        <a:solidFill>
                          <a:schemeClr val="tx1"/>
                        </a:solidFill>
                        <a:effectLst/>
                        <a:latin typeface="Aptos Display" panose="020B0004020202020204" pitchFamily="34" charset="0"/>
                      </a:endParaRPr>
                    </a:p>
                  </a:txBody>
                  <a:tcPr marL="59647" marR="4779" marT="45882" marB="45882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</a:lnR>
                    <a:lnT w="12700" cmpd="sng">
                      <a:noFill/>
                      <a:prstDash val="soli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200" b="0" i="0" u="none" strike="noStrike" cap="none" spc="0" dirty="0">
                        <a:solidFill>
                          <a:schemeClr val="tx1"/>
                        </a:solidFill>
                        <a:effectLst/>
                        <a:latin typeface="Aptos Display" panose="020B0004020202020204" pitchFamily="34" charset="0"/>
                      </a:endParaRPr>
                    </a:p>
                  </a:txBody>
                  <a:tcPr marL="59647" marR="4779" marT="45882" marB="45882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</a:lnR>
                    <a:lnT w="12700" cmpd="sng">
                      <a:noFill/>
                      <a:prstDash val="soli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</a:lnB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200" b="0" i="0" u="none" strike="noStrike" cap="none" spc="0">
                        <a:solidFill>
                          <a:schemeClr val="tx1"/>
                        </a:solidFill>
                        <a:effectLst/>
                        <a:latin typeface="Aptos Display" panose="020B0004020202020204" pitchFamily="34" charset="0"/>
                      </a:endParaRPr>
                    </a:p>
                  </a:txBody>
                  <a:tcPr marL="59647" marR="4779" marT="45882" marB="45882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</a:lnR>
                    <a:lnT w="12700" cmpd="sng">
                      <a:noFill/>
                      <a:prstDash val="soli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200" b="0" i="0" u="none" strike="noStrike" cap="none" spc="0">
                        <a:solidFill>
                          <a:schemeClr val="tx1"/>
                        </a:solidFill>
                        <a:effectLst/>
                        <a:latin typeface="Aptos Display" panose="020B0004020202020204" pitchFamily="34" charset="0"/>
                      </a:endParaRPr>
                    </a:p>
                  </a:txBody>
                  <a:tcPr marL="59647" marR="4779" marT="45882" marB="45882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</a:lnR>
                    <a:lnT w="12700" cmpd="sng">
                      <a:noFill/>
                      <a:prstDash val="soli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200" b="0" i="0" u="none" strike="noStrike" cap="none" spc="0">
                        <a:solidFill>
                          <a:schemeClr val="tx1"/>
                        </a:solidFill>
                        <a:effectLst/>
                        <a:latin typeface="Aptos Display" panose="020B0004020202020204" pitchFamily="34" charset="0"/>
                      </a:endParaRPr>
                    </a:p>
                  </a:txBody>
                  <a:tcPr marL="59647" marR="4779" marT="45882" marB="45882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</a:lnR>
                    <a:lnT w="12700" cmpd="sng">
                      <a:noFill/>
                      <a:prstDash val="soli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200" b="0" i="0" u="none" strike="noStrike" cap="none" spc="0" dirty="0">
                        <a:solidFill>
                          <a:schemeClr val="tx1"/>
                        </a:solidFill>
                        <a:effectLst/>
                        <a:latin typeface="Aptos Display" panose="020B0004020202020204" pitchFamily="34" charset="0"/>
                      </a:endParaRPr>
                    </a:p>
                  </a:txBody>
                  <a:tcPr marL="59647" marR="4779" marT="45882" marB="45882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  <a:prstDash val="soli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200" b="0" i="0" u="none" strike="noStrike" cap="none" spc="0" dirty="0">
                        <a:solidFill>
                          <a:schemeClr val="tx1"/>
                        </a:solidFill>
                        <a:effectLst/>
                        <a:latin typeface="Aptos Display" panose="020B0004020202020204" pitchFamily="34" charset="0"/>
                      </a:endParaRPr>
                    </a:p>
                  </a:txBody>
                  <a:tcPr marL="59647" marR="4779" marT="45882" marB="45882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</a:lnR>
                    <a:lnT w="12700" cmpd="sng">
                      <a:noFill/>
                      <a:prstDash val="soli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16706424"/>
                  </a:ext>
                </a:extLst>
              </a:tr>
              <a:tr h="390400">
                <a:tc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u="none" strike="noStrike" cap="none" spc="0">
                          <a:solidFill>
                            <a:schemeClr val="tx1"/>
                          </a:solidFill>
                          <a:effectLst/>
                          <a:latin typeface="Aptos Display" panose="020B0004020202020204" pitchFamily="34" charset="0"/>
                        </a:rPr>
                        <a:t>B-side (w/o Al)</a:t>
                      </a:r>
                      <a:endParaRPr lang="en-IN" sz="1200" b="0" i="0" u="none" strike="noStrike" cap="none" spc="0">
                        <a:solidFill>
                          <a:schemeClr val="tx1"/>
                        </a:solidFill>
                        <a:effectLst/>
                        <a:latin typeface="Aptos Display" panose="020B0004020202020204" pitchFamily="34" charset="0"/>
                      </a:endParaRPr>
                    </a:p>
                  </a:txBody>
                  <a:tcPr marL="59647" marR="4779" marT="45882" marB="45882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</a:lnT>
                    <a:lnB w="12700" cmpd="sng">
                      <a:noFill/>
                      <a:prstDash val="soli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200" b="0" i="0" u="none" strike="noStrike" cap="none" spc="0">
                        <a:solidFill>
                          <a:schemeClr val="tx1"/>
                        </a:solidFill>
                        <a:effectLst/>
                        <a:latin typeface="Aptos Display" panose="020B0004020202020204" pitchFamily="34" charset="0"/>
                      </a:endParaRPr>
                    </a:p>
                  </a:txBody>
                  <a:tcPr marL="59647" marR="4779" marT="45882" marB="45882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</a:lnT>
                    <a:lnB w="12700" cmpd="sng">
                      <a:noFill/>
                      <a:prstDash val="soli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200" b="0" i="0" u="none" strike="noStrike" cap="none" spc="0" dirty="0">
                        <a:solidFill>
                          <a:schemeClr val="tx1"/>
                        </a:solidFill>
                        <a:effectLst/>
                        <a:latin typeface="Aptos Display" panose="020B0004020202020204" pitchFamily="34" charset="0"/>
                      </a:endParaRPr>
                    </a:p>
                  </a:txBody>
                  <a:tcPr marL="59647" marR="4779" marT="45882" marB="45882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</a:lnT>
                    <a:lnB w="12700" cmpd="sng">
                      <a:noFill/>
                      <a:prstDash val="solid"/>
                    </a:lnB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200" b="0" i="0" u="none" strike="noStrike" cap="none" spc="0">
                        <a:solidFill>
                          <a:schemeClr val="tx1"/>
                        </a:solidFill>
                        <a:effectLst/>
                        <a:latin typeface="Aptos Display" panose="020B0004020202020204" pitchFamily="34" charset="0"/>
                      </a:endParaRPr>
                    </a:p>
                  </a:txBody>
                  <a:tcPr marL="59647" marR="4779" marT="45882" marB="45882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</a:lnT>
                    <a:lnB w="12700" cmpd="sng">
                      <a:noFill/>
                      <a:prstDash val="soli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200" b="0" i="0" u="none" strike="noStrike" cap="none" spc="0" dirty="0">
                        <a:solidFill>
                          <a:schemeClr val="tx1"/>
                        </a:solidFill>
                        <a:effectLst/>
                        <a:latin typeface="Aptos Display" panose="020B0004020202020204" pitchFamily="34" charset="0"/>
                      </a:endParaRPr>
                    </a:p>
                  </a:txBody>
                  <a:tcPr marL="59647" marR="4779" marT="45882" marB="45882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</a:lnT>
                    <a:lnB w="12700" cmpd="sng">
                      <a:noFill/>
                      <a:prstDash val="soli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200" b="0" i="0" u="none" strike="noStrike" cap="none" spc="0">
                        <a:solidFill>
                          <a:schemeClr val="tx1"/>
                        </a:solidFill>
                        <a:effectLst/>
                        <a:latin typeface="Aptos Display" panose="020B0004020202020204" pitchFamily="34" charset="0"/>
                      </a:endParaRPr>
                    </a:p>
                  </a:txBody>
                  <a:tcPr marL="59647" marR="4779" marT="45882" marB="45882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</a:lnT>
                    <a:lnB w="12700" cmpd="sng">
                      <a:noFill/>
                      <a:prstDash val="soli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200" b="0" i="0" u="none" strike="noStrike" cap="none" spc="0" dirty="0">
                        <a:solidFill>
                          <a:schemeClr val="tx1"/>
                        </a:solidFill>
                        <a:effectLst/>
                        <a:latin typeface="Aptos Display" panose="020B0004020202020204" pitchFamily="34" charset="0"/>
                      </a:endParaRPr>
                    </a:p>
                  </a:txBody>
                  <a:tcPr marL="59647" marR="4779" marT="45882" marB="45882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  <a:prstDash val="soli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200" b="0" i="0" u="none" strike="noStrike" cap="none" spc="0" dirty="0">
                        <a:solidFill>
                          <a:schemeClr val="tx1"/>
                        </a:solidFill>
                        <a:effectLst/>
                        <a:latin typeface="Aptos Display" panose="020B0004020202020204" pitchFamily="34" charset="0"/>
                      </a:endParaRPr>
                    </a:p>
                  </a:txBody>
                  <a:tcPr marL="59647" marR="4779" marT="45882" marB="45882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</a:lnL>
                    <a:lnR w="12700" cmpd="sng">
                      <a:noFill/>
                      <a:prstDash val="soli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  <a:prstDash val="soli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4009688"/>
                  </a:ext>
                </a:extLst>
              </a:tr>
              <a:tr h="390400">
                <a:tc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u="none" strike="noStrike" cap="none" spc="0">
                          <a:solidFill>
                            <a:schemeClr val="tx1"/>
                          </a:solidFill>
                          <a:effectLst/>
                          <a:latin typeface="Aptos Display" panose="020B0004020202020204" pitchFamily="34" charset="0"/>
                        </a:rPr>
                        <a:t>Total </a:t>
                      </a:r>
                      <a:endParaRPr lang="en-IN" sz="1200" b="0" i="0" u="none" strike="noStrike" cap="none" spc="0">
                        <a:solidFill>
                          <a:schemeClr val="tx1"/>
                        </a:solidFill>
                        <a:effectLst/>
                        <a:latin typeface="Aptos Display" panose="020B0004020202020204" pitchFamily="34" charset="0"/>
                      </a:endParaRPr>
                    </a:p>
                  </a:txBody>
                  <a:tcPr marL="59647" marR="4779" marT="45882" marB="45882" anchor="ctr">
                    <a:lnL w="12700" cmpd="sng">
                      <a:noFill/>
                      <a:prstDash val="soli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</a:lnR>
                    <a:lnT w="12700" cmpd="sng">
                      <a:noFill/>
                      <a:prstDash val="soli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200" b="0" i="0" u="none" strike="noStrike" cap="none" spc="0">
                        <a:solidFill>
                          <a:schemeClr val="tx1"/>
                        </a:solidFill>
                        <a:effectLst/>
                        <a:latin typeface="Aptos Display" panose="020B0004020202020204" pitchFamily="34" charset="0"/>
                      </a:endParaRPr>
                    </a:p>
                  </a:txBody>
                  <a:tcPr marL="59647" marR="4779" marT="45882" marB="45882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</a:lnR>
                    <a:lnT w="12700" cmpd="sng">
                      <a:noFill/>
                      <a:prstDash val="soli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200" b="0" i="0" u="none" strike="noStrike" cap="none" spc="0" dirty="0">
                        <a:solidFill>
                          <a:schemeClr val="tx1"/>
                        </a:solidFill>
                        <a:effectLst/>
                        <a:latin typeface="Aptos Display" panose="020B0004020202020204" pitchFamily="34" charset="0"/>
                      </a:endParaRPr>
                    </a:p>
                  </a:txBody>
                  <a:tcPr marL="59647" marR="4779" marT="45882" marB="45882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</a:lnR>
                    <a:lnT w="12700" cmpd="sng">
                      <a:noFill/>
                      <a:prstDash val="soli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</a:lnB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200" b="0" i="0" u="none" strike="noStrike" cap="none" spc="0">
                        <a:solidFill>
                          <a:schemeClr val="tx1"/>
                        </a:solidFill>
                        <a:effectLst/>
                        <a:latin typeface="Aptos Display" panose="020B0004020202020204" pitchFamily="34" charset="0"/>
                      </a:endParaRPr>
                    </a:p>
                  </a:txBody>
                  <a:tcPr marL="59647" marR="4779" marT="45882" marB="45882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</a:lnR>
                    <a:lnT w="12700" cmpd="sng">
                      <a:noFill/>
                      <a:prstDash val="soli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200" b="0" i="0" u="none" strike="noStrike" cap="none" spc="0">
                        <a:solidFill>
                          <a:schemeClr val="tx1"/>
                        </a:solidFill>
                        <a:effectLst/>
                        <a:latin typeface="Aptos Display" panose="020B0004020202020204" pitchFamily="34" charset="0"/>
                      </a:endParaRPr>
                    </a:p>
                  </a:txBody>
                  <a:tcPr marL="59647" marR="4779" marT="45882" marB="45882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</a:lnR>
                    <a:lnT w="12700" cmpd="sng">
                      <a:noFill/>
                      <a:prstDash val="soli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200" b="0" i="0" u="none" strike="noStrike" cap="none" spc="0">
                        <a:solidFill>
                          <a:schemeClr val="tx1"/>
                        </a:solidFill>
                        <a:effectLst/>
                        <a:latin typeface="Aptos Display" panose="020B0004020202020204" pitchFamily="34" charset="0"/>
                      </a:endParaRPr>
                    </a:p>
                  </a:txBody>
                  <a:tcPr marL="59647" marR="4779" marT="45882" marB="45882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</a:lnR>
                    <a:lnT w="12700" cmpd="sng">
                      <a:noFill/>
                      <a:prstDash val="soli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200" b="0" i="0" u="none" strike="noStrike" cap="none" spc="0" dirty="0">
                        <a:solidFill>
                          <a:schemeClr val="tx1"/>
                        </a:solidFill>
                        <a:effectLst/>
                        <a:latin typeface="Aptos Display" panose="020B0004020202020204" pitchFamily="34" charset="0"/>
                      </a:endParaRPr>
                    </a:p>
                  </a:txBody>
                  <a:tcPr marL="59647" marR="4779" marT="45882" marB="45882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  <a:prstDash val="soli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200" b="0" i="0" u="none" strike="noStrike" cap="none" spc="0" dirty="0">
                        <a:solidFill>
                          <a:schemeClr val="tx1"/>
                        </a:solidFill>
                        <a:effectLst/>
                        <a:latin typeface="Aptos Display" panose="020B0004020202020204" pitchFamily="34" charset="0"/>
                      </a:endParaRPr>
                    </a:p>
                  </a:txBody>
                  <a:tcPr marL="59647" marR="4779" marT="45882" marB="45882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</a:lnR>
                    <a:lnT w="12700" cmpd="sng">
                      <a:noFill/>
                      <a:prstDash val="soli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04672989"/>
                  </a:ext>
                </a:extLst>
              </a:tr>
              <a:tr h="390400">
                <a:tc rowSpan="4">
                  <a:txBody>
                    <a:bodyPr/>
                    <a:lstStyle/>
                    <a:p>
                      <a:pPr algn="ctr" fontAlgn="ctr"/>
                      <a:r>
                        <a:rPr lang="en-IN" sz="1200" u="none" strike="noStrike" cap="none" spc="0">
                          <a:solidFill>
                            <a:schemeClr val="tx1"/>
                          </a:solidFill>
                          <a:effectLst/>
                          <a:latin typeface="Aptos Display" panose="020B0004020202020204" pitchFamily="34" charset="0"/>
                        </a:rPr>
                        <a:t>Areal density (mg/cm2)</a:t>
                      </a:r>
                      <a:endParaRPr lang="en-IN" sz="1200" b="0" i="0" u="none" strike="noStrike" cap="none" spc="0">
                        <a:solidFill>
                          <a:schemeClr val="tx1"/>
                        </a:solidFill>
                        <a:effectLst/>
                        <a:latin typeface="Aptos Display" panose="020B0004020202020204" pitchFamily="34" charset="0"/>
                      </a:endParaRPr>
                    </a:p>
                  </a:txBody>
                  <a:tcPr marL="59647" marR="4779" marT="45882" marB="45882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</a:lnT>
                    <a:lnB w="12700" cmpd="sng">
                      <a:noFill/>
                      <a:prstDash val="soli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u="none" strike="noStrike" cap="none" spc="0">
                          <a:solidFill>
                            <a:schemeClr val="tx1"/>
                          </a:solidFill>
                          <a:effectLst/>
                          <a:latin typeface="Aptos Display" panose="020B0004020202020204" pitchFamily="34" charset="0"/>
                        </a:rPr>
                        <a:t>Bare Al foil </a:t>
                      </a:r>
                      <a:endParaRPr lang="en-IN" sz="1200" b="0" i="0" u="none" strike="noStrike" cap="none" spc="0">
                        <a:solidFill>
                          <a:schemeClr val="tx1"/>
                        </a:solidFill>
                        <a:effectLst/>
                        <a:latin typeface="Aptos Display" panose="020B0004020202020204" pitchFamily="34" charset="0"/>
                      </a:endParaRPr>
                    </a:p>
                  </a:txBody>
                  <a:tcPr marL="59647" marR="4779" marT="45882" marB="45882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</a:lnT>
                    <a:lnB w="12700" cmpd="sng">
                      <a:noFill/>
                      <a:prstDash val="soli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200" b="0" i="0" u="none" strike="noStrike" cap="none" spc="0">
                        <a:solidFill>
                          <a:schemeClr val="tx1"/>
                        </a:solidFill>
                        <a:effectLst/>
                        <a:latin typeface="Aptos Display" panose="020B0004020202020204" pitchFamily="34" charset="0"/>
                      </a:endParaRPr>
                    </a:p>
                  </a:txBody>
                  <a:tcPr marL="59647" marR="4779" marT="45882" marB="45882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</a:lnT>
                    <a:lnB w="12700" cmpd="sng">
                      <a:noFill/>
                      <a:prstDash val="soli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200" b="0" i="0" u="none" strike="noStrike" cap="none" spc="0" dirty="0">
                        <a:solidFill>
                          <a:schemeClr val="tx1"/>
                        </a:solidFill>
                        <a:effectLst/>
                        <a:latin typeface="Aptos Display" panose="020B0004020202020204" pitchFamily="34" charset="0"/>
                      </a:endParaRPr>
                    </a:p>
                  </a:txBody>
                  <a:tcPr marL="59647" marR="4779" marT="45882" marB="45882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</a:lnT>
                    <a:lnB w="12700" cmpd="sng">
                      <a:noFill/>
                      <a:prstDash val="solid"/>
                    </a:lnB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200" b="0" i="0" u="none" strike="noStrike" cap="none" spc="0">
                        <a:solidFill>
                          <a:schemeClr val="tx1"/>
                        </a:solidFill>
                        <a:effectLst/>
                        <a:latin typeface="Aptos Display" panose="020B0004020202020204" pitchFamily="34" charset="0"/>
                      </a:endParaRPr>
                    </a:p>
                  </a:txBody>
                  <a:tcPr marL="59647" marR="4779" marT="45882" marB="45882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</a:lnT>
                    <a:lnB w="12700" cmpd="sng">
                      <a:noFill/>
                      <a:prstDash val="soli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200" b="0" i="0" u="none" strike="noStrike" cap="none" spc="0" baseline="0">
                        <a:solidFill>
                          <a:schemeClr val="tx1"/>
                        </a:solidFill>
                        <a:effectLst/>
                        <a:latin typeface="Aptos Display" panose="020B0004020202020204" pitchFamily="34" charset="0"/>
                      </a:endParaRPr>
                    </a:p>
                  </a:txBody>
                  <a:tcPr marL="59647" marR="4779" marT="45882" marB="45882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</a:lnT>
                    <a:lnB w="12700" cmpd="sng">
                      <a:noFill/>
                      <a:prstDash val="soli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200" b="0" i="0" u="none" strike="noStrike" cap="none" spc="0">
                        <a:solidFill>
                          <a:schemeClr val="tx1"/>
                        </a:solidFill>
                        <a:effectLst/>
                        <a:latin typeface="Aptos Display" panose="020B0004020202020204" pitchFamily="34" charset="0"/>
                      </a:endParaRPr>
                    </a:p>
                  </a:txBody>
                  <a:tcPr marL="59647" marR="4779" marT="45882" marB="45882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</a:lnT>
                    <a:lnB w="12700" cmpd="sng">
                      <a:noFill/>
                      <a:prstDash val="soli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200" b="0" i="0" u="none" strike="noStrike" cap="none" spc="0" dirty="0">
                        <a:solidFill>
                          <a:schemeClr val="tx1"/>
                        </a:solidFill>
                        <a:effectLst/>
                        <a:latin typeface="Aptos Display" panose="020B0004020202020204" pitchFamily="34" charset="0"/>
                      </a:endParaRPr>
                    </a:p>
                  </a:txBody>
                  <a:tcPr marL="59647" marR="4779" marT="45882" marB="45882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  <a:prstDash val="soli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200" b="0" i="0" u="none" strike="noStrike" cap="none" spc="0" dirty="0">
                        <a:solidFill>
                          <a:schemeClr val="tx1"/>
                        </a:solidFill>
                        <a:effectLst/>
                        <a:latin typeface="Aptos Display" panose="020B0004020202020204" pitchFamily="34" charset="0"/>
                      </a:endParaRPr>
                    </a:p>
                  </a:txBody>
                  <a:tcPr marL="59647" marR="4779" marT="45882" marB="45882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</a:lnL>
                    <a:lnR w="12700" cmpd="sng">
                      <a:noFill/>
                      <a:prstDash val="soli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  <a:prstDash val="soli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06583729"/>
                  </a:ext>
                </a:extLst>
              </a:tr>
              <a:tr h="390400">
                <a:tc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u="none" strike="noStrike" cap="none" spc="0">
                          <a:solidFill>
                            <a:schemeClr val="tx1"/>
                          </a:solidFill>
                          <a:effectLst/>
                          <a:latin typeface="Aptos Display" panose="020B0004020202020204" pitchFamily="34" charset="0"/>
                        </a:rPr>
                        <a:t>A-Side (w/o Al)</a:t>
                      </a:r>
                      <a:endParaRPr lang="en-IN" sz="1200" b="0" i="0" u="none" strike="noStrike" cap="none" spc="0">
                        <a:solidFill>
                          <a:schemeClr val="tx1"/>
                        </a:solidFill>
                        <a:effectLst/>
                        <a:latin typeface="Aptos Display" panose="020B0004020202020204" pitchFamily="34" charset="0"/>
                      </a:endParaRPr>
                    </a:p>
                  </a:txBody>
                  <a:tcPr marL="59647" marR="4779" marT="45882" marB="45882" anchor="ctr">
                    <a:lnL w="12700" cmpd="sng">
                      <a:noFill/>
                      <a:prstDash val="soli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</a:lnR>
                    <a:lnT w="12700" cmpd="sng">
                      <a:noFill/>
                      <a:prstDash val="soli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200" b="0" i="0" u="none" strike="noStrike" cap="none" spc="0">
                        <a:solidFill>
                          <a:schemeClr val="tx1"/>
                        </a:solidFill>
                        <a:effectLst/>
                        <a:latin typeface="Aptos Display" panose="020B0004020202020204" pitchFamily="34" charset="0"/>
                      </a:endParaRPr>
                    </a:p>
                  </a:txBody>
                  <a:tcPr marL="59647" marR="4779" marT="45882" marB="45882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</a:lnR>
                    <a:lnT w="12700" cmpd="sng">
                      <a:noFill/>
                      <a:prstDash val="soli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200" b="0" i="0" u="none" strike="noStrike" cap="none" spc="0" dirty="0">
                        <a:solidFill>
                          <a:schemeClr val="tx1"/>
                        </a:solidFill>
                        <a:effectLst/>
                        <a:latin typeface="Aptos Display" panose="020B0004020202020204" pitchFamily="34" charset="0"/>
                      </a:endParaRPr>
                    </a:p>
                  </a:txBody>
                  <a:tcPr marL="59647" marR="4779" marT="45882" marB="45882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</a:lnR>
                    <a:lnT w="12700" cmpd="sng">
                      <a:noFill/>
                      <a:prstDash val="soli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</a:lnB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200" b="0" i="0" u="none" strike="noStrike" cap="none" spc="0">
                        <a:solidFill>
                          <a:schemeClr val="tx1"/>
                        </a:solidFill>
                        <a:effectLst/>
                        <a:latin typeface="Aptos Display" panose="020B0004020202020204" pitchFamily="34" charset="0"/>
                      </a:endParaRPr>
                    </a:p>
                  </a:txBody>
                  <a:tcPr marL="59647" marR="4779" marT="45882" marB="45882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</a:lnR>
                    <a:lnT w="12700" cmpd="sng">
                      <a:noFill/>
                      <a:prstDash val="soli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200" b="0" i="0" u="none" strike="noStrike" cap="none" spc="0" dirty="0">
                        <a:solidFill>
                          <a:schemeClr val="tx1"/>
                        </a:solidFill>
                        <a:effectLst/>
                        <a:latin typeface="Aptos Display" panose="020B0004020202020204" pitchFamily="34" charset="0"/>
                      </a:endParaRPr>
                    </a:p>
                  </a:txBody>
                  <a:tcPr marL="59647" marR="4779" marT="45882" marB="45882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</a:lnR>
                    <a:lnT w="12700" cmpd="sng">
                      <a:noFill/>
                      <a:prstDash val="soli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200" b="0" i="0" u="none" strike="noStrike" cap="none" spc="0">
                        <a:solidFill>
                          <a:schemeClr val="tx1"/>
                        </a:solidFill>
                        <a:effectLst/>
                        <a:latin typeface="Aptos Display" panose="020B0004020202020204" pitchFamily="34" charset="0"/>
                      </a:endParaRPr>
                    </a:p>
                  </a:txBody>
                  <a:tcPr marL="59647" marR="4779" marT="45882" marB="45882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</a:lnR>
                    <a:lnT w="12700" cmpd="sng">
                      <a:noFill/>
                      <a:prstDash val="soli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200" b="0" i="0" u="none" strike="noStrike" cap="none" spc="0" dirty="0">
                        <a:solidFill>
                          <a:schemeClr val="tx1"/>
                        </a:solidFill>
                        <a:effectLst/>
                        <a:latin typeface="Aptos Display" panose="020B0004020202020204" pitchFamily="34" charset="0"/>
                      </a:endParaRPr>
                    </a:p>
                  </a:txBody>
                  <a:tcPr marL="59647" marR="4779" marT="45882" marB="45882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  <a:prstDash val="soli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200" b="0" i="0" u="none" strike="noStrike" cap="none" spc="0" dirty="0">
                        <a:solidFill>
                          <a:schemeClr val="tx1"/>
                        </a:solidFill>
                        <a:effectLst/>
                        <a:latin typeface="Aptos Display" panose="020B0004020202020204" pitchFamily="34" charset="0"/>
                      </a:endParaRPr>
                    </a:p>
                  </a:txBody>
                  <a:tcPr marL="59647" marR="4779" marT="45882" marB="45882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</a:lnR>
                    <a:lnT w="12700" cmpd="sng">
                      <a:noFill/>
                      <a:prstDash val="soli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53739703"/>
                  </a:ext>
                </a:extLst>
              </a:tr>
              <a:tr h="390400">
                <a:tc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u="none" strike="noStrike" cap="none" spc="0">
                          <a:solidFill>
                            <a:schemeClr val="tx1"/>
                          </a:solidFill>
                          <a:effectLst/>
                          <a:latin typeface="Aptos Display" panose="020B0004020202020204" pitchFamily="34" charset="0"/>
                        </a:rPr>
                        <a:t>B-Side (w/o Al)</a:t>
                      </a:r>
                      <a:endParaRPr lang="en-IN" sz="1200" b="0" i="0" u="none" strike="noStrike" cap="none" spc="0">
                        <a:solidFill>
                          <a:schemeClr val="tx1"/>
                        </a:solidFill>
                        <a:effectLst/>
                        <a:latin typeface="Aptos Display" panose="020B0004020202020204" pitchFamily="34" charset="0"/>
                      </a:endParaRPr>
                    </a:p>
                  </a:txBody>
                  <a:tcPr marL="59647" marR="4779" marT="45882" marB="45882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</a:lnT>
                    <a:lnB w="12700" cmpd="sng">
                      <a:noFill/>
                      <a:prstDash val="soli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200" b="0" i="0" u="none" strike="noStrike" cap="none" spc="0">
                        <a:solidFill>
                          <a:schemeClr val="tx1"/>
                        </a:solidFill>
                        <a:effectLst/>
                        <a:latin typeface="Aptos Display" panose="020B0004020202020204" pitchFamily="34" charset="0"/>
                      </a:endParaRPr>
                    </a:p>
                  </a:txBody>
                  <a:tcPr marL="59647" marR="4779" marT="45882" marB="45882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</a:lnT>
                    <a:lnB w="12700" cmpd="sng">
                      <a:noFill/>
                      <a:prstDash val="soli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200" b="0" i="0" u="none" strike="noStrike" cap="none" spc="0" dirty="0">
                        <a:solidFill>
                          <a:schemeClr val="tx1"/>
                        </a:solidFill>
                        <a:effectLst/>
                        <a:latin typeface="Aptos Display" panose="020B0004020202020204" pitchFamily="34" charset="0"/>
                      </a:endParaRPr>
                    </a:p>
                  </a:txBody>
                  <a:tcPr marL="59647" marR="4779" marT="45882" marB="45882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</a:lnT>
                    <a:lnB w="12700" cmpd="sng">
                      <a:noFill/>
                      <a:prstDash val="solid"/>
                    </a:lnB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200" b="0" i="0" u="none" strike="noStrike" cap="none" spc="0">
                        <a:solidFill>
                          <a:schemeClr val="tx1"/>
                        </a:solidFill>
                        <a:effectLst/>
                        <a:latin typeface="Aptos Display" panose="020B0004020202020204" pitchFamily="34" charset="0"/>
                      </a:endParaRPr>
                    </a:p>
                  </a:txBody>
                  <a:tcPr marL="59647" marR="4779" marT="45882" marB="45882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</a:lnT>
                    <a:lnB w="12700" cmpd="sng">
                      <a:noFill/>
                      <a:prstDash val="soli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200" b="0" i="0" u="none" strike="noStrike" cap="none" spc="0">
                        <a:solidFill>
                          <a:schemeClr val="tx1"/>
                        </a:solidFill>
                        <a:effectLst/>
                        <a:latin typeface="Aptos Display" panose="020B0004020202020204" pitchFamily="34" charset="0"/>
                      </a:endParaRPr>
                    </a:p>
                  </a:txBody>
                  <a:tcPr marL="59647" marR="4779" marT="45882" marB="45882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</a:lnT>
                    <a:lnB w="12700" cmpd="sng">
                      <a:noFill/>
                      <a:prstDash val="soli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200" b="0" i="0" u="none" strike="noStrike" cap="none" spc="0">
                        <a:solidFill>
                          <a:schemeClr val="tx1"/>
                        </a:solidFill>
                        <a:effectLst/>
                        <a:latin typeface="Aptos Display" panose="020B0004020202020204" pitchFamily="34" charset="0"/>
                      </a:endParaRPr>
                    </a:p>
                  </a:txBody>
                  <a:tcPr marL="59647" marR="4779" marT="45882" marB="45882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</a:lnT>
                    <a:lnB w="12700" cmpd="sng">
                      <a:noFill/>
                      <a:prstDash val="soli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200" b="0" i="0" u="none" strike="noStrike" cap="none" spc="0" dirty="0">
                        <a:solidFill>
                          <a:schemeClr val="tx1"/>
                        </a:solidFill>
                        <a:effectLst/>
                        <a:latin typeface="Aptos Display" panose="020B0004020202020204" pitchFamily="34" charset="0"/>
                      </a:endParaRPr>
                    </a:p>
                  </a:txBody>
                  <a:tcPr marL="59647" marR="4779" marT="45882" marB="45882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  <a:prstDash val="soli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200" b="0" i="0" u="none" strike="noStrike" cap="none" spc="0" dirty="0">
                        <a:solidFill>
                          <a:schemeClr val="tx1"/>
                        </a:solidFill>
                        <a:effectLst/>
                        <a:latin typeface="Aptos Display" panose="020B0004020202020204" pitchFamily="34" charset="0"/>
                      </a:endParaRPr>
                    </a:p>
                  </a:txBody>
                  <a:tcPr marL="59647" marR="4779" marT="45882" marB="45882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</a:lnL>
                    <a:lnR w="12700" cmpd="sng">
                      <a:noFill/>
                      <a:prstDash val="soli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  <a:prstDash val="soli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28126413"/>
                  </a:ext>
                </a:extLst>
              </a:tr>
              <a:tr h="390400">
                <a:tc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u="none" strike="noStrike" cap="none" spc="0" err="1">
                          <a:solidFill>
                            <a:schemeClr val="tx1"/>
                          </a:solidFill>
                          <a:effectLst/>
                          <a:latin typeface="Aptos Display" panose="020B0004020202020204" pitchFamily="34" charset="0"/>
                        </a:rPr>
                        <a:t>Total_A+B</a:t>
                      </a:r>
                      <a:r>
                        <a:rPr lang="en-IN" sz="1200" u="none" strike="noStrike" cap="none" spc="0">
                          <a:solidFill>
                            <a:schemeClr val="tx1"/>
                          </a:solidFill>
                          <a:effectLst/>
                          <a:latin typeface="Aptos Display" panose="020B0004020202020204" pitchFamily="34" charset="0"/>
                        </a:rPr>
                        <a:t>_(w/o Al)</a:t>
                      </a:r>
                      <a:endParaRPr lang="en-IN" sz="1200" b="0" i="0" u="none" strike="noStrike" cap="none" spc="0">
                        <a:solidFill>
                          <a:schemeClr val="tx1"/>
                        </a:solidFill>
                        <a:effectLst/>
                        <a:latin typeface="Aptos Display" panose="020B0004020202020204" pitchFamily="34" charset="0"/>
                      </a:endParaRPr>
                    </a:p>
                  </a:txBody>
                  <a:tcPr marL="59647" marR="4779" marT="45882" marB="45882" anchor="ctr">
                    <a:lnL w="12700" cmpd="sng">
                      <a:noFill/>
                      <a:prstDash val="soli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</a:lnR>
                    <a:lnT w="12700" cmpd="sng">
                      <a:noFill/>
                      <a:prstDash val="soli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200" b="0" i="0" u="none" strike="noStrike" cap="none" spc="0">
                        <a:solidFill>
                          <a:schemeClr val="tx1"/>
                        </a:solidFill>
                        <a:effectLst/>
                        <a:latin typeface="Aptos Display" panose="020B0004020202020204" pitchFamily="34" charset="0"/>
                      </a:endParaRPr>
                    </a:p>
                  </a:txBody>
                  <a:tcPr marL="59647" marR="4779" marT="45882" marB="45882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</a:lnR>
                    <a:lnT w="12700" cmpd="sng">
                      <a:noFill/>
                      <a:prstDash val="soli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200" b="0" i="0" u="none" strike="noStrike" cap="none" spc="0" dirty="0">
                        <a:solidFill>
                          <a:schemeClr val="tx1"/>
                        </a:solidFill>
                        <a:effectLst/>
                        <a:latin typeface="Aptos Display" panose="020B0004020202020204" pitchFamily="34" charset="0"/>
                      </a:endParaRPr>
                    </a:p>
                  </a:txBody>
                  <a:tcPr marL="59647" marR="4779" marT="45882" marB="45882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</a:lnR>
                    <a:lnT w="12700" cmpd="sng">
                      <a:noFill/>
                      <a:prstDash val="soli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</a:lnB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200" b="0" i="0" u="none" strike="noStrike" cap="none" spc="0">
                        <a:solidFill>
                          <a:schemeClr val="tx1"/>
                        </a:solidFill>
                        <a:effectLst/>
                        <a:latin typeface="Aptos Display" panose="020B0004020202020204" pitchFamily="34" charset="0"/>
                      </a:endParaRPr>
                    </a:p>
                  </a:txBody>
                  <a:tcPr marL="59647" marR="4779" marT="45882" marB="45882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</a:lnR>
                    <a:lnT w="12700" cmpd="sng">
                      <a:noFill/>
                      <a:prstDash val="soli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200" b="0" i="0" u="none" strike="noStrike" cap="none" spc="0">
                        <a:solidFill>
                          <a:schemeClr val="tx1"/>
                        </a:solidFill>
                        <a:effectLst/>
                        <a:latin typeface="Aptos Display" panose="020B0004020202020204" pitchFamily="34" charset="0"/>
                      </a:endParaRPr>
                    </a:p>
                  </a:txBody>
                  <a:tcPr marL="59647" marR="4779" marT="45882" marB="45882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</a:lnR>
                    <a:lnT w="12700" cmpd="sng">
                      <a:noFill/>
                      <a:prstDash val="soli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200" b="0" i="0" u="none" strike="noStrike" cap="none" spc="0">
                        <a:solidFill>
                          <a:schemeClr val="tx1"/>
                        </a:solidFill>
                        <a:effectLst/>
                        <a:latin typeface="Aptos Display" panose="020B0004020202020204" pitchFamily="34" charset="0"/>
                      </a:endParaRPr>
                    </a:p>
                  </a:txBody>
                  <a:tcPr marL="59647" marR="4779" marT="45882" marB="45882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</a:lnR>
                    <a:lnT w="12700" cmpd="sng">
                      <a:noFill/>
                      <a:prstDash val="soli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200" b="0" i="0" u="none" strike="noStrike" cap="none" spc="0" dirty="0">
                        <a:solidFill>
                          <a:schemeClr val="tx1"/>
                        </a:solidFill>
                        <a:effectLst/>
                        <a:latin typeface="Aptos Display" panose="020B0004020202020204" pitchFamily="34" charset="0"/>
                      </a:endParaRPr>
                    </a:p>
                  </a:txBody>
                  <a:tcPr marL="59647" marR="4779" marT="45882" marB="45882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  <a:prstDash val="soli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200" b="0" i="0" u="none" strike="noStrike" cap="none" spc="0" dirty="0">
                        <a:solidFill>
                          <a:schemeClr val="tx1"/>
                        </a:solidFill>
                        <a:effectLst/>
                        <a:latin typeface="Aptos Display" panose="020B0004020202020204" pitchFamily="34" charset="0"/>
                      </a:endParaRPr>
                    </a:p>
                  </a:txBody>
                  <a:tcPr marL="59647" marR="4779" marT="45882" marB="45882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</a:lnR>
                    <a:lnT w="12700" cmpd="sng">
                      <a:noFill/>
                      <a:prstDash val="soli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5671791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06536644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A5B534F5-410A-CB58-9CA1-33539E17758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38150264"/>
              </p:ext>
            </p:extLst>
          </p:nvPr>
        </p:nvGraphicFramePr>
        <p:xfrm>
          <a:off x="231875" y="1246377"/>
          <a:ext cx="11404953" cy="4599453"/>
        </p:xfrm>
        <a:graphic>
          <a:graphicData uri="http://schemas.openxmlformats.org/drawingml/2006/table">
            <a:tbl>
              <a:tblPr firstRow="1" bandRow="1">
                <a:tableStyleId>{8EC20E35-A176-4012-BC5E-935CFFF8708E}</a:tableStyleId>
              </a:tblPr>
              <a:tblGrid>
                <a:gridCol w="1267217">
                  <a:extLst>
                    <a:ext uri="{9D8B030D-6E8A-4147-A177-3AD203B41FA5}">
                      <a16:colId xmlns:a16="http://schemas.microsoft.com/office/drawing/2014/main" val="2526796930"/>
                    </a:ext>
                  </a:extLst>
                </a:gridCol>
                <a:gridCol w="1267217">
                  <a:extLst>
                    <a:ext uri="{9D8B030D-6E8A-4147-A177-3AD203B41FA5}">
                      <a16:colId xmlns:a16="http://schemas.microsoft.com/office/drawing/2014/main" val="3604530580"/>
                    </a:ext>
                  </a:extLst>
                </a:gridCol>
                <a:gridCol w="1267217">
                  <a:extLst>
                    <a:ext uri="{9D8B030D-6E8A-4147-A177-3AD203B41FA5}">
                      <a16:colId xmlns:a16="http://schemas.microsoft.com/office/drawing/2014/main" val="2831887177"/>
                    </a:ext>
                  </a:extLst>
                </a:gridCol>
                <a:gridCol w="1267217">
                  <a:extLst>
                    <a:ext uri="{9D8B030D-6E8A-4147-A177-3AD203B41FA5}">
                      <a16:colId xmlns:a16="http://schemas.microsoft.com/office/drawing/2014/main" val="255893747"/>
                    </a:ext>
                  </a:extLst>
                </a:gridCol>
                <a:gridCol w="1267217">
                  <a:extLst>
                    <a:ext uri="{9D8B030D-6E8A-4147-A177-3AD203B41FA5}">
                      <a16:colId xmlns:a16="http://schemas.microsoft.com/office/drawing/2014/main" val="1451346574"/>
                    </a:ext>
                  </a:extLst>
                </a:gridCol>
                <a:gridCol w="1267217">
                  <a:extLst>
                    <a:ext uri="{9D8B030D-6E8A-4147-A177-3AD203B41FA5}">
                      <a16:colId xmlns:a16="http://schemas.microsoft.com/office/drawing/2014/main" val="3334116000"/>
                    </a:ext>
                  </a:extLst>
                </a:gridCol>
                <a:gridCol w="1267217">
                  <a:extLst>
                    <a:ext uri="{9D8B030D-6E8A-4147-A177-3AD203B41FA5}">
                      <a16:colId xmlns:a16="http://schemas.microsoft.com/office/drawing/2014/main" val="2655592206"/>
                    </a:ext>
                  </a:extLst>
                </a:gridCol>
                <a:gridCol w="1267217">
                  <a:extLst>
                    <a:ext uri="{9D8B030D-6E8A-4147-A177-3AD203B41FA5}">
                      <a16:colId xmlns:a16="http://schemas.microsoft.com/office/drawing/2014/main" val="1957341793"/>
                    </a:ext>
                  </a:extLst>
                </a:gridCol>
                <a:gridCol w="1267217">
                  <a:extLst>
                    <a:ext uri="{9D8B030D-6E8A-4147-A177-3AD203B41FA5}">
                      <a16:colId xmlns:a16="http://schemas.microsoft.com/office/drawing/2014/main" val="2174421877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algn="ctr" fontAlgn="b"/>
                      <a:endParaRPr lang="en-IN" sz="1200" b="0" i="0" u="none" strike="noStrike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779" marR="10779" marT="10779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IN" sz="1200" b="0" i="0" u="none" strike="noStrike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779" marR="10779" marT="10779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cap="none" spc="0" dirty="0">
                          <a:solidFill>
                            <a:schemeClr val="bg1"/>
                          </a:solidFill>
                          <a:effectLst/>
                          <a:latin typeface="Aptos Display" panose="020B0004020202020204" pitchFamily="34" charset="0"/>
                        </a:rPr>
                        <a:t>B</a:t>
                      </a:r>
                      <a:r>
                        <a:rPr lang="en-IN" sz="1200" b="0" i="0" u="none" strike="noStrike" cap="none" spc="0" dirty="0">
                          <a:solidFill>
                            <a:schemeClr val="bg1"/>
                          </a:solidFill>
                          <a:effectLst/>
                          <a:latin typeface="Aptos Display" panose="020B0004020202020204" pitchFamily="34" charset="0"/>
                        </a:rPr>
                        <a:t>AK 5.5_21700</a:t>
                      </a:r>
                    </a:p>
                  </a:txBody>
                  <a:tcPr marL="59647" marR="4779" marT="45882" marB="45882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cap="none" spc="0" dirty="0">
                          <a:solidFill>
                            <a:schemeClr val="bg1"/>
                          </a:solidFill>
                          <a:effectLst/>
                          <a:latin typeface="Aptos Display" panose="020B0004020202020204" pitchFamily="34" charset="0"/>
                        </a:rPr>
                        <a:t>4</a:t>
                      </a:r>
                      <a:r>
                        <a:rPr lang="en-IN" sz="1200" b="0" i="0" u="none" strike="noStrike" cap="none" spc="0" dirty="0">
                          <a:solidFill>
                            <a:schemeClr val="bg1"/>
                          </a:solidFill>
                          <a:effectLst/>
                          <a:latin typeface="Aptos Display" panose="020B0004020202020204" pitchFamily="34" charset="0"/>
                        </a:rPr>
                        <a:t>680 Gen2</a:t>
                      </a:r>
                    </a:p>
                  </a:txBody>
                  <a:tcPr marL="59647" marR="4779" marT="45882" marB="45882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cap="none" spc="0" dirty="0" err="1">
                          <a:solidFill>
                            <a:schemeClr val="bg1"/>
                          </a:solidFill>
                          <a:effectLst/>
                          <a:latin typeface="Aptos Display" panose="020B0004020202020204" pitchFamily="34" charset="0"/>
                        </a:rPr>
                        <a:t>Blivex</a:t>
                      </a:r>
                      <a:r>
                        <a:rPr lang="en-US" sz="1200" b="0" i="0" u="none" strike="noStrike" cap="none" spc="0" dirty="0">
                          <a:solidFill>
                            <a:schemeClr val="bg1"/>
                          </a:solidFill>
                          <a:effectLst/>
                          <a:latin typeface="Aptos Display" panose="020B0004020202020204" pitchFamily="34" charset="0"/>
                        </a:rPr>
                        <a:t> 32700</a:t>
                      </a:r>
                      <a:endParaRPr lang="en-IN" sz="1200" b="0" i="0" u="none" strike="noStrike" cap="none" spc="0" dirty="0">
                        <a:solidFill>
                          <a:schemeClr val="bg1"/>
                        </a:solidFill>
                        <a:effectLst/>
                        <a:latin typeface="Aptos Display" panose="020B0004020202020204" pitchFamily="34" charset="0"/>
                      </a:endParaRPr>
                    </a:p>
                  </a:txBody>
                  <a:tcPr marL="59647" marR="4779" marT="45882" marB="45882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cap="none" spc="0" dirty="0">
                          <a:solidFill>
                            <a:schemeClr val="bg1"/>
                          </a:solidFill>
                          <a:effectLst/>
                          <a:latin typeface="Aptos Display" panose="020B0004020202020204" pitchFamily="34" charset="0"/>
                        </a:rPr>
                        <a:t>CBAK 32140</a:t>
                      </a:r>
                      <a:endParaRPr lang="en-IN" sz="1200" b="0" i="0" u="none" strike="noStrike" cap="none" spc="0" dirty="0">
                        <a:solidFill>
                          <a:schemeClr val="bg1"/>
                        </a:solidFill>
                        <a:effectLst/>
                        <a:latin typeface="Aptos Display" panose="020B0004020202020204" pitchFamily="34" charset="0"/>
                      </a:endParaRPr>
                    </a:p>
                  </a:txBody>
                  <a:tcPr marL="59647" marR="4779" marT="45882" marB="45882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u="none" strike="noStrike" cap="none" spc="0" dirty="0">
                          <a:solidFill>
                            <a:schemeClr val="bg1"/>
                          </a:solidFill>
                          <a:effectLst/>
                          <a:latin typeface="Aptos Display" panose="020B0004020202020204" pitchFamily="34" charset="0"/>
                        </a:rPr>
                        <a:t>EVE 5.0_21700</a:t>
                      </a:r>
                      <a:endParaRPr lang="en-IN" sz="1200" b="0" i="0" u="none" strike="noStrike" cap="none" spc="0" dirty="0">
                        <a:solidFill>
                          <a:schemeClr val="bg1"/>
                        </a:solidFill>
                        <a:effectLst/>
                        <a:latin typeface="Aptos Display" panose="020B0004020202020204" pitchFamily="34" charset="0"/>
                      </a:endParaRPr>
                    </a:p>
                  </a:txBody>
                  <a:tcPr marL="59647" marR="4779" marT="45882" marB="45882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u="none" strike="noStrike" cap="none" spc="0" dirty="0" err="1">
                          <a:solidFill>
                            <a:schemeClr val="bg1"/>
                          </a:solidFill>
                          <a:effectLst/>
                          <a:latin typeface="Aptos Display" panose="020B0004020202020204" pitchFamily="34" charset="0"/>
                        </a:rPr>
                        <a:t>Moilicell</a:t>
                      </a:r>
                      <a:r>
                        <a:rPr lang="en-IN" sz="1200" b="0" u="none" strike="noStrike" cap="none" spc="0" dirty="0">
                          <a:solidFill>
                            <a:schemeClr val="bg1"/>
                          </a:solidFill>
                          <a:effectLst/>
                          <a:latin typeface="Aptos Display" panose="020B0004020202020204" pitchFamily="34" charset="0"/>
                        </a:rPr>
                        <a:t> 4.2 21700</a:t>
                      </a:r>
                      <a:endParaRPr lang="en-IN" sz="1200" b="0" i="0" u="none" strike="noStrike" cap="none" spc="0" dirty="0">
                        <a:solidFill>
                          <a:schemeClr val="bg1"/>
                        </a:solidFill>
                        <a:effectLst/>
                        <a:latin typeface="Aptos Display" panose="020B0004020202020204" pitchFamily="34" charset="0"/>
                      </a:endParaRPr>
                    </a:p>
                  </a:txBody>
                  <a:tcPr marL="59647" marR="4779" marT="45882" marB="45882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cap="none" spc="0" dirty="0">
                          <a:solidFill>
                            <a:schemeClr val="bg1"/>
                          </a:solidFill>
                          <a:effectLst/>
                          <a:latin typeface="Aptos Display" panose="020B0004020202020204" pitchFamily="34" charset="0"/>
                        </a:rPr>
                        <a:t>RIN 5.8_21700</a:t>
                      </a:r>
                      <a:endParaRPr lang="en-IN" sz="1200" b="0" i="0" u="none" strike="noStrike" cap="none" spc="0" dirty="0">
                        <a:solidFill>
                          <a:schemeClr val="bg1"/>
                        </a:solidFill>
                        <a:effectLst/>
                        <a:latin typeface="Aptos Display" panose="020B0004020202020204" pitchFamily="34" charset="0"/>
                      </a:endParaRPr>
                    </a:p>
                  </a:txBody>
                  <a:tcPr marL="59647" marR="4779" marT="45882" marB="45882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2977819"/>
                  </a:ext>
                </a:extLst>
              </a:tr>
              <a:tr h="376539"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u="none" strike="noStrike">
                          <a:effectLst/>
                        </a:rPr>
                        <a:t>Material 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779" marR="10779" marT="1077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u="none" strike="noStrike">
                          <a:effectLst/>
                        </a:rPr>
                        <a:t>Anode material 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rebuchet MS" panose="020B0603020202020204" pitchFamily="34" charset="0"/>
                      </a:endParaRPr>
                    </a:p>
                  </a:txBody>
                  <a:tcPr marL="10779" marR="10779" marT="1077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200" b="0" i="0" u="none" strike="noStrike" dirty="0">
                        <a:solidFill>
                          <a:srgbClr val="000000"/>
                        </a:solidFill>
                        <a:effectLst/>
                        <a:latin typeface="Trebuchet MS" panose="020B0603020202020204" pitchFamily="34" charset="0"/>
                      </a:endParaRPr>
                    </a:p>
                  </a:txBody>
                  <a:tcPr marL="10779" marR="10779" marT="1077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rebuchet MS" panose="020B0603020202020204" pitchFamily="34" charset="0"/>
                      </a:endParaRPr>
                    </a:p>
                  </a:txBody>
                  <a:tcPr marL="10779" marR="10779" marT="1077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rebuchet MS" panose="020B0603020202020204" pitchFamily="34" charset="0"/>
                      </a:endParaRPr>
                    </a:p>
                  </a:txBody>
                  <a:tcPr marL="10779" marR="10779" marT="1077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rebuchet MS" panose="020B0603020202020204" pitchFamily="34" charset="0"/>
                      </a:endParaRPr>
                    </a:p>
                  </a:txBody>
                  <a:tcPr marL="10779" marR="10779" marT="1077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rebuchet MS" panose="020B0603020202020204" pitchFamily="34" charset="0"/>
                      </a:endParaRPr>
                    </a:p>
                  </a:txBody>
                  <a:tcPr marL="10779" marR="10779" marT="1077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rebuchet MS" panose="020B0603020202020204" pitchFamily="34" charset="0"/>
                      </a:endParaRPr>
                    </a:p>
                  </a:txBody>
                  <a:tcPr marL="10779" marR="10779" marT="1077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rebuchet MS" panose="020B0603020202020204" pitchFamily="34" charset="0"/>
                      </a:endParaRPr>
                    </a:p>
                  </a:txBody>
                  <a:tcPr marL="10779" marR="10779" marT="1077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80207849"/>
                  </a:ext>
                </a:extLst>
              </a:tr>
              <a:tr h="376539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n-IN" sz="1200" u="none" strike="noStrike">
                          <a:effectLst/>
                        </a:rPr>
                        <a:t>Foil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779" marR="10779" marT="1077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200" u="none" strike="noStrike">
                          <a:effectLst/>
                        </a:rPr>
                        <a:t>Length of Cu foil (coating + uncoating) (mm)</a:t>
                      </a:r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Trebuchet MS" panose="020B0603020202020204" pitchFamily="34" charset="0"/>
                      </a:endParaRPr>
                    </a:p>
                  </a:txBody>
                  <a:tcPr marL="10779" marR="10779" marT="1077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200" b="0" i="0" u="none" strike="noStrike" dirty="0">
                        <a:solidFill>
                          <a:srgbClr val="000000"/>
                        </a:solidFill>
                        <a:effectLst/>
                        <a:latin typeface="Trebuchet MS" panose="020B0603020202020204" pitchFamily="34" charset="0"/>
                      </a:endParaRPr>
                    </a:p>
                  </a:txBody>
                  <a:tcPr marL="10779" marR="10779" marT="1077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200" b="0" i="0" u="none" strike="noStrike" dirty="0">
                        <a:solidFill>
                          <a:srgbClr val="000000"/>
                        </a:solidFill>
                        <a:effectLst/>
                        <a:latin typeface="Trebuchet MS" panose="020B0603020202020204" pitchFamily="34" charset="0"/>
                      </a:endParaRPr>
                    </a:p>
                  </a:txBody>
                  <a:tcPr marL="10779" marR="10779" marT="1077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rebuchet MS" panose="020B0603020202020204" pitchFamily="34" charset="0"/>
                      </a:endParaRPr>
                    </a:p>
                  </a:txBody>
                  <a:tcPr marL="10779" marR="10779" marT="1077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rebuchet MS" panose="020B0603020202020204" pitchFamily="34" charset="0"/>
                      </a:endParaRPr>
                    </a:p>
                  </a:txBody>
                  <a:tcPr marL="10779" marR="10779" marT="1077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rebuchet MS" panose="020B0603020202020204" pitchFamily="34" charset="0"/>
                      </a:endParaRPr>
                    </a:p>
                  </a:txBody>
                  <a:tcPr marL="10779" marR="10779" marT="1077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200" b="0" i="0" u="none" strike="noStrike" dirty="0">
                        <a:solidFill>
                          <a:srgbClr val="000000"/>
                        </a:solidFill>
                        <a:effectLst/>
                        <a:latin typeface="Trebuchet MS" panose="020B0603020202020204" pitchFamily="34" charset="0"/>
                      </a:endParaRPr>
                    </a:p>
                  </a:txBody>
                  <a:tcPr marL="10779" marR="10779" marT="1077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200" b="0" i="0" u="none" strike="noStrike" dirty="0">
                        <a:solidFill>
                          <a:srgbClr val="000000"/>
                        </a:solidFill>
                        <a:effectLst/>
                        <a:latin typeface="Trebuchet MS" panose="020B0603020202020204" pitchFamily="34" charset="0"/>
                      </a:endParaRPr>
                    </a:p>
                  </a:txBody>
                  <a:tcPr marL="10779" marR="10779" marT="1077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8312637"/>
                  </a:ext>
                </a:extLst>
              </a:tr>
              <a:tr h="376539">
                <a:tc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200" u="none" strike="noStrike">
                          <a:effectLst/>
                        </a:rPr>
                        <a:t>Width of Cu Foil (mm)</a:t>
                      </a:r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Trebuchet MS" panose="020B0603020202020204" pitchFamily="34" charset="0"/>
                      </a:endParaRPr>
                    </a:p>
                  </a:txBody>
                  <a:tcPr marL="10779" marR="10779" marT="1077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rebuchet MS" panose="020B0603020202020204" pitchFamily="34" charset="0"/>
                      </a:endParaRPr>
                    </a:p>
                  </a:txBody>
                  <a:tcPr marL="10779" marR="10779" marT="1077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200" b="0" i="0" u="none" strike="noStrike" dirty="0">
                        <a:solidFill>
                          <a:srgbClr val="000000"/>
                        </a:solidFill>
                        <a:effectLst/>
                        <a:latin typeface="Trebuchet MS" panose="020B0603020202020204" pitchFamily="34" charset="0"/>
                      </a:endParaRPr>
                    </a:p>
                  </a:txBody>
                  <a:tcPr marL="10779" marR="10779" marT="1077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200" b="0" i="0" u="none" strike="noStrike" dirty="0">
                        <a:solidFill>
                          <a:srgbClr val="000000"/>
                        </a:solidFill>
                        <a:effectLst/>
                        <a:latin typeface="Trebuchet MS" panose="020B0603020202020204" pitchFamily="34" charset="0"/>
                      </a:endParaRPr>
                    </a:p>
                  </a:txBody>
                  <a:tcPr marL="10779" marR="10779" marT="1077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rebuchet MS" panose="020B0603020202020204" pitchFamily="34" charset="0"/>
                      </a:endParaRPr>
                    </a:p>
                  </a:txBody>
                  <a:tcPr marL="10779" marR="10779" marT="1077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rebuchet MS" panose="020B0603020202020204" pitchFamily="34" charset="0"/>
                      </a:endParaRPr>
                    </a:p>
                  </a:txBody>
                  <a:tcPr marL="10779" marR="10779" marT="1077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rebuchet MS" panose="020B0603020202020204" pitchFamily="34" charset="0"/>
                      </a:endParaRPr>
                    </a:p>
                  </a:txBody>
                  <a:tcPr marL="10779" marR="10779" marT="1077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rebuchet MS" panose="020B0603020202020204" pitchFamily="34" charset="0"/>
                      </a:endParaRPr>
                    </a:p>
                  </a:txBody>
                  <a:tcPr marL="10779" marR="10779" marT="1077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27867844"/>
                  </a:ext>
                </a:extLst>
              </a:tr>
              <a:tr h="376539">
                <a:tc rowSpan="4">
                  <a:txBody>
                    <a:bodyPr/>
                    <a:lstStyle/>
                    <a:p>
                      <a:pPr algn="ctr" fontAlgn="ctr"/>
                      <a:r>
                        <a:rPr lang="en-IN" sz="1200" u="none" strike="noStrike">
                          <a:effectLst/>
                        </a:rPr>
                        <a:t>Thickness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779" marR="10779" marT="1077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u="none" strike="noStrike">
                          <a:effectLst/>
                        </a:rPr>
                        <a:t>Bare Cu foil (um)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rebuchet MS" panose="020B0603020202020204" pitchFamily="34" charset="0"/>
                      </a:endParaRPr>
                    </a:p>
                  </a:txBody>
                  <a:tcPr marL="10779" marR="10779" marT="1077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rebuchet MS" panose="020B0603020202020204" pitchFamily="34" charset="0"/>
                      </a:endParaRPr>
                    </a:p>
                  </a:txBody>
                  <a:tcPr marL="10779" marR="10779" marT="1077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200" b="0" i="0" u="none" strike="noStrike" dirty="0">
                        <a:solidFill>
                          <a:srgbClr val="000000"/>
                        </a:solidFill>
                        <a:effectLst/>
                        <a:latin typeface="Trebuchet MS" panose="020B0603020202020204" pitchFamily="34" charset="0"/>
                      </a:endParaRPr>
                    </a:p>
                  </a:txBody>
                  <a:tcPr marL="10779" marR="10779" marT="1077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200" b="0" i="0" u="none" strike="noStrike" dirty="0">
                        <a:solidFill>
                          <a:srgbClr val="000000"/>
                        </a:solidFill>
                        <a:effectLst/>
                        <a:latin typeface="Trebuchet MS" panose="020B0603020202020204" pitchFamily="34" charset="0"/>
                      </a:endParaRPr>
                    </a:p>
                  </a:txBody>
                  <a:tcPr marL="10779" marR="10779" marT="1077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rebuchet MS" panose="020B0603020202020204" pitchFamily="34" charset="0"/>
                      </a:endParaRPr>
                    </a:p>
                  </a:txBody>
                  <a:tcPr marL="10779" marR="10779" marT="1077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rebuchet MS" panose="020B0603020202020204" pitchFamily="34" charset="0"/>
                      </a:endParaRPr>
                    </a:p>
                  </a:txBody>
                  <a:tcPr marL="10779" marR="10779" marT="1077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200" b="0" i="0" u="none" strike="noStrike" dirty="0">
                        <a:solidFill>
                          <a:srgbClr val="000000"/>
                        </a:solidFill>
                        <a:effectLst/>
                        <a:latin typeface="Trebuchet MS" panose="020B0603020202020204" pitchFamily="34" charset="0"/>
                      </a:endParaRPr>
                    </a:p>
                  </a:txBody>
                  <a:tcPr marL="10779" marR="10779" marT="1077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200" b="0" i="0" u="none" strike="noStrike" dirty="0">
                        <a:solidFill>
                          <a:srgbClr val="000000"/>
                        </a:solidFill>
                        <a:effectLst/>
                        <a:latin typeface="Trebuchet MS" panose="020B0603020202020204" pitchFamily="34" charset="0"/>
                      </a:endParaRPr>
                    </a:p>
                  </a:txBody>
                  <a:tcPr marL="10779" marR="10779" marT="1077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9179157"/>
                  </a:ext>
                </a:extLst>
              </a:tr>
              <a:tr h="376539">
                <a:tc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u="none" strike="noStrike">
                          <a:effectLst/>
                        </a:rPr>
                        <a:t>A-side (w/o Cu)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rebuchet MS" panose="020B0603020202020204" pitchFamily="34" charset="0"/>
                      </a:endParaRPr>
                    </a:p>
                  </a:txBody>
                  <a:tcPr marL="10779" marR="10779" marT="1077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rebuchet MS" panose="020B0603020202020204" pitchFamily="34" charset="0"/>
                      </a:endParaRPr>
                    </a:p>
                  </a:txBody>
                  <a:tcPr marL="10779" marR="10779" marT="1077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200" b="0" i="0" u="none" strike="noStrike" dirty="0">
                        <a:solidFill>
                          <a:srgbClr val="000000"/>
                        </a:solidFill>
                        <a:effectLst/>
                        <a:latin typeface="Trebuchet MS" panose="020B0603020202020204" pitchFamily="34" charset="0"/>
                      </a:endParaRPr>
                    </a:p>
                  </a:txBody>
                  <a:tcPr marL="10779" marR="10779" marT="1077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200" b="0" i="0" u="none" strike="noStrike" dirty="0">
                        <a:solidFill>
                          <a:srgbClr val="000000"/>
                        </a:solidFill>
                        <a:effectLst/>
                        <a:latin typeface="Trebuchet MS" panose="020B0603020202020204" pitchFamily="34" charset="0"/>
                      </a:endParaRPr>
                    </a:p>
                  </a:txBody>
                  <a:tcPr marL="10779" marR="10779" marT="1077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rebuchet MS" panose="020B0603020202020204" pitchFamily="34" charset="0"/>
                      </a:endParaRPr>
                    </a:p>
                  </a:txBody>
                  <a:tcPr marL="10779" marR="10779" marT="1077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rebuchet MS" panose="020B0603020202020204" pitchFamily="34" charset="0"/>
                      </a:endParaRPr>
                    </a:p>
                  </a:txBody>
                  <a:tcPr marL="10779" marR="10779" marT="1077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200" b="0" i="0" u="none" strike="noStrike" dirty="0">
                        <a:solidFill>
                          <a:srgbClr val="000000"/>
                        </a:solidFill>
                        <a:effectLst/>
                        <a:latin typeface="Trebuchet MS" panose="020B0603020202020204" pitchFamily="34" charset="0"/>
                      </a:endParaRPr>
                    </a:p>
                  </a:txBody>
                  <a:tcPr marL="10779" marR="10779" marT="1077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200" b="0" i="0" u="none" strike="noStrike" dirty="0">
                        <a:solidFill>
                          <a:srgbClr val="000000"/>
                        </a:solidFill>
                        <a:effectLst/>
                        <a:latin typeface="Trebuchet MS" panose="020B0603020202020204" pitchFamily="34" charset="0"/>
                      </a:endParaRPr>
                    </a:p>
                  </a:txBody>
                  <a:tcPr marL="10779" marR="10779" marT="1077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91224490"/>
                  </a:ext>
                </a:extLst>
              </a:tr>
              <a:tr h="376539">
                <a:tc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u="none" strike="noStrike">
                          <a:effectLst/>
                        </a:rPr>
                        <a:t>B-side (w/o Cu)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rebuchet MS" panose="020B0603020202020204" pitchFamily="34" charset="0"/>
                      </a:endParaRPr>
                    </a:p>
                  </a:txBody>
                  <a:tcPr marL="10779" marR="10779" marT="1077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rebuchet MS" panose="020B0603020202020204" pitchFamily="34" charset="0"/>
                      </a:endParaRPr>
                    </a:p>
                  </a:txBody>
                  <a:tcPr marL="10779" marR="10779" marT="1077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200" b="0" i="0" u="none" strike="noStrike" dirty="0">
                        <a:solidFill>
                          <a:srgbClr val="000000"/>
                        </a:solidFill>
                        <a:effectLst/>
                        <a:latin typeface="Trebuchet MS" panose="020B0603020202020204" pitchFamily="34" charset="0"/>
                      </a:endParaRPr>
                    </a:p>
                  </a:txBody>
                  <a:tcPr marL="10779" marR="10779" marT="1077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200" b="0" i="0" u="none" strike="noStrike" dirty="0">
                        <a:solidFill>
                          <a:srgbClr val="000000"/>
                        </a:solidFill>
                        <a:effectLst/>
                        <a:latin typeface="Trebuchet MS" panose="020B0603020202020204" pitchFamily="34" charset="0"/>
                      </a:endParaRPr>
                    </a:p>
                  </a:txBody>
                  <a:tcPr marL="10779" marR="10779" marT="1077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200" b="0" i="0" u="none" strike="noStrike" dirty="0">
                        <a:solidFill>
                          <a:srgbClr val="000000"/>
                        </a:solidFill>
                        <a:effectLst/>
                        <a:latin typeface="Trebuchet MS" panose="020B0603020202020204" pitchFamily="34" charset="0"/>
                      </a:endParaRPr>
                    </a:p>
                  </a:txBody>
                  <a:tcPr marL="10779" marR="10779" marT="1077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rebuchet MS" panose="020B0603020202020204" pitchFamily="34" charset="0"/>
                      </a:endParaRPr>
                    </a:p>
                  </a:txBody>
                  <a:tcPr marL="10779" marR="10779" marT="1077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200" b="0" i="0" u="none" strike="noStrike" dirty="0">
                        <a:solidFill>
                          <a:srgbClr val="000000"/>
                        </a:solidFill>
                        <a:effectLst/>
                        <a:latin typeface="Trebuchet MS" panose="020B0603020202020204" pitchFamily="34" charset="0"/>
                      </a:endParaRPr>
                    </a:p>
                  </a:txBody>
                  <a:tcPr marL="10779" marR="10779" marT="1077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200" b="0" i="0" u="none" strike="noStrike" dirty="0">
                        <a:solidFill>
                          <a:srgbClr val="000000"/>
                        </a:solidFill>
                        <a:effectLst/>
                        <a:latin typeface="Trebuchet MS" panose="020B0603020202020204" pitchFamily="34" charset="0"/>
                      </a:endParaRPr>
                    </a:p>
                  </a:txBody>
                  <a:tcPr marL="10779" marR="10779" marT="1077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96050882"/>
                  </a:ext>
                </a:extLst>
              </a:tr>
              <a:tr h="376539">
                <a:tc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u="none" strike="noStrike">
                          <a:effectLst/>
                        </a:rPr>
                        <a:t>Total 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rebuchet MS" panose="020B0603020202020204" pitchFamily="34" charset="0"/>
                      </a:endParaRPr>
                    </a:p>
                  </a:txBody>
                  <a:tcPr marL="10779" marR="10779" marT="1077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rebuchet MS" panose="020B0603020202020204" pitchFamily="34" charset="0"/>
                      </a:endParaRPr>
                    </a:p>
                  </a:txBody>
                  <a:tcPr marL="10779" marR="10779" marT="1077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rebuchet MS" panose="020B0603020202020204" pitchFamily="34" charset="0"/>
                      </a:endParaRPr>
                    </a:p>
                  </a:txBody>
                  <a:tcPr marL="10779" marR="10779" marT="1077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rebuchet MS" panose="020B0603020202020204" pitchFamily="34" charset="0"/>
                      </a:endParaRPr>
                    </a:p>
                  </a:txBody>
                  <a:tcPr marL="10779" marR="10779" marT="1077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200" b="0" i="0" u="none" strike="noStrike" dirty="0">
                        <a:solidFill>
                          <a:srgbClr val="000000"/>
                        </a:solidFill>
                        <a:effectLst/>
                        <a:latin typeface="Trebuchet MS" panose="020B0603020202020204" pitchFamily="34" charset="0"/>
                      </a:endParaRPr>
                    </a:p>
                  </a:txBody>
                  <a:tcPr marL="10779" marR="10779" marT="1077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rebuchet MS" panose="020B0603020202020204" pitchFamily="34" charset="0"/>
                      </a:endParaRPr>
                    </a:p>
                  </a:txBody>
                  <a:tcPr marL="10779" marR="10779" marT="1077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200" b="0" i="0" u="none" strike="noStrike" dirty="0">
                        <a:solidFill>
                          <a:srgbClr val="000000"/>
                        </a:solidFill>
                        <a:effectLst/>
                        <a:latin typeface="Trebuchet MS" panose="020B0603020202020204" pitchFamily="34" charset="0"/>
                      </a:endParaRPr>
                    </a:p>
                  </a:txBody>
                  <a:tcPr marL="10779" marR="10779" marT="1077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200" b="0" i="0" u="none" strike="noStrike" dirty="0">
                        <a:solidFill>
                          <a:srgbClr val="000000"/>
                        </a:solidFill>
                        <a:effectLst/>
                        <a:latin typeface="Trebuchet MS" panose="020B0603020202020204" pitchFamily="34" charset="0"/>
                      </a:endParaRPr>
                    </a:p>
                  </a:txBody>
                  <a:tcPr marL="10779" marR="10779" marT="1077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61682647"/>
                  </a:ext>
                </a:extLst>
              </a:tr>
              <a:tr h="376539">
                <a:tc rowSpan="4">
                  <a:txBody>
                    <a:bodyPr/>
                    <a:lstStyle/>
                    <a:p>
                      <a:pPr algn="ctr" fontAlgn="ctr"/>
                      <a:r>
                        <a:rPr lang="en-IN" sz="1200" u="none" strike="noStrike">
                          <a:effectLst/>
                        </a:rPr>
                        <a:t>Loading (mg/cm2)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779" marR="10779" marT="1077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u="none" strike="noStrike">
                          <a:effectLst/>
                        </a:rPr>
                        <a:t>Bare Cu foil 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rebuchet MS" panose="020B0603020202020204" pitchFamily="34" charset="0"/>
                      </a:endParaRPr>
                    </a:p>
                  </a:txBody>
                  <a:tcPr marL="10779" marR="10779" marT="1077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rebuchet MS" panose="020B0603020202020204" pitchFamily="34" charset="0"/>
                      </a:endParaRPr>
                    </a:p>
                  </a:txBody>
                  <a:tcPr marL="10779" marR="10779" marT="1077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200" b="0" i="0" u="none" strike="noStrike" dirty="0">
                        <a:solidFill>
                          <a:srgbClr val="000000"/>
                        </a:solidFill>
                        <a:effectLst/>
                        <a:latin typeface="Trebuchet MS" panose="020B0603020202020204" pitchFamily="34" charset="0"/>
                      </a:endParaRPr>
                    </a:p>
                  </a:txBody>
                  <a:tcPr marL="10779" marR="10779" marT="1077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rebuchet MS" panose="020B0603020202020204" pitchFamily="34" charset="0"/>
                      </a:endParaRPr>
                    </a:p>
                  </a:txBody>
                  <a:tcPr marL="10779" marR="10779" marT="1077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rebuchet MS" panose="020B0603020202020204" pitchFamily="34" charset="0"/>
                      </a:endParaRPr>
                    </a:p>
                  </a:txBody>
                  <a:tcPr marL="10779" marR="10779" marT="1077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200" b="0" i="0" u="none" strike="noStrike" dirty="0">
                        <a:solidFill>
                          <a:srgbClr val="000000"/>
                        </a:solidFill>
                        <a:effectLst/>
                        <a:latin typeface="Trebuchet MS" panose="020B0603020202020204" pitchFamily="34" charset="0"/>
                      </a:endParaRPr>
                    </a:p>
                  </a:txBody>
                  <a:tcPr marL="10779" marR="10779" marT="1077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200" b="0" i="0" u="none" strike="noStrike" dirty="0">
                        <a:solidFill>
                          <a:srgbClr val="000000"/>
                        </a:solidFill>
                        <a:effectLst/>
                        <a:latin typeface="Trebuchet MS" panose="020B0603020202020204" pitchFamily="34" charset="0"/>
                      </a:endParaRPr>
                    </a:p>
                  </a:txBody>
                  <a:tcPr marL="10779" marR="10779" marT="1077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200" b="0" i="0" u="none" strike="noStrike" dirty="0">
                        <a:solidFill>
                          <a:srgbClr val="000000"/>
                        </a:solidFill>
                        <a:effectLst/>
                        <a:latin typeface="Trebuchet MS" panose="020B0603020202020204" pitchFamily="34" charset="0"/>
                      </a:endParaRPr>
                    </a:p>
                  </a:txBody>
                  <a:tcPr marL="10779" marR="10779" marT="1077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01554180"/>
                  </a:ext>
                </a:extLst>
              </a:tr>
              <a:tr h="376539">
                <a:tc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u="none" strike="noStrike">
                          <a:effectLst/>
                        </a:rPr>
                        <a:t>A-Side (w/o Cu)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rebuchet MS" panose="020B0603020202020204" pitchFamily="34" charset="0"/>
                      </a:endParaRPr>
                    </a:p>
                  </a:txBody>
                  <a:tcPr marL="10779" marR="10779" marT="1077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rebuchet MS" panose="020B0603020202020204" pitchFamily="34" charset="0"/>
                      </a:endParaRPr>
                    </a:p>
                  </a:txBody>
                  <a:tcPr marL="10779" marR="10779" marT="1077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200" b="0" i="0" u="none" strike="noStrike" dirty="0">
                        <a:solidFill>
                          <a:srgbClr val="000000"/>
                        </a:solidFill>
                        <a:effectLst/>
                        <a:latin typeface="Trebuchet MS" panose="020B0603020202020204" pitchFamily="34" charset="0"/>
                      </a:endParaRPr>
                    </a:p>
                  </a:txBody>
                  <a:tcPr marL="10779" marR="10779" marT="1077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rebuchet MS" panose="020B0603020202020204" pitchFamily="34" charset="0"/>
                      </a:endParaRPr>
                    </a:p>
                  </a:txBody>
                  <a:tcPr marL="10779" marR="10779" marT="1077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rebuchet MS" panose="020B0603020202020204" pitchFamily="34" charset="0"/>
                      </a:endParaRPr>
                    </a:p>
                  </a:txBody>
                  <a:tcPr marL="10779" marR="10779" marT="1077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200" b="0" i="0" u="none" strike="noStrike" dirty="0">
                        <a:solidFill>
                          <a:srgbClr val="000000"/>
                        </a:solidFill>
                        <a:effectLst/>
                        <a:latin typeface="Trebuchet MS" panose="020B0603020202020204" pitchFamily="34" charset="0"/>
                      </a:endParaRPr>
                    </a:p>
                  </a:txBody>
                  <a:tcPr marL="10779" marR="10779" marT="1077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200" b="0" i="0" u="none" strike="noStrike" dirty="0">
                        <a:solidFill>
                          <a:srgbClr val="000000"/>
                        </a:solidFill>
                        <a:effectLst/>
                        <a:latin typeface="Trebuchet MS" panose="020B0603020202020204" pitchFamily="34" charset="0"/>
                      </a:endParaRPr>
                    </a:p>
                  </a:txBody>
                  <a:tcPr marL="10779" marR="10779" marT="1077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200" b="0" i="0" u="none" strike="noStrike" dirty="0">
                        <a:solidFill>
                          <a:srgbClr val="000000"/>
                        </a:solidFill>
                        <a:effectLst/>
                        <a:latin typeface="Trebuchet MS" panose="020B0603020202020204" pitchFamily="34" charset="0"/>
                      </a:endParaRPr>
                    </a:p>
                  </a:txBody>
                  <a:tcPr marL="10779" marR="10779" marT="1077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55631172"/>
                  </a:ext>
                </a:extLst>
              </a:tr>
              <a:tr h="376539">
                <a:tc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u="none" strike="noStrike">
                          <a:effectLst/>
                        </a:rPr>
                        <a:t>B-Side (w/o Cu)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rebuchet MS" panose="020B0603020202020204" pitchFamily="34" charset="0"/>
                      </a:endParaRPr>
                    </a:p>
                  </a:txBody>
                  <a:tcPr marL="10779" marR="10779" marT="1077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rebuchet MS" panose="020B0603020202020204" pitchFamily="34" charset="0"/>
                      </a:endParaRPr>
                    </a:p>
                  </a:txBody>
                  <a:tcPr marL="10779" marR="10779" marT="1077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200" b="0" i="0" u="none" strike="noStrike" dirty="0">
                        <a:solidFill>
                          <a:srgbClr val="000000"/>
                        </a:solidFill>
                        <a:effectLst/>
                        <a:latin typeface="Trebuchet MS" panose="020B0603020202020204" pitchFamily="34" charset="0"/>
                      </a:endParaRPr>
                    </a:p>
                  </a:txBody>
                  <a:tcPr marL="10779" marR="10779" marT="1077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rebuchet MS" panose="020B0603020202020204" pitchFamily="34" charset="0"/>
                      </a:endParaRPr>
                    </a:p>
                  </a:txBody>
                  <a:tcPr marL="10779" marR="10779" marT="1077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rebuchet MS" panose="020B0603020202020204" pitchFamily="34" charset="0"/>
                      </a:endParaRPr>
                    </a:p>
                  </a:txBody>
                  <a:tcPr marL="10779" marR="10779" marT="1077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rebuchet MS" panose="020B0603020202020204" pitchFamily="34" charset="0"/>
                      </a:endParaRPr>
                    </a:p>
                  </a:txBody>
                  <a:tcPr marL="10779" marR="10779" marT="1077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200" b="0" i="0" u="none" strike="noStrike" dirty="0">
                        <a:solidFill>
                          <a:srgbClr val="000000"/>
                        </a:solidFill>
                        <a:effectLst/>
                        <a:latin typeface="Trebuchet MS" panose="020B0603020202020204" pitchFamily="34" charset="0"/>
                      </a:endParaRPr>
                    </a:p>
                  </a:txBody>
                  <a:tcPr marL="10779" marR="10779" marT="1077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200" b="0" i="0" u="none" strike="noStrike" dirty="0">
                        <a:solidFill>
                          <a:srgbClr val="000000"/>
                        </a:solidFill>
                        <a:effectLst/>
                        <a:latin typeface="Trebuchet MS" panose="020B0603020202020204" pitchFamily="34" charset="0"/>
                      </a:endParaRPr>
                    </a:p>
                  </a:txBody>
                  <a:tcPr marL="10779" marR="10779" marT="1077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24847721"/>
                  </a:ext>
                </a:extLst>
              </a:tr>
              <a:tr h="376539">
                <a:tc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u="none" strike="noStrike" err="1">
                          <a:effectLst/>
                        </a:rPr>
                        <a:t>Total_A+B</a:t>
                      </a:r>
                      <a:r>
                        <a:rPr lang="en-IN" sz="1200" u="none" strike="noStrike">
                          <a:effectLst/>
                        </a:rPr>
                        <a:t>_(w/o Cu)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rebuchet MS" panose="020B0603020202020204" pitchFamily="34" charset="0"/>
                      </a:endParaRPr>
                    </a:p>
                  </a:txBody>
                  <a:tcPr marL="10779" marR="10779" marT="1077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rebuchet MS" panose="020B0603020202020204" pitchFamily="34" charset="0"/>
                      </a:endParaRPr>
                    </a:p>
                  </a:txBody>
                  <a:tcPr marL="10779" marR="10779" marT="1077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200" b="0" i="0" u="none" strike="noStrike" dirty="0">
                        <a:solidFill>
                          <a:srgbClr val="000000"/>
                        </a:solidFill>
                        <a:effectLst/>
                        <a:latin typeface="Trebuchet MS" panose="020B0603020202020204" pitchFamily="34" charset="0"/>
                      </a:endParaRPr>
                    </a:p>
                  </a:txBody>
                  <a:tcPr marL="10779" marR="10779" marT="1077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rebuchet MS" panose="020B0603020202020204" pitchFamily="34" charset="0"/>
                      </a:endParaRPr>
                    </a:p>
                  </a:txBody>
                  <a:tcPr marL="10779" marR="10779" marT="1077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rebuchet MS" panose="020B0603020202020204" pitchFamily="34" charset="0"/>
                      </a:endParaRPr>
                    </a:p>
                  </a:txBody>
                  <a:tcPr marL="10779" marR="10779" marT="1077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rebuchet MS" panose="020B0603020202020204" pitchFamily="34" charset="0"/>
                      </a:endParaRPr>
                    </a:p>
                  </a:txBody>
                  <a:tcPr marL="10779" marR="10779" marT="1077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200" b="0" i="0" u="none" strike="noStrike" dirty="0">
                        <a:solidFill>
                          <a:srgbClr val="000000"/>
                        </a:solidFill>
                        <a:effectLst/>
                        <a:latin typeface="Trebuchet MS" panose="020B0603020202020204" pitchFamily="34" charset="0"/>
                      </a:endParaRPr>
                    </a:p>
                  </a:txBody>
                  <a:tcPr marL="10779" marR="10779" marT="1077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200" b="0" i="0" u="none" strike="noStrike" dirty="0">
                        <a:solidFill>
                          <a:srgbClr val="000000"/>
                        </a:solidFill>
                        <a:effectLst/>
                        <a:latin typeface="Trebuchet MS" panose="020B0603020202020204" pitchFamily="34" charset="0"/>
                      </a:endParaRPr>
                    </a:p>
                  </a:txBody>
                  <a:tcPr marL="10779" marR="10779" marT="1077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25636898"/>
                  </a:ext>
                </a:extLst>
              </a:tr>
            </a:tbl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367D3F0E-9BF9-EFFC-0776-E594C9FB3836}"/>
              </a:ext>
            </a:extLst>
          </p:cNvPr>
          <p:cNvSpPr txBox="1">
            <a:spLocks/>
          </p:cNvSpPr>
          <p:nvPr/>
        </p:nvSpPr>
        <p:spPr>
          <a:xfrm>
            <a:off x="2263140" y="194706"/>
            <a:ext cx="6995160" cy="501015"/>
          </a:xfrm>
          <a:prstGeom prst="homePlate">
            <a:avLst>
              <a:gd name="adj" fmla="val 110000"/>
            </a:avLst>
          </a:prstGeom>
          <a:solidFill>
            <a:srgbClr val="F8CBAD"/>
          </a:solidFill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Gotham" pitchFamily="50" charset="0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</a:pPr>
            <a:r>
              <a:rPr lang="en-IN" sz="2800" b="1" dirty="0"/>
              <a:t>Anode: Overall comparison</a:t>
            </a:r>
          </a:p>
        </p:txBody>
      </p:sp>
    </p:spTree>
    <p:extLst>
      <p:ext uri="{BB962C8B-B14F-4D97-AF65-F5344CB8AC3E}">
        <p14:creationId xmlns:p14="http://schemas.microsoft.com/office/powerpoint/2010/main" val="284322964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F1322BC9-1340-7B6C-4DF9-FA33C0932BD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74658380"/>
              </p:ext>
            </p:extLst>
          </p:nvPr>
        </p:nvGraphicFramePr>
        <p:xfrm>
          <a:off x="369572" y="892221"/>
          <a:ext cx="10516933" cy="5518633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673613">
                  <a:extLst>
                    <a:ext uri="{9D8B030D-6E8A-4147-A177-3AD203B41FA5}">
                      <a16:colId xmlns:a16="http://schemas.microsoft.com/office/drawing/2014/main" val="2526796930"/>
                    </a:ext>
                  </a:extLst>
                </a:gridCol>
                <a:gridCol w="1573713">
                  <a:extLst>
                    <a:ext uri="{9D8B030D-6E8A-4147-A177-3AD203B41FA5}">
                      <a16:colId xmlns:a16="http://schemas.microsoft.com/office/drawing/2014/main" val="3604530580"/>
                    </a:ext>
                  </a:extLst>
                </a:gridCol>
                <a:gridCol w="1045028">
                  <a:extLst>
                    <a:ext uri="{9D8B030D-6E8A-4147-A177-3AD203B41FA5}">
                      <a16:colId xmlns:a16="http://schemas.microsoft.com/office/drawing/2014/main" val="2831887177"/>
                    </a:ext>
                  </a:extLst>
                </a:gridCol>
                <a:gridCol w="1174421">
                  <a:extLst>
                    <a:ext uri="{9D8B030D-6E8A-4147-A177-3AD203B41FA5}">
                      <a16:colId xmlns:a16="http://schemas.microsoft.com/office/drawing/2014/main" val="255893747"/>
                    </a:ext>
                  </a:extLst>
                </a:gridCol>
                <a:gridCol w="1080883">
                  <a:extLst>
                    <a:ext uri="{9D8B030D-6E8A-4147-A177-3AD203B41FA5}">
                      <a16:colId xmlns:a16="http://schemas.microsoft.com/office/drawing/2014/main" val="1451346574"/>
                    </a:ext>
                  </a:extLst>
                </a:gridCol>
                <a:gridCol w="893807">
                  <a:extLst>
                    <a:ext uri="{9D8B030D-6E8A-4147-A177-3AD203B41FA5}">
                      <a16:colId xmlns:a16="http://schemas.microsoft.com/office/drawing/2014/main" val="3334116000"/>
                    </a:ext>
                  </a:extLst>
                </a:gridCol>
                <a:gridCol w="997540">
                  <a:extLst>
                    <a:ext uri="{9D8B030D-6E8A-4147-A177-3AD203B41FA5}">
                      <a16:colId xmlns:a16="http://schemas.microsoft.com/office/drawing/2014/main" val="2655592206"/>
                    </a:ext>
                  </a:extLst>
                </a:gridCol>
                <a:gridCol w="1038964">
                  <a:extLst>
                    <a:ext uri="{9D8B030D-6E8A-4147-A177-3AD203B41FA5}">
                      <a16:colId xmlns:a16="http://schemas.microsoft.com/office/drawing/2014/main" val="1957341793"/>
                    </a:ext>
                  </a:extLst>
                </a:gridCol>
                <a:gridCol w="1038964">
                  <a:extLst>
                    <a:ext uri="{9D8B030D-6E8A-4147-A177-3AD203B41FA5}">
                      <a16:colId xmlns:a16="http://schemas.microsoft.com/office/drawing/2014/main" val="2804444283"/>
                    </a:ext>
                  </a:extLst>
                </a:gridCol>
              </a:tblGrid>
              <a:tr h="260425">
                <a:tc>
                  <a:txBody>
                    <a:bodyPr/>
                    <a:lstStyle/>
                    <a:p>
                      <a:pPr algn="ctr" fontAlgn="b"/>
                      <a:endParaRPr lang="en-IN" sz="1200" b="1" i="0" u="none" strike="noStrike">
                        <a:solidFill>
                          <a:schemeClr val="bg1"/>
                        </a:solidFill>
                        <a:effectLst/>
                        <a:latin typeface="Trebuchet MS" panose="020B0603020202020204" pitchFamily="34" charset="0"/>
                      </a:endParaRPr>
                    </a:p>
                  </a:txBody>
                  <a:tcPr marL="10779" marR="10779" marT="10779" marB="0" anchor="ctr"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IN" sz="1200" b="1" i="0" u="none" strike="noStrike">
                        <a:solidFill>
                          <a:schemeClr val="bg1"/>
                        </a:solidFill>
                        <a:effectLst/>
                        <a:latin typeface="Trebuchet MS" panose="020B0603020202020204" pitchFamily="34" charset="0"/>
                      </a:endParaRPr>
                    </a:p>
                  </a:txBody>
                  <a:tcPr marL="10779" marR="10779" marT="10779" marB="0" anchor="ctr"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cap="none" spc="0" dirty="0">
                          <a:solidFill>
                            <a:schemeClr val="bg1"/>
                          </a:solidFill>
                          <a:effectLst/>
                          <a:latin typeface="Aptos Display" panose="020B0004020202020204" pitchFamily="34" charset="0"/>
                        </a:rPr>
                        <a:t>B</a:t>
                      </a:r>
                      <a:r>
                        <a:rPr lang="en-IN" sz="1200" b="0" i="0" u="none" strike="noStrike" cap="none" spc="0" dirty="0">
                          <a:solidFill>
                            <a:schemeClr val="bg1"/>
                          </a:solidFill>
                          <a:effectLst/>
                          <a:latin typeface="Aptos Display" panose="020B0004020202020204" pitchFamily="34" charset="0"/>
                        </a:rPr>
                        <a:t>AK 5.5_21700</a:t>
                      </a:r>
                    </a:p>
                  </a:txBody>
                  <a:tcPr marL="59647" marR="4779" marT="45882" marB="45882" anchor="ctr"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cap="none" spc="0" dirty="0">
                          <a:solidFill>
                            <a:schemeClr val="bg1"/>
                          </a:solidFill>
                          <a:effectLst/>
                          <a:latin typeface="Aptos Display" panose="020B0004020202020204" pitchFamily="34" charset="0"/>
                        </a:rPr>
                        <a:t>4</a:t>
                      </a:r>
                      <a:r>
                        <a:rPr lang="en-IN" sz="1200" b="0" i="0" u="none" strike="noStrike" cap="none" spc="0" dirty="0">
                          <a:solidFill>
                            <a:schemeClr val="bg1"/>
                          </a:solidFill>
                          <a:effectLst/>
                          <a:latin typeface="Aptos Display" panose="020B0004020202020204" pitchFamily="34" charset="0"/>
                        </a:rPr>
                        <a:t>680 Gen2</a:t>
                      </a:r>
                    </a:p>
                  </a:txBody>
                  <a:tcPr marL="59647" marR="4779" marT="45882" marB="45882" anchor="ctr"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cap="none" spc="0" dirty="0" err="1">
                          <a:solidFill>
                            <a:schemeClr val="bg1"/>
                          </a:solidFill>
                          <a:effectLst/>
                          <a:latin typeface="Aptos Display" panose="020B0004020202020204" pitchFamily="34" charset="0"/>
                        </a:rPr>
                        <a:t>Blivex</a:t>
                      </a:r>
                      <a:r>
                        <a:rPr lang="en-US" sz="1200" b="0" i="0" u="none" strike="noStrike" cap="none" spc="0" dirty="0">
                          <a:solidFill>
                            <a:schemeClr val="bg1"/>
                          </a:solidFill>
                          <a:effectLst/>
                          <a:latin typeface="Aptos Display" panose="020B0004020202020204" pitchFamily="34" charset="0"/>
                        </a:rPr>
                        <a:t> 32700</a:t>
                      </a:r>
                      <a:endParaRPr lang="en-IN" sz="1200" b="0" i="0" u="none" strike="noStrike" cap="none" spc="0" dirty="0">
                        <a:solidFill>
                          <a:schemeClr val="bg1"/>
                        </a:solidFill>
                        <a:effectLst/>
                        <a:latin typeface="Aptos Display" panose="020B0004020202020204" pitchFamily="34" charset="0"/>
                      </a:endParaRPr>
                    </a:p>
                  </a:txBody>
                  <a:tcPr marL="59647" marR="4779" marT="45882" marB="45882" anchor="ctr"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cap="none" spc="0" dirty="0">
                          <a:solidFill>
                            <a:schemeClr val="bg1"/>
                          </a:solidFill>
                          <a:effectLst/>
                          <a:latin typeface="Aptos Display" panose="020B0004020202020204" pitchFamily="34" charset="0"/>
                        </a:rPr>
                        <a:t>CBAK 32140</a:t>
                      </a:r>
                      <a:endParaRPr lang="en-IN" sz="1200" b="0" i="0" u="none" strike="noStrike" cap="none" spc="0" dirty="0">
                        <a:solidFill>
                          <a:schemeClr val="bg1"/>
                        </a:solidFill>
                        <a:effectLst/>
                        <a:latin typeface="Aptos Display" panose="020B0004020202020204" pitchFamily="34" charset="0"/>
                      </a:endParaRPr>
                    </a:p>
                  </a:txBody>
                  <a:tcPr marL="59647" marR="4779" marT="45882" marB="45882" anchor="ctr"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u="none" strike="noStrike" cap="none" spc="0" dirty="0">
                          <a:solidFill>
                            <a:schemeClr val="bg1"/>
                          </a:solidFill>
                          <a:effectLst/>
                          <a:latin typeface="Aptos Display" panose="020B0004020202020204" pitchFamily="34" charset="0"/>
                        </a:rPr>
                        <a:t>EVE 5.0_21700</a:t>
                      </a:r>
                      <a:endParaRPr lang="en-IN" sz="1200" b="0" i="0" u="none" strike="noStrike" cap="none" spc="0" dirty="0">
                        <a:solidFill>
                          <a:schemeClr val="bg1"/>
                        </a:solidFill>
                        <a:effectLst/>
                        <a:latin typeface="Aptos Display" panose="020B0004020202020204" pitchFamily="34" charset="0"/>
                      </a:endParaRPr>
                    </a:p>
                  </a:txBody>
                  <a:tcPr marL="59647" marR="4779" marT="45882" marB="45882" anchor="ctr"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u="none" strike="noStrike" cap="none" spc="0" dirty="0" err="1">
                          <a:solidFill>
                            <a:schemeClr val="bg1"/>
                          </a:solidFill>
                          <a:effectLst/>
                          <a:latin typeface="Aptos Display" panose="020B0004020202020204" pitchFamily="34" charset="0"/>
                        </a:rPr>
                        <a:t>Moilicell</a:t>
                      </a:r>
                      <a:r>
                        <a:rPr lang="en-IN" sz="1200" b="0" u="none" strike="noStrike" cap="none" spc="0" dirty="0">
                          <a:solidFill>
                            <a:schemeClr val="bg1"/>
                          </a:solidFill>
                          <a:effectLst/>
                          <a:latin typeface="Aptos Display" panose="020B0004020202020204" pitchFamily="34" charset="0"/>
                        </a:rPr>
                        <a:t> 4.2 21700</a:t>
                      </a:r>
                      <a:endParaRPr lang="en-IN" sz="1200" b="0" i="0" u="none" strike="noStrike" cap="none" spc="0" dirty="0">
                        <a:solidFill>
                          <a:schemeClr val="bg1"/>
                        </a:solidFill>
                        <a:effectLst/>
                        <a:latin typeface="Aptos Display" panose="020B0004020202020204" pitchFamily="34" charset="0"/>
                      </a:endParaRPr>
                    </a:p>
                  </a:txBody>
                  <a:tcPr marL="59647" marR="4779" marT="45882" marB="45882" anchor="ctr"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0" u="none" strike="noStrike" cap="none" spc="0" dirty="0">
                          <a:solidFill>
                            <a:schemeClr val="bg1"/>
                          </a:solidFill>
                          <a:effectLst/>
                          <a:latin typeface="Aptos Display" panose="020B0004020202020204" pitchFamily="34" charset="0"/>
                        </a:rPr>
                        <a:t>RIN 5.8_21700</a:t>
                      </a:r>
                      <a:endParaRPr lang="en-IN" sz="1200" b="0" i="0" u="none" strike="noStrike" cap="none" spc="0" dirty="0">
                        <a:solidFill>
                          <a:schemeClr val="bg1"/>
                        </a:solidFill>
                        <a:effectLst/>
                        <a:latin typeface="Aptos Display" panose="020B0004020202020204" pitchFamily="34" charset="0"/>
                      </a:endParaRPr>
                    </a:p>
                  </a:txBody>
                  <a:tcPr marL="59647" marR="4779" marT="45882" marB="45882" anchor="ctr"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77819"/>
                  </a:ext>
                </a:extLst>
              </a:tr>
              <a:tr h="260425"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u="none" strike="noStrike">
                          <a:effectLst/>
                          <a:latin typeface="Trebuchet MS" panose="020B0603020202020204" pitchFamily="34" charset="0"/>
                        </a:rPr>
                        <a:t>Material 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rebuchet MS" panose="020B0603020202020204" pitchFamily="34" charset="0"/>
                      </a:endParaRPr>
                    </a:p>
                  </a:txBody>
                  <a:tcPr marL="10779" marR="10779" marT="10779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rebuchet MS" panose="020B0603020202020204" pitchFamily="34" charset="0"/>
                        </a:rPr>
                        <a:t>From SEM surface morphology</a:t>
                      </a:r>
                    </a:p>
                  </a:txBody>
                  <a:tcPr marL="10779" marR="10779" marT="10779" marB="0" anchor="ctr"/>
                </a:tc>
                <a:tc gridSpan="7"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rebuchet MS" panose="020B0603020202020204" pitchFamily="34" charset="0"/>
                        </a:rPr>
                        <a:t>To be checked @ EESL facility once ready</a:t>
                      </a:r>
                    </a:p>
                  </a:txBody>
                  <a:tcPr marL="10779" marR="10779" marT="10779" marB="0" anchor="ctr">
                    <a:solidFill>
                      <a:schemeClr val="bg2">
                        <a:lumMod val="9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10779" marR="10779" marT="10779" marB="0" anchor="ctr"/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10779" marR="10779" marT="10779" marB="0" anchor="ctr"/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10779" marR="10779" marT="10779" marB="0" anchor="ctr"/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10779" marR="10779" marT="10779" marB="0" anchor="ctr"/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10779" marR="10779" marT="10779" marB="0" anchor="ctr"/>
                </a:tc>
                <a:tc hMerge="1">
                  <a:txBody>
                    <a:bodyPr/>
                    <a:lstStyle/>
                    <a:p>
                      <a:endParaRPr dirty="0"/>
                    </a:p>
                  </a:txBody>
                  <a:tcPr marL="10779" marR="10779" marT="10779" marB="0" anchor="ctr"/>
                </a:tc>
                <a:extLst>
                  <a:ext uri="{0D108BD9-81ED-4DB2-BD59-A6C34878D82A}">
                    <a16:rowId xmlns:a16="http://schemas.microsoft.com/office/drawing/2014/main" val="3280207849"/>
                  </a:ext>
                </a:extLst>
              </a:tr>
              <a:tr h="360619"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b="0" u="none" strike="noStrike">
                          <a:solidFill>
                            <a:srgbClr val="000000"/>
                          </a:solidFill>
                          <a:effectLst/>
                          <a:latin typeface="Trebuchet MS" panose="020B0603020202020204" pitchFamily="34" charset="0"/>
                        </a:rPr>
                        <a:t>No of separators in cell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rebuchet MS" panose="020B0603020202020204" pitchFamily="34" charset="0"/>
                      </a:endParaRPr>
                    </a:p>
                  </a:txBody>
                  <a:tcPr marL="10779" marR="10779" marT="10779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200" b="0" i="0" u="none" strike="noStrike">
                          <a:solidFill>
                            <a:srgbClr val="000000"/>
                          </a:solidFill>
                          <a:effectLst/>
                          <a:latin typeface="Trebuchet MS" panose="020B0603020202020204" pitchFamily="34" charset="0"/>
                        </a:rPr>
                        <a:t>Design</a:t>
                      </a:r>
                    </a:p>
                  </a:txBody>
                  <a:tcPr marL="10779" marR="10779" marT="10779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200" b="0" i="0" u="none" strike="noStrike" dirty="0">
                        <a:solidFill>
                          <a:srgbClr val="000000"/>
                        </a:solidFill>
                        <a:effectLst/>
                        <a:latin typeface="Trebuchet MS" panose="020B0603020202020204" pitchFamily="34" charset="0"/>
                      </a:endParaRPr>
                    </a:p>
                  </a:txBody>
                  <a:tcPr marL="10779" marR="10779" marT="10779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200" b="0" i="0" u="none" strike="noStrike" dirty="0">
                        <a:solidFill>
                          <a:srgbClr val="000000"/>
                        </a:solidFill>
                        <a:effectLst/>
                        <a:latin typeface="Trebuchet MS" panose="020B0603020202020204" pitchFamily="34" charset="0"/>
                      </a:endParaRPr>
                    </a:p>
                  </a:txBody>
                  <a:tcPr marL="10779" marR="10779" marT="10779" marB="0" anchor="ctr"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rebuchet MS" panose="020B0603020202020204" pitchFamily="34" charset="0"/>
                      </a:endParaRPr>
                    </a:p>
                  </a:txBody>
                  <a:tcPr marL="10779" marR="10779" marT="10779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rebuchet MS" panose="020B0603020202020204" pitchFamily="34" charset="0"/>
                      </a:endParaRPr>
                    </a:p>
                  </a:txBody>
                  <a:tcPr marL="10779" marR="10779" marT="10779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rebuchet MS" panose="020B0603020202020204" pitchFamily="34" charset="0"/>
                      </a:endParaRPr>
                    </a:p>
                  </a:txBody>
                  <a:tcPr marL="10779" marR="10779" marT="10779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200" b="0" i="0" u="none" strike="noStrike" dirty="0">
                        <a:solidFill>
                          <a:srgbClr val="000000"/>
                        </a:solidFill>
                        <a:effectLst/>
                        <a:latin typeface="Trebuchet MS" panose="020B0603020202020204" pitchFamily="34" charset="0"/>
                      </a:endParaRPr>
                    </a:p>
                  </a:txBody>
                  <a:tcPr marL="10779" marR="10779" marT="10779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200" b="0" i="0" u="none" strike="noStrike" dirty="0">
                        <a:solidFill>
                          <a:srgbClr val="000000"/>
                        </a:solidFill>
                        <a:effectLst/>
                        <a:latin typeface="Trebuchet MS" panose="020B0603020202020204" pitchFamily="34" charset="0"/>
                      </a:endParaRPr>
                    </a:p>
                  </a:txBody>
                  <a:tcPr marL="10779" marR="10779" marT="10779" marB="0" anchor="ctr"/>
                </a:tc>
                <a:extLst>
                  <a:ext uri="{0D108BD9-81ED-4DB2-BD59-A6C34878D82A}">
                    <a16:rowId xmlns:a16="http://schemas.microsoft.com/office/drawing/2014/main" val="188312637"/>
                  </a:ext>
                </a:extLst>
              </a:tr>
              <a:tr h="315910"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b="0" u="none" strike="noStrike">
                          <a:solidFill>
                            <a:srgbClr val="000000"/>
                          </a:solidFill>
                          <a:effectLst/>
                          <a:latin typeface="Trebuchet MS" panose="020B0603020202020204" pitchFamily="34" charset="0"/>
                        </a:rPr>
                        <a:t>Separator-1 Length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rebuchet MS" panose="020B0603020202020204" pitchFamily="34" charset="0"/>
                      </a:endParaRPr>
                    </a:p>
                  </a:txBody>
                  <a:tcPr marL="10779" marR="10779" marT="10779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rebuchet MS" panose="020B0603020202020204" pitchFamily="34" charset="0"/>
                        </a:rPr>
                        <a:t>Design</a:t>
                      </a:r>
                    </a:p>
                  </a:txBody>
                  <a:tcPr marL="10779" marR="10779" marT="10779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200" b="0" i="0" u="none" strike="noStrike" dirty="0">
                        <a:solidFill>
                          <a:srgbClr val="000000"/>
                        </a:solidFill>
                        <a:effectLst/>
                        <a:latin typeface="Trebuchet MS" panose="020B0603020202020204" pitchFamily="34" charset="0"/>
                      </a:endParaRPr>
                    </a:p>
                  </a:txBody>
                  <a:tcPr marL="10779" marR="10779" marT="10779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200" b="0" i="0" u="none" strike="noStrike" dirty="0">
                        <a:solidFill>
                          <a:srgbClr val="000000"/>
                        </a:solidFill>
                        <a:effectLst/>
                        <a:latin typeface="Trebuchet MS" panose="020B0603020202020204" pitchFamily="34" charset="0"/>
                      </a:endParaRPr>
                    </a:p>
                  </a:txBody>
                  <a:tcPr marL="10779" marR="10779" marT="10779" marB="0" anchor="ctr"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rebuchet MS" panose="020B0603020202020204" pitchFamily="34" charset="0"/>
                      </a:endParaRPr>
                    </a:p>
                  </a:txBody>
                  <a:tcPr marL="10779" marR="10779" marT="10779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rebuchet MS" panose="020B0603020202020204" pitchFamily="34" charset="0"/>
                      </a:endParaRPr>
                    </a:p>
                  </a:txBody>
                  <a:tcPr marL="10779" marR="10779" marT="10779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200" b="0" i="0" u="none" strike="noStrike" dirty="0">
                        <a:solidFill>
                          <a:srgbClr val="000000"/>
                        </a:solidFill>
                        <a:effectLst/>
                        <a:latin typeface="Trebuchet MS" panose="020B0603020202020204" pitchFamily="34" charset="0"/>
                      </a:endParaRPr>
                    </a:p>
                  </a:txBody>
                  <a:tcPr marL="10779" marR="10779" marT="10779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200" b="0" i="0" u="none" strike="noStrike" dirty="0">
                        <a:solidFill>
                          <a:srgbClr val="000000"/>
                        </a:solidFill>
                        <a:effectLst/>
                        <a:latin typeface="Trebuchet MS" panose="020B0603020202020204" pitchFamily="34" charset="0"/>
                      </a:endParaRPr>
                    </a:p>
                  </a:txBody>
                  <a:tcPr marL="10779" marR="10779" marT="10779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200" b="0" i="0" u="none" strike="noStrike" dirty="0">
                        <a:solidFill>
                          <a:srgbClr val="000000"/>
                        </a:solidFill>
                        <a:effectLst/>
                        <a:latin typeface="Trebuchet MS" panose="020B0603020202020204" pitchFamily="34" charset="0"/>
                      </a:endParaRPr>
                    </a:p>
                  </a:txBody>
                  <a:tcPr marL="10779" marR="10779" marT="10779" marB="0" anchor="ctr"/>
                </a:tc>
                <a:extLst>
                  <a:ext uri="{0D108BD9-81ED-4DB2-BD59-A6C34878D82A}">
                    <a16:rowId xmlns:a16="http://schemas.microsoft.com/office/drawing/2014/main" val="3690019288"/>
                  </a:ext>
                </a:extLst>
              </a:tr>
              <a:tr h="315910"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b="0" u="none" strike="noStrike">
                          <a:solidFill>
                            <a:srgbClr val="000000"/>
                          </a:solidFill>
                          <a:effectLst/>
                          <a:latin typeface="Trebuchet MS" panose="020B0603020202020204" pitchFamily="34" charset="0"/>
                        </a:rPr>
                        <a:t>Separator-2 Length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rebuchet MS" panose="020B0603020202020204" pitchFamily="34" charset="0"/>
                      </a:endParaRPr>
                    </a:p>
                  </a:txBody>
                  <a:tcPr marL="10779" marR="10779" marT="10779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rebuchet MS" panose="020B0603020202020204" pitchFamily="34" charset="0"/>
                        </a:rPr>
                        <a:t>Design</a:t>
                      </a:r>
                    </a:p>
                  </a:txBody>
                  <a:tcPr marL="10779" marR="10779" marT="10779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rebuchet MS" panose="020B0603020202020204" pitchFamily="34" charset="0"/>
                      </a:endParaRPr>
                    </a:p>
                  </a:txBody>
                  <a:tcPr marL="10779" marR="10779" marT="10779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200" b="0" i="0" u="none" strike="noStrike" dirty="0">
                        <a:solidFill>
                          <a:srgbClr val="000000"/>
                        </a:solidFill>
                        <a:effectLst/>
                        <a:latin typeface="Trebuchet MS" panose="020B0603020202020204" pitchFamily="34" charset="0"/>
                      </a:endParaRPr>
                    </a:p>
                  </a:txBody>
                  <a:tcPr marL="10779" marR="10779" marT="10779" marB="0" anchor="ctr"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rebuchet MS" panose="020B0603020202020204" pitchFamily="34" charset="0"/>
                      </a:endParaRPr>
                    </a:p>
                  </a:txBody>
                  <a:tcPr marL="10779" marR="10779" marT="10779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rebuchet MS" panose="020B0603020202020204" pitchFamily="34" charset="0"/>
                      </a:endParaRPr>
                    </a:p>
                  </a:txBody>
                  <a:tcPr marL="10779" marR="10779" marT="10779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rebuchet MS" panose="020B0603020202020204" pitchFamily="34" charset="0"/>
                      </a:endParaRPr>
                    </a:p>
                  </a:txBody>
                  <a:tcPr marL="10779" marR="10779" marT="10779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200" b="0" i="0" u="none" strike="noStrike" dirty="0">
                        <a:solidFill>
                          <a:srgbClr val="000000"/>
                        </a:solidFill>
                        <a:effectLst/>
                        <a:latin typeface="Trebuchet MS" panose="020B0603020202020204" pitchFamily="34" charset="0"/>
                      </a:endParaRPr>
                    </a:p>
                  </a:txBody>
                  <a:tcPr marL="10779" marR="10779" marT="10779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200" b="0" i="0" u="none" strike="noStrike" dirty="0">
                        <a:solidFill>
                          <a:srgbClr val="000000"/>
                        </a:solidFill>
                        <a:effectLst/>
                        <a:latin typeface="Trebuchet MS" panose="020B0603020202020204" pitchFamily="34" charset="0"/>
                      </a:endParaRPr>
                    </a:p>
                  </a:txBody>
                  <a:tcPr marL="10779" marR="10779" marT="10779" marB="0" anchor="ctr"/>
                </a:tc>
                <a:extLst>
                  <a:ext uri="{0D108BD9-81ED-4DB2-BD59-A6C34878D82A}">
                    <a16:rowId xmlns:a16="http://schemas.microsoft.com/office/drawing/2014/main" val="3298320290"/>
                  </a:ext>
                </a:extLst>
              </a:tr>
              <a:tr h="315910"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b="0" u="none" strike="noStrike">
                          <a:solidFill>
                            <a:srgbClr val="000000"/>
                          </a:solidFill>
                          <a:effectLst/>
                          <a:latin typeface="Trebuchet MS" panose="020B0603020202020204" pitchFamily="34" charset="0"/>
                        </a:rPr>
                        <a:t>Separator Width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rebuchet MS" panose="020B0603020202020204" pitchFamily="34" charset="0"/>
                      </a:endParaRPr>
                    </a:p>
                  </a:txBody>
                  <a:tcPr marL="10779" marR="10779" marT="10779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rebuchet MS" panose="020B0603020202020204" pitchFamily="34" charset="0"/>
                        </a:rPr>
                        <a:t>Design</a:t>
                      </a:r>
                      <a:endParaRPr lang="en-IN" sz="1200" dirty="0">
                        <a:latin typeface="Trebuchet MS" panose="020B0603020202020204" pitchFamily="34" charset="0"/>
                      </a:endParaRPr>
                    </a:p>
                  </a:txBody>
                  <a:tcPr marL="10779" marR="10779" marT="10779" marB="0" anchor="ctr"/>
                </a:tc>
                <a:tc>
                  <a:txBody>
                    <a:bodyPr/>
                    <a:lstStyle/>
                    <a:p>
                      <a:endParaRPr lang="en-IN" sz="1200">
                        <a:latin typeface="Trebuchet MS" panose="020B0603020202020204" pitchFamily="34" charset="0"/>
                      </a:endParaRPr>
                    </a:p>
                  </a:txBody>
                  <a:tcPr marL="10779" marR="10779" marT="10779" marB="0" anchor="ctr"/>
                </a:tc>
                <a:tc>
                  <a:txBody>
                    <a:bodyPr/>
                    <a:lstStyle/>
                    <a:p>
                      <a:endParaRPr lang="en-IN" sz="1200" dirty="0">
                        <a:latin typeface="Trebuchet MS" panose="020B0603020202020204" pitchFamily="34" charset="0"/>
                      </a:endParaRPr>
                    </a:p>
                  </a:txBody>
                  <a:tcPr marL="10779" marR="10779" marT="10779" marB="0" anchor="ctr"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IN" sz="1200">
                        <a:latin typeface="Trebuchet MS" panose="020B0603020202020204" pitchFamily="34" charset="0"/>
                      </a:endParaRPr>
                    </a:p>
                  </a:txBody>
                  <a:tcPr marL="10779" marR="10779" marT="10779" marB="0"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IN" sz="12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Trebuchet MS" panose="020B0603020202020204" pitchFamily="34" charset="0"/>
                        <a:ea typeface="+mn-ea"/>
                        <a:cs typeface="+mn-cs"/>
                      </a:endParaRPr>
                    </a:p>
                  </a:txBody>
                  <a:tcPr marL="10779" marR="10779" marT="10779" marB="0"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IN" sz="12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Trebuchet MS" panose="020B0603020202020204" pitchFamily="34" charset="0"/>
                        <a:ea typeface="+mn-ea"/>
                        <a:cs typeface="+mn-cs"/>
                      </a:endParaRPr>
                    </a:p>
                  </a:txBody>
                  <a:tcPr marL="10779" marR="10779" marT="10779" marB="0" anchor="ctr"/>
                </a:tc>
                <a:tc>
                  <a:txBody>
                    <a:bodyPr/>
                    <a:lstStyle/>
                    <a:p>
                      <a:endParaRPr lang="en-IN" sz="1200" dirty="0">
                        <a:latin typeface="Trebuchet MS" panose="020B0603020202020204" pitchFamily="34" charset="0"/>
                      </a:endParaRPr>
                    </a:p>
                  </a:txBody>
                  <a:tcPr marL="10779" marR="10779" marT="10779" marB="0" anchor="ctr"/>
                </a:tc>
                <a:tc>
                  <a:txBody>
                    <a:bodyPr/>
                    <a:lstStyle/>
                    <a:p>
                      <a:endParaRPr lang="en-IN" sz="1200" dirty="0">
                        <a:latin typeface="Trebuchet MS" panose="020B0603020202020204" pitchFamily="34" charset="0"/>
                      </a:endParaRPr>
                    </a:p>
                  </a:txBody>
                  <a:tcPr marL="10779" marR="10779" marT="10779" marB="0" anchor="ctr"/>
                </a:tc>
                <a:extLst>
                  <a:ext uri="{0D108BD9-81ED-4DB2-BD59-A6C34878D82A}">
                    <a16:rowId xmlns:a16="http://schemas.microsoft.com/office/drawing/2014/main" val="1824156811"/>
                  </a:ext>
                </a:extLst>
              </a:tr>
              <a:tr h="260425"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b="0" u="none" strike="noStrike">
                          <a:solidFill>
                            <a:srgbClr val="000000"/>
                          </a:solidFill>
                          <a:effectLst/>
                          <a:latin typeface="Trebuchet MS" panose="020B0603020202020204" pitchFamily="34" charset="0"/>
                        </a:rPr>
                        <a:t>Separator Thickness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rebuchet MS" panose="020B0603020202020204" pitchFamily="34" charset="0"/>
                      </a:endParaRPr>
                    </a:p>
                  </a:txBody>
                  <a:tcPr marL="10779" marR="10779" marT="10779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rebuchet MS" panose="020B0603020202020204" pitchFamily="34" charset="0"/>
                        </a:rPr>
                        <a:t>Design</a:t>
                      </a:r>
                    </a:p>
                  </a:txBody>
                  <a:tcPr marL="10779" marR="10779" marT="10779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IN" sz="1200">
                        <a:latin typeface="Trebuchet MS" panose="020B0603020202020204" pitchFamily="34" charset="0"/>
                      </a:endParaRPr>
                    </a:p>
                  </a:txBody>
                  <a:tcPr marL="10779" marR="10779" marT="10779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IN" sz="1200" dirty="0">
                        <a:latin typeface="Trebuchet MS" panose="020B0603020202020204" pitchFamily="34" charset="0"/>
                      </a:endParaRPr>
                    </a:p>
                  </a:txBody>
                  <a:tcPr marL="10779" marR="10779" marT="10779" marB="0" anchor="ctr"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IN" sz="1200">
                        <a:latin typeface="Trebuchet MS" panose="020B0603020202020204" pitchFamily="34" charset="0"/>
                      </a:endParaRPr>
                    </a:p>
                  </a:txBody>
                  <a:tcPr marL="10779" marR="10779" marT="10779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200" b="0" i="0" u="none" strike="noStrike">
                        <a:solidFill>
                          <a:srgbClr val="FF0000"/>
                        </a:solidFill>
                        <a:effectLst/>
                        <a:latin typeface="Trebuchet MS" panose="020B0603020202020204" pitchFamily="34" charset="0"/>
                      </a:endParaRPr>
                    </a:p>
                  </a:txBody>
                  <a:tcPr marL="10779" marR="10779" marT="10779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200" b="0" i="0" u="none" strike="noStrike">
                        <a:solidFill>
                          <a:srgbClr val="FF0000"/>
                        </a:solidFill>
                        <a:effectLst/>
                        <a:latin typeface="Trebuchet MS" panose="020B0603020202020204" pitchFamily="34" charset="0"/>
                      </a:endParaRPr>
                    </a:p>
                  </a:txBody>
                  <a:tcPr marL="10779" marR="10779" marT="10779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rebuchet MS" panose="020B0603020202020204" pitchFamily="34" charset="0"/>
                      </a:endParaRPr>
                    </a:p>
                  </a:txBody>
                  <a:tcPr marL="10779" marR="10779" marT="10779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rebuchet MS" panose="020B0603020202020204" pitchFamily="34" charset="0"/>
                      </a:endParaRPr>
                    </a:p>
                  </a:txBody>
                  <a:tcPr marL="10779" marR="10779" marT="10779" marB="0" anchor="ctr"/>
                </a:tc>
                <a:extLst>
                  <a:ext uri="{0D108BD9-81ED-4DB2-BD59-A6C34878D82A}">
                    <a16:rowId xmlns:a16="http://schemas.microsoft.com/office/drawing/2014/main" val="519179157"/>
                  </a:ext>
                </a:extLst>
              </a:tr>
              <a:tr h="260425"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b="0" u="none" strike="noStrike">
                          <a:solidFill>
                            <a:srgbClr val="000000"/>
                          </a:solidFill>
                          <a:effectLst/>
                          <a:latin typeface="Trebuchet MS" panose="020B0603020202020204" pitchFamily="34" charset="0"/>
                        </a:rPr>
                        <a:t>Base film thickness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rebuchet MS" panose="020B0603020202020204" pitchFamily="34" charset="0"/>
                      </a:endParaRPr>
                    </a:p>
                  </a:txBody>
                  <a:tcPr marL="10779" marR="10779" marT="10779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rebuchet MS" panose="020B0603020202020204" pitchFamily="34" charset="0"/>
                        </a:rPr>
                        <a:t>From SEM cross-section</a:t>
                      </a:r>
                    </a:p>
                  </a:txBody>
                  <a:tcPr marL="10779" marR="10779" marT="10779" marB="0" anchor="ctr"/>
                </a:tc>
                <a:tc gridSpan="7"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rebuchet MS" panose="020B0603020202020204" pitchFamily="34" charset="0"/>
                        </a:rPr>
                        <a:t>To be checked @ EESL facility once ready</a:t>
                      </a:r>
                    </a:p>
                  </a:txBody>
                  <a:tcPr marL="10779" marR="10779" marT="10779" marB="0" anchor="ctr">
                    <a:solidFill>
                      <a:schemeClr val="bg2">
                        <a:lumMod val="9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IN" sz="1200" b="0" i="0" u="none" strike="noStrike" dirty="0">
                        <a:solidFill>
                          <a:srgbClr val="000000"/>
                        </a:solidFill>
                        <a:effectLst/>
                        <a:latin typeface="Trebuchet MS" panose="020B0603020202020204" pitchFamily="34" charset="0"/>
                      </a:endParaRPr>
                    </a:p>
                  </a:txBody>
                  <a:tcPr marL="10779" marR="10779" marT="10779" marB="0" anchor="ctr"/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n-IN" sz="1200" b="0" i="0" u="none" strike="noStrike" dirty="0">
                        <a:solidFill>
                          <a:srgbClr val="000000"/>
                        </a:solidFill>
                        <a:effectLst/>
                        <a:latin typeface="Trebuchet MS" panose="020B0603020202020204" pitchFamily="34" charset="0"/>
                      </a:endParaRPr>
                    </a:p>
                  </a:txBody>
                  <a:tcPr marL="10779" marR="10779" marT="10779" marB="0" anchor="ctr"/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IN" sz="1200" b="0" i="0" u="none" strike="noStrike" dirty="0">
                        <a:solidFill>
                          <a:srgbClr val="000000"/>
                        </a:solidFill>
                        <a:effectLst/>
                        <a:latin typeface="Trebuchet MS" panose="020B0603020202020204" pitchFamily="34" charset="0"/>
                      </a:endParaRPr>
                    </a:p>
                  </a:txBody>
                  <a:tcPr marL="10779" marR="10779" marT="10779" marB="0" anchor="ctr"/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n-IN" sz="1200" b="0" i="0" u="none" strike="noStrike" dirty="0">
                        <a:solidFill>
                          <a:srgbClr val="000000"/>
                        </a:solidFill>
                        <a:effectLst/>
                        <a:latin typeface="Trebuchet MS" panose="020B0603020202020204" pitchFamily="34" charset="0"/>
                      </a:endParaRPr>
                    </a:p>
                  </a:txBody>
                  <a:tcPr marL="10779" marR="10779" marT="10779" marB="0" anchor="ctr"/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IN" sz="1200" b="0" i="0" u="none" strike="noStrike" dirty="0">
                        <a:solidFill>
                          <a:srgbClr val="000000"/>
                        </a:solidFill>
                        <a:effectLst/>
                        <a:latin typeface="Trebuchet MS" panose="020B0603020202020204" pitchFamily="34" charset="0"/>
                      </a:endParaRPr>
                    </a:p>
                  </a:txBody>
                  <a:tcPr marL="10779" marR="10779" marT="10779" marB="0" anchor="ctr"/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n-IN" sz="1200" b="0" i="0" u="none" strike="noStrike" dirty="0">
                        <a:solidFill>
                          <a:srgbClr val="000000"/>
                        </a:solidFill>
                        <a:effectLst/>
                        <a:latin typeface="Trebuchet MS" panose="020B0603020202020204" pitchFamily="34" charset="0"/>
                      </a:endParaRPr>
                    </a:p>
                  </a:txBody>
                  <a:tcPr marL="10779" marR="10779" marT="10779" marB="0" anchor="ctr"/>
                </a:tc>
                <a:extLst>
                  <a:ext uri="{0D108BD9-81ED-4DB2-BD59-A6C34878D82A}">
                    <a16:rowId xmlns:a16="http://schemas.microsoft.com/office/drawing/2014/main" val="2857282358"/>
                  </a:ext>
                </a:extLst>
              </a:tr>
              <a:tr h="417232"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b="0" u="none" strike="noStrike">
                          <a:solidFill>
                            <a:srgbClr val="000000"/>
                          </a:solidFill>
                          <a:effectLst/>
                          <a:latin typeface="Trebuchet MS" panose="020B0603020202020204" pitchFamily="34" charset="0"/>
                        </a:rPr>
                        <a:t>Is both separators morphology identical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rebuchet MS" panose="020B0603020202020204" pitchFamily="34" charset="0"/>
                      </a:endParaRPr>
                    </a:p>
                  </a:txBody>
                  <a:tcPr marL="10779" marR="10779" marT="10779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rebuchet MS" panose="020B0603020202020204" pitchFamily="34" charset="0"/>
                        </a:rPr>
                        <a:t>Visual inspection</a:t>
                      </a:r>
                    </a:p>
                  </a:txBody>
                  <a:tcPr marL="10779" marR="10779" marT="10779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rebuchet MS" panose="020B0603020202020204" pitchFamily="34" charset="0"/>
                      </a:endParaRPr>
                    </a:p>
                  </a:txBody>
                  <a:tcPr marL="10779" marR="10779" marT="10779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200" b="0" i="0" u="none" strike="noStrike" dirty="0">
                        <a:solidFill>
                          <a:srgbClr val="000000"/>
                        </a:solidFill>
                        <a:effectLst/>
                        <a:latin typeface="Trebuchet MS" panose="020B0603020202020204" pitchFamily="34" charset="0"/>
                      </a:endParaRPr>
                    </a:p>
                  </a:txBody>
                  <a:tcPr marL="10779" marR="10779" marT="10779" marB="0" anchor="ctr"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200" b="0" i="0" u="none" strike="noStrike" dirty="0">
                        <a:solidFill>
                          <a:srgbClr val="000000"/>
                        </a:solidFill>
                        <a:effectLst/>
                        <a:latin typeface="Trebuchet MS" panose="020B0603020202020204" pitchFamily="34" charset="0"/>
                      </a:endParaRPr>
                    </a:p>
                  </a:txBody>
                  <a:tcPr marL="10779" marR="10779" marT="10779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rebuchet MS" panose="020B0603020202020204" pitchFamily="34" charset="0"/>
                      </a:endParaRPr>
                    </a:p>
                  </a:txBody>
                  <a:tcPr marL="10779" marR="10779" marT="10779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rebuchet MS" panose="020B0603020202020204" pitchFamily="34" charset="0"/>
                      </a:endParaRPr>
                    </a:p>
                  </a:txBody>
                  <a:tcPr marL="10779" marR="10779" marT="10779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rebuchet MS" panose="020B0603020202020204" pitchFamily="34" charset="0"/>
                      </a:endParaRPr>
                    </a:p>
                  </a:txBody>
                  <a:tcPr marL="10779" marR="10779" marT="10779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rebuchet MS" panose="020B0603020202020204" pitchFamily="34" charset="0"/>
                      </a:endParaRPr>
                    </a:p>
                  </a:txBody>
                  <a:tcPr marL="10779" marR="10779" marT="10779" marB="0" anchor="ctr"/>
                </a:tc>
                <a:extLst>
                  <a:ext uri="{0D108BD9-81ED-4DB2-BD59-A6C34878D82A}">
                    <a16:rowId xmlns:a16="http://schemas.microsoft.com/office/drawing/2014/main" val="1361682647"/>
                  </a:ext>
                </a:extLst>
              </a:tr>
              <a:tr h="417232"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b="0" u="none" strike="noStrike">
                          <a:solidFill>
                            <a:srgbClr val="000000"/>
                          </a:solidFill>
                          <a:effectLst/>
                          <a:latin typeface="Trebuchet MS" panose="020B0603020202020204" pitchFamily="34" charset="0"/>
                        </a:rPr>
                        <a:t>Is separator Coated both sides/single side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rebuchet MS" panose="020B0603020202020204" pitchFamily="34" charset="0"/>
                      </a:endParaRPr>
                    </a:p>
                  </a:txBody>
                  <a:tcPr marL="10779" marR="10779" marT="10779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rebuchet MS" panose="020B0603020202020204" pitchFamily="34" charset="0"/>
                        </a:rPr>
                        <a:t>Visual/SEM morphology</a:t>
                      </a:r>
                    </a:p>
                  </a:txBody>
                  <a:tcPr marL="10779" marR="10779" marT="10779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rebuchet MS" panose="020B0603020202020204" pitchFamily="34" charset="0"/>
                      </a:endParaRPr>
                    </a:p>
                  </a:txBody>
                  <a:tcPr marL="10779" marR="10779" marT="10779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200" b="0" i="0" u="none" strike="noStrike" dirty="0">
                        <a:solidFill>
                          <a:srgbClr val="000000"/>
                        </a:solidFill>
                        <a:effectLst/>
                        <a:latin typeface="Trebuchet MS" panose="020B0603020202020204" pitchFamily="34" charset="0"/>
                      </a:endParaRPr>
                    </a:p>
                  </a:txBody>
                  <a:tcPr marL="10779" marR="10779" marT="10779" marB="0" anchor="ctr"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200" b="0" i="0" u="none" strike="noStrike" dirty="0">
                        <a:solidFill>
                          <a:srgbClr val="000000"/>
                        </a:solidFill>
                        <a:effectLst/>
                        <a:latin typeface="Trebuchet MS" panose="020B0603020202020204" pitchFamily="34" charset="0"/>
                      </a:endParaRPr>
                    </a:p>
                  </a:txBody>
                  <a:tcPr marL="10779" marR="10779" marT="10779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rebuchet MS" panose="020B0603020202020204" pitchFamily="34" charset="0"/>
                      </a:endParaRPr>
                    </a:p>
                  </a:txBody>
                  <a:tcPr marL="10779" marR="10779" marT="10779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rebuchet MS" panose="020B0603020202020204" pitchFamily="34" charset="0"/>
                      </a:endParaRPr>
                    </a:p>
                  </a:txBody>
                  <a:tcPr marL="10779" marR="10779" marT="10779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rebuchet MS" panose="020B0603020202020204" pitchFamily="34" charset="0"/>
                      </a:endParaRPr>
                    </a:p>
                  </a:txBody>
                  <a:tcPr marL="10779" marR="10779" marT="10779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rebuchet MS" panose="020B0603020202020204" pitchFamily="34" charset="0"/>
                      </a:endParaRPr>
                    </a:p>
                  </a:txBody>
                  <a:tcPr marL="10779" marR="10779" marT="10779" marB="0" anchor="ctr"/>
                </a:tc>
                <a:extLst>
                  <a:ext uri="{0D108BD9-81ED-4DB2-BD59-A6C34878D82A}">
                    <a16:rowId xmlns:a16="http://schemas.microsoft.com/office/drawing/2014/main" val="2401554180"/>
                  </a:ext>
                </a:extLst>
              </a:tr>
              <a:tr h="417232"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b="0" u="none" strike="noStrike">
                          <a:solidFill>
                            <a:srgbClr val="000000"/>
                          </a:solidFill>
                          <a:effectLst/>
                          <a:latin typeface="Trebuchet MS" panose="020B0603020202020204" pitchFamily="34" charset="0"/>
                        </a:rPr>
                        <a:t>Coating thickness on cathode side of separator (Probable)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rebuchet MS" panose="020B0603020202020204" pitchFamily="34" charset="0"/>
                      </a:endParaRPr>
                    </a:p>
                  </a:txBody>
                  <a:tcPr marL="10779" marR="10779" marT="10779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Trebuchet MS" panose="020B0603020202020204" pitchFamily="34" charset="0"/>
                        </a:rPr>
                        <a:t>Design &amp; visual inspection</a:t>
                      </a:r>
                    </a:p>
                  </a:txBody>
                  <a:tcPr marL="10779" marR="10779" marT="10779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rebuchet MS" panose="020B0603020202020204" pitchFamily="34" charset="0"/>
                      </a:endParaRPr>
                    </a:p>
                  </a:txBody>
                  <a:tcPr marL="10779" marR="10779" marT="10779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200" b="0" i="0" u="none" strike="noStrike" dirty="0">
                        <a:solidFill>
                          <a:srgbClr val="000000"/>
                        </a:solidFill>
                        <a:effectLst/>
                        <a:latin typeface="Trebuchet MS" panose="020B0603020202020204" pitchFamily="34" charset="0"/>
                      </a:endParaRPr>
                    </a:p>
                  </a:txBody>
                  <a:tcPr marL="10779" marR="10779" marT="10779" marB="0" anchor="ctr"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200" b="0" i="0" u="none" strike="noStrike" dirty="0">
                        <a:solidFill>
                          <a:srgbClr val="000000"/>
                        </a:solidFill>
                        <a:effectLst/>
                        <a:latin typeface="Trebuchet MS" panose="020B0603020202020204" pitchFamily="34" charset="0"/>
                      </a:endParaRPr>
                    </a:p>
                  </a:txBody>
                  <a:tcPr marL="10779" marR="10779" marT="10779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rebuchet MS" panose="020B0603020202020204" pitchFamily="34" charset="0"/>
                      </a:endParaRPr>
                    </a:p>
                  </a:txBody>
                  <a:tcPr marL="10779" marR="10779" marT="10779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rebuchet MS" panose="020B0603020202020204" pitchFamily="34" charset="0"/>
                      </a:endParaRPr>
                    </a:p>
                  </a:txBody>
                  <a:tcPr marL="10779" marR="10779" marT="10779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rebuchet MS" panose="020B0603020202020204" pitchFamily="34" charset="0"/>
                      </a:endParaRPr>
                    </a:p>
                  </a:txBody>
                  <a:tcPr marL="10779" marR="10779" marT="10779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rebuchet MS" panose="020B0603020202020204" pitchFamily="34" charset="0"/>
                      </a:endParaRPr>
                    </a:p>
                  </a:txBody>
                  <a:tcPr marL="10779" marR="10779" marT="10779" marB="0" anchor="ctr"/>
                </a:tc>
                <a:extLst>
                  <a:ext uri="{0D108BD9-81ED-4DB2-BD59-A6C34878D82A}">
                    <a16:rowId xmlns:a16="http://schemas.microsoft.com/office/drawing/2014/main" val="2155631172"/>
                  </a:ext>
                </a:extLst>
              </a:tr>
              <a:tr h="417232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1200" b="0" u="none" strike="noStrike">
                          <a:solidFill>
                            <a:srgbClr val="000000"/>
                          </a:solidFill>
                          <a:effectLst/>
                          <a:latin typeface="Trebuchet MS" panose="020B0603020202020204" pitchFamily="34" charset="0"/>
                        </a:rPr>
                        <a:t>Coating thickness on Anode side of separator (Probable)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rebuchet MS" panose="020B0603020202020204" pitchFamily="34" charset="0"/>
                      </a:endParaRPr>
                    </a:p>
                  </a:txBody>
                  <a:tcPr marL="10779" marR="10779" marT="10779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Trebuchet MS" panose="020B0603020202020204" pitchFamily="34" charset="0"/>
                        </a:rPr>
                        <a:t>Design &amp; visual inspection</a:t>
                      </a:r>
                    </a:p>
                  </a:txBody>
                  <a:tcPr marL="10779" marR="10779" marT="10779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rebuchet MS" panose="020B0603020202020204" pitchFamily="34" charset="0"/>
                      </a:endParaRPr>
                    </a:p>
                  </a:txBody>
                  <a:tcPr marL="10779" marR="10779" marT="10779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200" b="0" i="0" u="none" strike="noStrike" dirty="0">
                        <a:solidFill>
                          <a:srgbClr val="000000"/>
                        </a:solidFill>
                        <a:effectLst/>
                        <a:latin typeface="Trebuchet MS" panose="020B0603020202020204" pitchFamily="34" charset="0"/>
                      </a:endParaRPr>
                    </a:p>
                  </a:txBody>
                  <a:tcPr marL="10779" marR="10779" marT="10779" marB="0" anchor="ctr"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200" b="0" i="0" u="none" strike="noStrike" dirty="0">
                        <a:solidFill>
                          <a:srgbClr val="000000"/>
                        </a:solidFill>
                        <a:effectLst/>
                        <a:latin typeface="Trebuchet MS" panose="020B0603020202020204" pitchFamily="34" charset="0"/>
                      </a:endParaRPr>
                    </a:p>
                  </a:txBody>
                  <a:tcPr marL="10779" marR="10779" marT="10779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200" b="0" i="0" u="none" strike="noStrike" dirty="0">
                        <a:solidFill>
                          <a:srgbClr val="000000"/>
                        </a:solidFill>
                        <a:effectLst/>
                        <a:latin typeface="Trebuchet MS" panose="020B0603020202020204" pitchFamily="34" charset="0"/>
                      </a:endParaRPr>
                    </a:p>
                  </a:txBody>
                  <a:tcPr marL="10779" marR="10779" marT="10779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rebuchet MS" panose="020B0603020202020204" pitchFamily="34" charset="0"/>
                      </a:endParaRPr>
                    </a:p>
                  </a:txBody>
                  <a:tcPr marL="10779" marR="10779" marT="10779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rebuchet MS" panose="020B0603020202020204" pitchFamily="34" charset="0"/>
                      </a:endParaRPr>
                    </a:p>
                  </a:txBody>
                  <a:tcPr marL="10779" marR="10779" marT="10779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rebuchet MS" panose="020B0603020202020204" pitchFamily="34" charset="0"/>
                      </a:endParaRPr>
                    </a:p>
                  </a:txBody>
                  <a:tcPr marL="10779" marR="10779" marT="10779" marB="0" anchor="ctr"/>
                </a:tc>
                <a:extLst>
                  <a:ext uri="{0D108BD9-81ED-4DB2-BD59-A6C34878D82A}">
                    <a16:rowId xmlns:a16="http://schemas.microsoft.com/office/drawing/2014/main" val="1324847721"/>
                  </a:ext>
                </a:extLst>
              </a:tr>
              <a:tr h="409416"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Trebuchet MS" panose="020B0603020202020204" pitchFamily="34" charset="0"/>
                        </a:rPr>
                        <a:t>Coating material on cathode side</a:t>
                      </a:r>
                    </a:p>
                  </a:txBody>
                  <a:tcPr marL="10779" marR="10779" marT="10779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rebuchet MS" panose="020B0603020202020204" pitchFamily="34" charset="0"/>
                        </a:rPr>
                        <a:t>From SEM-EDX</a:t>
                      </a:r>
                    </a:p>
                  </a:txBody>
                  <a:tcPr marL="10779" marR="10779" marT="10779" marB="0" anchor="ctr"/>
                </a:tc>
                <a:tc gridSpan="7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rebuchet MS" panose="020B0603020202020204" pitchFamily="34" charset="0"/>
                        </a:rPr>
                        <a:t>To be checked @ EESL facility once ready</a:t>
                      </a:r>
                    </a:p>
                  </a:txBody>
                  <a:tcPr marL="10779" marR="10779" marT="10779" marB="0" anchor="ctr">
                    <a:solidFill>
                      <a:schemeClr val="bg2">
                        <a:lumMod val="9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10779" marR="10779" marT="10779" marB="0" anchor="ctr"/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10779" marR="10779" marT="10779" marB="0" anchor="ctr"/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10779" marR="10779" marT="10779" marB="0" anchor="ctr"/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10779" marR="10779" marT="10779" marB="0" anchor="ctr"/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10779" marR="10779" marT="10779" marB="0" anchor="ctr"/>
                </a:tc>
                <a:tc hMerge="1">
                  <a:txBody>
                    <a:bodyPr/>
                    <a:lstStyle/>
                    <a:p>
                      <a:endParaRPr dirty="0"/>
                    </a:p>
                  </a:txBody>
                  <a:tcPr marL="10779" marR="10779" marT="10779" marB="0" anchor="ctr"/>
                </a:tc>
                <a:extLst>
                  <a:ext uri="{0D108BD9-81ED-4DB2-BD59-A6C34878D82A}">
                    <a16:rowId xmlns:a16="http://schemas.microsoft.com/office/drawing/2014/main" val="3679263071"/>
                  </a:ext>
                </a:extLst>
              </a:tr>
              <a:tr h="260425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Trebuchet MS" panose="020B0603020202020204" pitchFamily="34" charset="0"/>
                        </a:rPr>
                        <a:t>Coating material on Anode side</a:t>
                      </a:r>
                    </a:p>
                  </a:txBody>
                  <a:tcPr marL="10779" marR="10779" marT="10779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Trebuchet MS" panose="020B0603020202020204" pitchFamily="34" charset="0"/>
                        </a:rPr>
                        <a:t>From SEM-EDX</a:t>
                      </a:r>
                    </a:p>
                  </a:txBody>
                  <a:tcPr marL="10779" marR="10779" marT="10779" marB="0" anchor="ctr"/>
                </a:tc>
                <a:tc gridSpan="7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rebuchet MS" panose="020B0603020202020204" pitchFamily="34" charset="0"/>
                        </a:rPr>
                        <a:t>To be checked @ EESL facility once ready</a:t>
                      </a:r>
                    </a:p>
                  </a:txBody>
                  <a:tcPr marL="10779" marR="10779" marT="10779" marB="0" anchor="ctr">
                    <a:solidFill>
                      <a:schemeClr val="bg2">
                        <a:lumMod val="9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10779" marR="10779" marT="10779" marB="0" anchor="ctr"/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10779" marR="10779" marT="10779" marB="0" anchor="ctr"/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10779" marR="10779" marT="10779" marB="0" anchor="ctr"/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10779" marR="10779" marT="10779" marB="0" anchor="ctr"/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10779" marR="10779" marT="10779" marB="0" anchor="ctr"/>
                </a:tc>
                <a:tc hMerge="1">
                  <a:txBody>
                    <a:bodyPr/>
                    <a:lstStyle/>
                    <a:p>
                      <a:endParaRPr dirty="0"/>
                    </a:p>
                  </a:txBody>
                  <a:tcPr marL="10779" marR="10779" marT="10779" marB="0" anchor="ctr"/>
                </a:tc>
                <a:extLst>
                  <a:ext uri="{0D108BD9-81ED-4DB2-BD59-A6C34878D82A}">
                    <a16:rowId xmlns:a16="http://schemas.microsoft.com/office/drawing/2014/main" val="2734494993"/>
                  </a:ext>
                </a:extLst>
              </a:tr>
            </a:tbl>
          </a:graphicData>
        </a:graphic>
      </p:graphicFrame>
      <p:sp>
        <p:nvSpPr>
          <p:cNvPr id="3" name="Title 3">
            <a:extLst>
              <a:ext uri="{FF2B5EF4-FFF2-40B4-BE49-F238E27FC236}">
                <a16:creationId xmlns:a16="http://schemas.microsoft.com/office/drawing/2014/main" id="{F809308B-31E2-45DF-5335-82B415C1F335}"/>
              </a:ext>
            </a:extLst>
          </p:cNvPr>
          <p:cNvSpPr txBox="1">
            <a:spLocks/>
          </p:cNvSpPr>
          <p:nvPr/>
        </p:nvSpPr>
        <p:spPr>
          <a:xfrm>
            <a:off x="2263140" y="194706"/>
            <a:ext cx="6995160" cy="501015"/>
          </a:xfrm>
          <a:prstGeom prst="homePlate">
            <a:avLst>
              <a:gd name="adj" fmla="val 110000"/>
            </a:avLst>
          </a:prstGeom>
          <a:solidFill>
            <a:srgbClr val="F8CBAD"/>
          </a:solidFill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Gotham" pitchFamily="50" charset="0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</a:pPr>
            <a:r>
              <a:rPr lang="en-IN" sz="2800" b="1" dirty="0"/>
              <a:t>Separator: Overall comparison</a:t>
            </a:r>
          </a:p>
        </p:txBody>
      </p:sp>
    </p:spTree>
    <p:extLst>
      <p:ext uri="{BB962C8B-B14F-4D97-AF65-F5344CB8AC3E}">
        <p14:creationId xmlns:p14="http://schemas.microsoft.com/office/powerpoint/2010/main" val="1450044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Sticker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TitleAndEndImages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TitleAndEndLogos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zHdBpIQwBy9w2YJ_sSycA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Sticker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5AiJlc1SjikgjnNs387ng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Sticker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Sticker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0gDn1l7TlyrFhv1Bb7CDw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Sticker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5AiJlc1SjikgjnNs387ng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Sticker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0gDn1l7TlyrFhv1Bb7CDw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Sticker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Sticker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5AiJlc1SjikgjnNs387ng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Sticker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TitleAndEndImages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TitleAndEndLogos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0gDn1l7TlyrFhv1Bb7CDw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Sticker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5AiJlc1SjikgjnNs387n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Sticker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Sticker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0gDn1l7TlyrFhv1Bb7CD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bAcT2U7sWizHG730pfUDw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5AiJlc1SjikgjnNs387ng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nVhS7V0eGB4hNwyffYVqg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1hIba0sxXbFDTYw2pDolw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LMJxUIV9G1DEyfPazL2ug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XzE9._mMLLGWwUoIS5bbQ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QN.c9Rd1X6gZ7W4Or6C.A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Exide energy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Exide energy" id="{206EEE7C-C3F3-4C6D-B936-CF6A081029ED}" vid="{A45DFD7E-760A-4B53-8453-9A25070B291D}"/>
    </a:ext>
  </a:extLst>
</a:theme>
</file>

<file path=ppt/theme/theme2.xml><?xml version="1.0" encoding="utf-8"?>
<a:theme xmlns:a="http://schemas.openxmlformats.org/drawingml/2006/main" name="Exide Grid 16:9 - 15353">
  <a:themeElements>
    <a:clrScheme name="Custom 3">
      <a:dk1>
        <a:srgbClr val="000000"/>
      </a:dk1>
      <a:lt1>
        <a:sysClr val="window" lastClr="FFFFFF"/>
      </a:lt1>
      <a:dk2>
        <a:srgbClr val="ED1B24"/>
      </a:dk2>
      <a:lt2>
        <a:srgbClr val="F2F2F2"/>
      </a:lt2>
      <a:accent1>
        <a:srgbClr val="7F0000"/>
      </a:accent1>
      <a:accent2>
        <a:srgbClr val="C00000"/>
      </a:accent2>
      <a:accent3>
        <a:srgbClr val="003366"/>
      </a:accent3>
      <a:accent4>
        <a:srgbClr val="FF7C80"/>
      </a:accent4>
      <a:accent5>
        <a:srgbClr val="4D4D4D"/>
      </a:accent5>
      <a:accent6>
        <a:srgbClr val="0C4CA3"/>
      </a:accent6>
      <a:hlink>
        <a:srgbClr val="003300"/>
      </a:hlink>
      <a:folHlink>
        <a:srgbClr val="299C3C"/>
      </a:folHlink>
    </a:clrScheme>
    <a:fontScheme name="BCG Trebuchet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 w="9525" cap="rnd" cmpd="sng" algn="ctr">
          <a:solidFill>
            <a:schemeClr val="tx2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err="1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rgbClr val="9A9A9A"/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3.xml><?xml version="1.0" encoding="utf-8"?>
<a:theme xmlns:a="http://schemas.openxmlformats.org/drawingml/2006/main" name="ACE Grid 16:9">
  <a:themeElements>
    <a:clrScheme name="Exide_Svolt">
      <a:dk1>
        <a:srgbClr val="034EA2"/>
      </a:dk1>
      <a:lt1>
        <a:srgbClr val="FFFFFF"/>
      </a:lt1>
      <a:dk2>
        <a:srgbClr val="1D2089"/>
      </a:dk2>
      <a:lt2>
        <a:srgbClr val="FFFFFF"/>
      </a:lt2>
      <a:accent1>
        <a:srgbClr val="034EA2"/>
      </a:accent1>
      <a:accent2>
        <a:srgbClr val="ED1D24"/>
      </a:accent2>
      <a:accent3>
        <a:srgbClr val="1D2089"/>
      </a:accent3>
      <a:accent4>
        <a:srgbClr val="B90F13"/>
      </a:accent4>
      <a:accent5>
        <a:srgbClr val="F8B600"/>
      </a:accent5>
      <a:accent6>
        <a:srgbClr val="7C7C7C"/>
      </a:accent6>
      <a:hlink>
        <a:srgbClr val="B90F13"/>
      </a:hlink>
      <a:folHlink>
        <a:srgbClr val="5458DA"/>
      </a:folHlink>
    </a:clrScheme>
    <a:fontScheme name="ACE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DB2026"/>
        </a:solidFill>
        <a:ln w="9525" cap="rnd" cmpd="sng" algn="ctr">
          <a:solidFill>
            <a:schemeClr val="tx2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err="1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4.xml><?xml version="1.0" encoding="utf-8"?>
<a:theme xmlns:a="http://schemas.openxmlformats.org/drawingml/2006/main" name="1_Exide Grid 16:9 - 15353">
  <a:themeElements>
    <a:clrScheme name="Custom 3">
      <a:dk1>
        <a:srgbClr val="000000"/>
      </a:dk1>
      <a:lt1>
        <a:sysClr val="window" lastClr="FFFFFF"/>
      </a:lt1>
      <a:dk2>
        <a:srgbClr val="ED1B24"/>
      </a:dk2>
      <a:lt2>
        <a:srgbClr val="F2F2F2"/>
      </a:lt2>
      <a:accent1>
        <a:srgbClr val="7F0000"/>
      </a:accent1>
      <a:accent2>
        <a:srgbClr val="C00000"/>
      </a:accent2>
      <a:accent3>
        <a:srgbClr val="003366"/>
      </a:accent3>
      <a:accent4>
        <a:srgbClr val="FF7C80"/>
      </a:accent4>
      <a:accent5>
        <a:srgbClr val="4D4D4D"/>
      </a:accent5>
      <a:accent6>
        <a:srgbClr val="0C4CA3"/>
      </a:accent6>
      <a:hlink>
        <a:srgbClr val="003300"/>
      </a:hlink>
      <a:folHlink>
        <a:srgbClr val="299C3C"/>
      </a:folHlink>
    </a:clrScheme>
    <a:fontScheme name="BCG Trebuchet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 w="9525" cap="rnd" cmpd="sng" algn="ctr">
          <a:solidFill>
            <a:schemeClr val="tx2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err="1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rgbClr val="9A9A9A"/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5.xml><?xml version="1.0" encoding="utf-8"?>
<a:theme xmlns:a="http://schemas.openxmlformats.org/drawingml/2006/main" name="2_Exide Grid 16:9 - 15353">
  <a:themeElements>
    <a:clrScheme name="Custom 3">
      <a:dk1>
        <a:srgbClr val="000000"/>
      </a:dk1>
      <a:lt1>
        <a:sysClr val="window" lastClr="FFFFFF"/>
      </a:lt1>
      <a:dk2>
        <a:srgbClr val="ED1B24"/>
      </a:dk2>
      <a:lt2>
        <a:srgbClr val="F2F2F2"/>
      </a:lt2>
      <a:accent1>
        <a:srgbClr val="7F0000"/>
      </a:accent1>
      <a:accent2>
        <a:srgbClr val="C00000"/>
      </a:accent2>
      <a:accent3>
        <a:srgbClr val="003366"/>
      </a:accent3>
      <a:accent4>
        <a:srgbClr val="FF7C80"/>
      </a:accent4>
      <a:accent5>
        <a:srgbClr val="4D4D4D"/>
      </a:accent5>
      <a:accent6>
        <a:srgbClr val="0C4CA3"/>
      </a:accent6>
      <a:hlink>
        <a:srgbClr val="003300"/>
      </a:hlink>
      <a:folHlink>
        <a:srgbClr val="299C3C"/>
      </a:folHlink>
    </a:clrScheme>
    <a:fontScheme name="BCG Trebuchet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 w="9525" cap="rnd" cmpd="sng" algn="ctr">
          <a:solidFill>
            <a:schemeClr val="tx2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err="1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rgbClr val="9A9A9A"/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6.xml><?xml version="1.0" encoding="utf-8"?>
<a:theme xmlns:a="http://schemas.openxmlformats.org/drawingml/2006/main" name="3_Exide Grid 16:9 - 15353">
  <a:themeElements>
    <a:clrScheme name="Custom 3">
      <a:dk1>
        <a:srgbClr val="000000"/>
      </a:dk1>
      <a:lt1>
        <a:sysClr val="window" lastClr="FFFFFF"/>
      </a:lt1>
      <a:dk2>
        <a:srgbClr val="ED1B24"/>
      </a:dk2>
      <a:lt2>
        <a:srgbClr val="F2F2F2"/>
      </a:lt2>
      <a:accent1>
        <a:srgbClr val="7F0000"/>
      </a:accent1>
      <a:accent2>
        <a:srgbClr val="C00000"/>
      </a:accent2>
      <a:accent3>
        <a:srgbClr val="003366"/>
      </a:accent3>
      <a:accent4>
        <a:srgbClr val="FF7C80"/>
      </a:accent4>
      <a:accent5>
        <a:srgbClr val="4D4D4D"/>
      </a:accent5>
      <a:accent6>
        <a:srgbClr val="0C4CA3"/>
      </a:accent6>
      <a:hlink>
        <a:srgbClr val="003300"/>
      </a:hlink>
      <a:folHlink>
        <a:srgbClr val="299C3C"/>
      </a:folHlink>
    </a:clrScheme>
    <a:fontScheme name="BCG Trebuchet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 w="9525" cap="rnd" cmpd="sng" algn="ctr">
          <a:solidFill>
            <a:schemeClr val="tx2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err="1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rgbClr val="9A9A9A"/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7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Custom 3">
    <a:dk1>
      <a:srgbClr val="000000"/>
    </a:dk1>
    <a:lt1>
      <a:sysClr val="window" lastClr="FFFFFF"/>
    </a:lt1>
    <a:dk2>
      <a:srgbClr val="ED1B24"/>
    </a:dk2>
    <a:lt2>
      <a:srgbClr val="F2F2F2"/>
    </a:lt2>
    <a:accent1>
      <a:srgbClr val="7F0000"/>
    </a:accent1>
    <a:accent2>
      <a:srgbClr val="C00000"/>
    </a:accent2>
    <a:accent3>
      <a:srgbClr val="003366"/>
    </a:accent3>
    <a:accent4>
      <a:srgbClr val="FF7C80"/>
    </a:accent4>
    <a:accent5>
      <a:srgbClr val="4D4D4D"/>
    </a:accent5>
    <a:accent6>
      <a:srgbClr val="0C4CA3"/>
    </a:accent6>
    <a:hlink>
      <a:srgbClr val="003300"/>
    </a:hlink>
    <a:folHlink>
      <a:srgbClr val="299C3C"/>
    </a:folHlink>
  </a:clrScheme>
</a:themeOverride>
</file>

<file path=ppt/theme/themeOverride2.xml><?xml version="1.0" encoding="utf-8"?>
<a:themeOverride xmlns:a="http://schemas.openxmlformats.org/drawingml/2006/main">
  <a:clrScheme name="Custom 3">
    <a:dk1>
      <a:srgbClr val="000000"/>
    </a:dk1>
    <a:lt1>
      <a:sysClr val="window" lastClr="FFFFFF"/>
    </a:lt1>
    <a:dk2>
      <a:srgbClr val="ED1B24"/>
    </a:dk2>
    <a:lt2>
      <a:srgbClr val="F2F2F2"/>
    </a:lt2>
    <a:accent1>
      <a:srgbClr val="7F0000"/>
    </a:accent1>
    <a:accent2>
      <a:srgbClr val="C00000"/>
    </a:accent2>
    <a:accent3>
      <a:srgbClr val="003366"/>
    </a:accent3>
    <a:accent4>
      <a:srgbClr val="FF7C80"/>
    </a:accent4>
    <a:accent5>
      <a:srgbClr val="4D4D4D"/>
    </a:accent5>
    <a:accent6>
      <a:srgbClr val="0C4CA3"/>
    </a:accent6>
    <a:hlink>
      <a:srgbClr val="003300"/>
    </a:hlink>
    <a:folHlink>
      <a:srgbClr val="299C3C"/>
    </a:folHlink>
  </a:clrScheme>
</a:themeOverride>
</file>

<file path=ppt/theme/themeOverride3.xml><?xml version="1.0" encoding="utf-8"?>
<a:themeOverride xmlns:a="http://schemas.openxmlformats.org/drawingml/2006/main">
  <a:clrScheme name="Custom 3">
    <a:dk1>
      <a:srgbClr val="000000"/>
    </a:dk1>
    <a:lt1>
      <a:sysClr val="window" lastClr="FFFFFF"/>
    </a:lt1>
    <a:dk2>
      <a:srgbClr val="ED1B24"/>
    </a:dk2>
    <a:lt2>
      <a:srgbClr val="F2F2F2"/>
    </a:lt2>
    <a:accent1>
      <a:srgbClr val="7F0000"/>
    </a:accent1>
    <a:accent2>
      <a:srgbClr val="C00000"/>
    </a:accent2>
    <a:accent3>
      <a:srgbClr val="003366"/>
    </a:accent3>
    <a:accent4>
      <a:srgbClr val="FF7C80"/>
    </a:accent4>
    <a:accent5>
      <a:srgbClr val="4D4D4D"/>
    </a:accent5>
    <a:accent6>
      <a:srgbClr val="0C4CA3"/>
    </a:accent6>
    <a:hlink>
      <a:srgbClr val="003300"/>
    </a:hlink>
    <a:folHlink>
      <a:srgbClr val="299C3C"/>
    </a:folHlink>
  </a:clrScheme>
</a:themeOverride>
</file>

<file path=ppt/theme/themeOverride4.xml><?xml version="1.0" encoding="utf-8"?>
<a:themeOverride xmlns:a="http://schemas.openxmlformats.org/drawingml/2006/main">
  <a:clrScheme name="Custom 3">
    <a:dk1>
      <a:srgbClr val="000000"/>
    </a:dk1>
    <a:lt1>
      <a:sysClr val="window" lastClr="FFFFFF"/>
    </a:lt1>
    <a:dk2>
      <a:srgbClr val="ED1B24"/>
    </a:dk2>
    <a:lt2>
      <a:srgbClr val="F2F2F2"/>
    </a:lt2>
    <a:accent1>
      <a:srgbClr val="7F0000"/>
    </a:accent1>
    <a:accent2>
      <a:srgbClr val="C00000"/>
    </a:accent2>
    <a:accent3>
      <a:srgbClr val="003366"/>
    </a:accent3>
    <a:accent4>
      <a:srgbClr val="FF7C80"/>
    </a:accent4>
    <a:accent5>
      <a:srgbClr val="4D4D4D"/>
    </a:accent5>
    <a:accent6>
      <a:srgbClr val="0C4CA3"/>
    </a:accent6>
    <a:hlink>
      <a:srgbClr val="003300"/>
    </a:hlink>
    <a:folHlink>
      <a:srgbClr val="299C3C"/>
    </a:folHlink>
  </a:clrScheme>
</a:themeOverride>
</file>

<file path=ppt/theme/themeOverride5.xml><?xml version="1.0" encoding="utf-8"?>
<a:themeOverride xmlns:a="http://schemas.openxmlformats.org/drawingml/2006/main">
  <a:clrScheme name="Custom 3">
    <a:dk1>
      <a:srgbClr val="000000"/>
    </a:dk1>
    <a:lt1>
      <a:sysClr val="window" lastClr="FFFFFF"/>
    </a:lt1>
    <a:dk2>
      <a:srgbClr val="ED1B24"/>
    </a:dk2>
    <a:lt2>
      <a:srgbClr val="F2F2F2"/>
    </a:lt2>
    <a:accent1>
      <a:srgbClr val="7F0000"/>
    </a:accent1>
    <a:accent2>
      <a:srgbClr val="C00000"/>
    </a:accent2>
    <a:accent3>
      <a:srgbClr val="003366"/>
    </a:accent3>
    <a:accent4>
      <a:srgbClr val="FF7C80"/>
    </a:accent4>
    <a:accent5>
      <a:srgbClr val="4D4D4D"/>
    </a:accent5>
    <a:accent6>
      <a:srgbClr val="0C4CA3"/>
    </a:accent6>
    <a:hlink>
      <a:srgbClr val="003300"/>
    </a:hlink>
    <a:folHlink>
      <a:srgbClr val="299C3C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Exide energy</Template>
  <TotalTime>1658</TotalTime>
  <Words>1326</Words>
  <Application>Microsoft Office PowerPoint</Application>
  <PresentationFormat>Widescreen</PresentationFormat>
  <Paragraphs>516</Paragraphs>
  <Slides>24</Slides>
  <Notes>5</Notes>
  <HiddenSlides>0</HiddenSlides>
  <MMClips>0</MMClips>
  <ScaleCrop>false</ScaleCrop>
  <HeadingPairs>
    <vt:vector size="8" baseType="variant">
      <vt:variant>
        <vt:lpstr>Fonts Used</vt:lpstr>
      </vt:variant>
      <vt:variant>
        <vt:i4>10</vt:i4>
      </vt:variant>
      <vt:variant>
        <vt:lpstr>Theme</vt:lpstr>
      </vt:variant>
      <vt:variant>
        <vt:i4>6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4</vt:i4>
      </vt:variant>
    </vt:vector>
  </HeadingPairs>
  <TitlesOfParts>
    <vt:vector size="41" baseType="lpstr">
      <vt:lpstr>Aptos</vt:lpstr>
      <vt:lpstr>Aptos Display</vt:lpstr>
      <vt:lpstr>Aptos Narrow</vt:lpstr>
      <vt:lpstr>Arial</vt:lpstr>
      <vt:lpstr>Calibri</vt:lpstr>
      <vt:lpstr>Gotham</vt:lpstr>
      <vt:lpstr>Gotham Bold</vt:lpstr>
      <vt:lpstr>Gotham Light</vt:lpstr>
      <vt:lpstr>Times New Roman</vt:lpstr>
      <vt:lpstr>Trebuchet MS</vt:lpstr>
      <vt:lpstr>Exide energy</vt:lpstr>
      <vt:lpstr>Exide Grid 16:9 - 15353</vt:lpstr>
      <vt:lpstr>ACE Grid 16:9</vt:lpstr>
      <vt:lpstr>1_Exide Grid 16:9 - 15353</vt:lpstr>
      <vt:lpstr>2_Exide Grid 16:9 - 15353</vt:lpstr>
      <vt:lpstr>3_Exide Grid 16:9 - 15353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Cathode: Overall comparis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rismatic cell Report</vt:lpstr>
      <vt:lpstr>PowerPoint Presentation</vt:lpstr>
      <vt:lpstr>Jelly roll parameters </vt:lpstr>
      <vt:lpstr>Cathode &amp; Anode electrode details </vt:lpstr>
      <vt:lpstr>Separator details</vt:lpstr>
      <vt:lpstr>Cut open images 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Sai Vanam</dc:creator>
  <cp:lastModifiedBy>Suman Das</cp:lastModifiedBy>
  <cp:revision>2</cp:revision>
  <dcterms:created xsi:type="dcterms:W3CDTF">2024-09-25T08:59:02Z</dcterms:created>
  <dcterms:modified xsi:type="dcterms:W3CDTF">2025-05-28T09:08:45Z</dcterms:modified>
</cp:coreProperties>
</file>